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85" r:id="rId2"/>
    <p:sldId id="288" r:id="rId3"/>
    <p:sldId id="258" r:id="rId4"/>
    <p:sldId id="289" r:id="rId5"/>
    <p:sldId id="1818" r:id="rId6"/>
    <p:sldId id="1814" r:id="rId7"/>
    <p:sldId id="292" r:id="rId8"/>
    <p:sldId id="299" r:id="rId9"/>
    <p:sldId id="300" r:id="rId10"/>
    <p:sldId id="1741" r:id="rId11"/>
    <p:sldId id="302" r:id="rId12"/>
    <p:sldId id="303" r:id="rId13"/>
    <p:sldId id="304" r:id="rId14"/>
    <p:sldId id="326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7" r:id="rId23"/>
    <p:sldId id="318" r:id="rId24"/>
    <p:sldId id="319" r:id="rId25"/>
    <p:sldId id="323" r:id="rId26"/>
    <p:sldId id="324" r:id="rId27"/>
    <p:sldId id="261" r:id="rId28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678"/>
    <a:srgbClr val="2C1E5C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1" autoAdjust="0"/>
    <p:restoredTop sz="96091" autoAdjust="0"/>
  </p:normalViewPr>
  <p:slideViewPr>
    <p:cSldViewPr snapToGrid="0">
      <p:cViewPr varScale="1">
        <p:scale>
          <a:sx n="70" d="100"/>
          <a:sy n="70" d="100"/>
        </p:scale>
        <p:origin x="211" y="5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0100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4397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B47CC46B-20CA-4050-92BF-CE28BD56DC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14000"/>
          </a:blip>
          <a:srcRect r="16558" b="17670"/>
          <a:stretch/>
        </p:blipFill>
        <p:spPr>
          <a:xfrm>
            <a:off x="1" y="3123"/>
            <a:ext cx="12191998" cy="6854877"/>
          </a:xfrm>
          <a:prstGeom prst="rect">
            <a:avLst/>
          </a:prstGeom>
        </p:spPr>
      </p:pic>
      <p:sp>
        <p:nvSpPr>
          <p:cNvPr id="7" name="íṡḷïďè">
            <a:extLst>
              <a:ext uri="{FF2B5EF4-FFF2-40B4-BE49-F238E27FC236}">
                <a16:creationId xmlns:a16="http://schemas.microsoft.com/office/drawing/2014/main" id="{5EDE8D3F-FFAB-40A4-8B4B-4C09AA5F1E08}"/>
              </a:ext>
            </a:extLst>
          </p:cNvPr>
          <p:cNvSpPr/>
          <p:nvPr userDrawn="1"/>
        </p:nvSpPr>
        <p:spPr>
          <a:xfrm>
            <a:off x="139302" y="193746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395074" y="3680690"/>
            <a:ext cx="8073363" cy="558799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3200" b="0" dirty="0">
                <a:solidFill>
                  <a:schemeClr val="accent1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+mj-cs"/>
              </a:defRPr>
            </a:lvl1pPr>
          </a:lstStyle>
          <a:p>
            <a:pPr marL="228589" lvl="0" indent="-228589" fontAlgn="b">
              <a:spcBef>
                <a:spcPct val="0"/>
              </a:spcBef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395074" y="829077"/>
            <a:ext cx="8073363" cy="285161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zh-CN" altLang="en-US" sz="8800" dirty="0">
                <a:solidFill>
                  <a:schemeClr val="accent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</a:lstStyle>
          <a:p>
            <a:pPr marL="0" lvl="0" indent="0" fontAlgn="b"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8" name="íS1íḓè">
            <a:extLst>
              <a:ext uri="{FF2B5EF4-FFF2-40B4-BE49-F238E27FC236}">
                <a16:creationId xmlns:a16="http://schemas.microsoft.com/office/drawing/2014/main" id="{ECED3264-5A31-4C28-BB13-E3E16982133E}"/>
              </a:ext>
            </a:extLst>
          </p:cNvPr>
          <p:cNvSpPr txBox="1">
            <a:spLocks/>
          </p:cNvSpPr>
          <p:nvPr userDrawn="1"/>
        </p:nvSpPr>
        <p:spPr>
          <a:xfrm rot="10800000">
            <a:off x="464457" y="444347"/>
            <a:ext cx="419099" cy="2395698"/>
          </a:xfrm>
          <a:prstGeom prst="rect">
            <a:avLst/>
          </a:prstGeom>
        </p:spPr>
        <p:txBody>
          <a:bodyPr vert="eaVert" lIns="91440" tIns="45720" rIns="91440" bIns="45720" rtlCol="0" anchor="t">
            <a:normAutofit lnSpcReduction="10000"/>
          </a:bodyPr>
          <a:lstStyle>
            <a:lvl1pPr marL="0" indent="0" algn="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Wuhan university.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6F93ABA7-248C-4313-9AF3-3D088832A844}"/>
              </a:ext>
            </a:extLst>
          </p:cNvPr>
          <p:cNvGrpSpPr/>
          <p:nvPr userDrawn="1"/>
        </p:nvGrpSpPr>
        <p:grpSpPr>
          <a:xfrm>
            <a:off x="9003643" y="5335852"/>
            <a:ext cx="2264418" cy="701791"/>
            <a:chOff x="4996000" y="520587"/>
            <a:chExt cx="2264418" cy="701791"/>
          </a:xfrm>
        </p:grpSpPr>
        <p:grpSp>
          <p:nvGrpSpPr>
            <p:cNvPr id="10" name="ïşľïḍé">
              <a:extLst>
                <a:ext uri="{FF2B5EF4-FFF2-40B4-BE49-F238E27FC236}">
                  <a16:creationId xmlns:a16="http://schemas.microsoft.com/office/drawing/2014/main" id="{6613480D-9B0C-48DE-98A0-4BC33C8B2A60}"/>
                </a:ext>
              </a:extLst>
            </p:cNvPr>
            <p:cNvGrpSpPr/>
            <p:nvPr/>
          </p:nvGrpSpPr>
          <p:grpSpPr>
            <a:xfrm>
              <a:off x="4996000" y="520587"/>
              <a:ext cx="697196" cy="701791"/>
              <a:chOff x="3551238" y="3067050"/>
              <a:chExt cx="722313" cy="727075"/>
            </a:xfrm>
          </p:grpSpPr>
          <p:sp>
            <p:nvSpPr>
              <p:cNvPr id="42" name="íśľiḓê">
                <a:extLst>
                  <a:ext uri="{FF2B5EF4-FFF2-40B4-BE49-F238E27FC236}">
                    <a16:creationId xmlns:a16="http://schemas.microsoft.com/office/drawing/2014/main" id="{89B0FEE0-9321-4B5F-AF01-7CB901D447C6}"/>
                  </a:ext>
                </a:extLst>
              </p:cNvPr>
              <p:cNvSpPr/>
              <p:nvPr/>
            </p:nvSpPr>
            <p:spPr bwMode="auto">
              <a:xfrm>
                <a:off x="3575051" y="3087688"/>
                <a:ext cx="673100" cy="679450"/>
              </a:xfrm>
              <a:custGeom>
                <a:avLst/>
                <a:gdLst>
                  <a:gd name="T0" fmla="*/ 102 w 204"/>
                  <a:gd name="T1" fmla="*/ 0 h 204"/>
                  <a:gd name="T2" fmla="*/ 204 w 204"/>
                  <a:gd name="T3" fmla="*/ 102 h 204"/>
                  <a:gd name="T4" fmla="*/ 102 w 204"/>
                  <a:gd name="T5" fmla="*/ 204 h 204"/>
                  <a:gd name="T6" fmla="*/ 0 w 204"/>
                  <a:gd name="T7" fmla="*/ 102 h 204"/>
                  <a:gd name="T8" fmla="*/ 102 w 204"/>
                  <a:gd name="T9" fmla="*/ 0 h 204"/>
                  <a:gd name="T10" fmla="*/ 102 w 204"/>
                  <a:gd name="T11" fmla="*/ 25 h 204"/>
                  <a:gd name="T12" fmla="*/ 24 w 204"/>
                  <a:gd name="T13" fmla="*/ 103 h 204"/>
                  <a:gd name="T14" fmla="*/ 102 w 204"/>
                  <a:gd name="T15" fmla="*/ 181 h 204"/>
                  <a:gd name="T16" fmla="*/ 180 w 204"/>
                  <a:gd name="T17" fmla="*/ 103 h 204"/>
                  <a:gd name="T18" fmla="*/ 102 w 204"/>
                  <a:gd name="T19" fmla="*/ 2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0"/>
                    </a:moveTo>
                    <a:cubicBezTo>
                      <a:pt x="159" y="0"/>
                      <a:pt x="204" y="46"/>
                      <a:pt x="204" y="102"/>
                    </a:cubicBezTo>
                    <a:cubicBezTo>
                      <a:pt x="204" y="158"/>
                      <a:pt x="159" y="204"/>
                      <a:pt x="102" y="204"/>
                    </a:cubicBezTo>
                    <a:cubicBezTo>
                      <a:pt x="46" y="204"/>
                      <a:pt x="0" y="158"/>
                      <a:pt x="0" y="102"/>
                    </a:cubicBezTo>
                    <a:cubicBezTo>
                      <a:pt x="0" y="46"/>
                      <a:pt x="46" y="0"/>
                      <a:pt x="102" y="0"/>
                    </a:cubicBezTo>
                    <a:close/>
                    <a:moveTo>
                      <a:pt x="102" y="25"/>
                    </a:moveTo>
                    <a:cubicBezTo>
                      <a:pt x="59" y="25"/>
                      <a:pt x="24" y="60"/>
                      <a:pt x="24" y="103"/>
                    </a:cubicBezTo>
                    <a:cubicBezTo>
                      <a:pt x="24" y="146"/>
                      <a:pt x="59" y="181"/>
                      <a:pt x="102" y="181"/>
                    </a:cubicBezTo>
                    <a:cubicBezTo>
                      <a:pt x="145" y="181"/>
                      <a:pt x="180" y="146"/>
                      <a:pt x="180" y="103"/>
                    </a:cubicBezTo>
                    <a:cubicBezTo>
                      <a:pt x="180" y="60"/>
                      <a:pt x="145" y="25"/>
                      <a:pt x="102" y="25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ṣḷîḓé">
                <a:extLst>
                  <a:ext uri="{FF2B5EF4-FFF2-40B4-BE49-F238E27FC236}">
                    <a16:creationId xmlns:a16="http://schemas.microsoft.com/office/drawing/2014/main" id="{74B8B308-0B9E-45EF-A385-AF06801F79BA}"/>
                  </a:ext>
                </a:extLst>
              </p:cNvPr>
              <p:cNvSpPr/>
              <p:nvPr/>
            </p:nvSpPr>
            <p:spPr bwMode="auto">
              <a:xfrm>
                <a:off x="3621088" y="3103563"/>
                <a:ext cx="584200" cy="203200"/>
              </a:xfrm>
              <a:custGeom>
                <a:avLst/>
                <a:gdLst>
                  <a:gd name="T0" fmla="*/ 8 w 177"/>
                  <a:gd name="T1" fmla="*/ 53 h 61"/>
                  <a:gd name="T2" fmla="*/ 0 w 177"/>
                  <a:gd name="T3" fmla="*/ 56 h 61"/>
                  <a:gd name="T4" fmla="*/ 5 w 177"/>
                  <a:gd name="T5" fmla="*/ 52 h 61"/>
                  <a:gd name="T6" fmla="*/ 4 w 177"/>
                  <a:gd name="T7" fmla="*/ 50 h 61"/>
                  <a:gd name="T8" fmla="*/ 5 w 177"/>
                  <a:gd name="T9" fmla="*/ 48 h 61"/>
                  <a:gd name="T10" fmla="*/ 10 w 177"/>
                  <a:gd name="T11" fmla="*/ 41 h 61"/>
                  <a:gd name="T12" fmla="*/ 17 w 177"/>
                  <a:gd name="T13" fmla="*/ 50 h 61"/>
                  <a:gd name="T14" fmla="*/ 14 w 177"/>
                  <a:gd name="T15" fmla="*/ 35 h 61"/>
                  <a:gd name="T16" fmla="*/ 23 w 177"/>
                  <a:gd name="T17" fmla="*/ 46 h 61"/>
                  <a:gd name="T18" fmla="*/ 31 w 177"/>
                  <a:gd name="T19" fmla="*/ 38 h 61"/>
                  <a:gd name="T20" fmla="*/ 29 w 177"/>
                  <a:gd name="T21" fmla="*/ 40 h 61"/>
                  <a:gd name="T22" fmla="*/ 18 w 177"/>
                  <a:gd name="T23" fmla="*/ 32 h 61"/>
                  <a:gd name="T24" fmla="*/ 19 w 177"/>
                  <a:gd name="T25" fmla="*/ 30 h 61"/>
                  <a:gd name="T26" fmla="*/ 21 w 177"/>
                  <a:gd name="T27" fmla="*/ 27 h 61"/>
                  <a:gd name="T28" fmla="*/ 41 w 177"/>
                  <a:gd name="T29" fmla="*/ 29 h 61"/>
                  <a:gd name="T30" fmla="*/ 43 w 177"/>
                  <a:gd name="T31" fmla="*/ 29 h 61"/>
                  <a:gd name="T32" fmla="*/ 35 w 177"/>
                  <a:gd name="T33" fmla="*/ 35 h 61"/>
                  <a:gd name="T34" fmla="*/ 31 w 177"/>
                  <a:gd name="T35" fmla="*/ 21 h 61"/>
                  <a:gd name="T36" fmla="*/ 46 w 177"/>
                  <a:gd name="T37" fmla="*/ 11 h 61"/>
                  <a:gd name="T38" fmla="*/ 47 w 177"/>
                  <a:gd name="T39" fmla="*/ 11 h 61"/>
                  <a:gd name="T40" fmla="*/ 47 w 177"/>
                  <a:gd name="T41" fmla="*/ 26 h 61"/>
                  <a:gd name="T42" fmla="*/ 39 w 177"/>
                  <a:gd name="T43" fmla="*/ 15 h 61"/>
                  <a:gd name="T44" fmla="*/ 72 w 177"/>
                  <a:gd name="T45" fmla="*/ 16 h 61"/>
                  <a:gd name="T46" fmla="*/ 71 w 177"/>
                  <a:gd name="T47" fmla="*/ 2 h 61"/>
                  <a:gd name="T48" fmla="*/ 65 w 177"/>
                  <a:gd name="T49" fmla="*/ 15 h 61"/>
                  <a:gd name="T50" fmla="*/ 64 w 177"/>
                  <a:gd name="T51" fmla="*/ 4 h 61"/>
                  <a:gd name="T52" fmla="*/ 84 w 177"/>
                  <a:gd name="T53" fmla="*/ 1 h 61"/>
                  <a:gd name="T54" fmla="*/ 84 w 177"/>
                  <a:gd name="T55" fmla="*/ 1 h 61"/>
                  <a:gd name="T56" fmla="*/ 78 w 177"/>
                  <a:gd name="T57" fmla="*/ 16 h 61"/>
                  <a:gd name="T58" fmla="*/ 77 w 177"/>
                  <a:gd name="T59" fmla="*/ 15 h 61"/>
                  <a:gd name="T60" fmla="*/ 90 w 177"/>
                  <a:gd name="T61" fmla="*/ 1 h 61"/>
                  <a:gd name="T62" fmla="*/ 94 w 177"/>
                  <a:gd name="T63" fmla="*/ 15 h 61"/>
                  <a:gd name="T64" fmla="*/ 92 w 177"/>
                  <a:gd name="T65" fmla="*/ 15 h 61"/>
                  <a:gd name="T66" fmla="*/ 113 w 177"/>
                  <a:gd name="T67" fmla="*/ 3 h 61"/>
                  <a:gd name="T68" fmla="*/ 102 w 177"/>
                  <a:gd name="T69" fmla="*/ 2 h 61"/>
                  <a:gd name="T70" fmla="*/ 105 w 177"/>
                  <a:gd name="T71" fmla="*/ 14 h 61"/>
                  <a:gd name="T72" fmla="*/ 117 w 177"/>
                  <a:gd name="T73" fmla="*/ 5 h 61"/>
                  <a:gd name="T74" fmla="*/ 122 w 177"/>
                  <a:gd name="T75" fmla="*/ 19 h 61"/>
                  <a:gd name="T76" fmla="*/ 119 w 177"/>
                  <a:gd name="T77" fmla="*/ 13 h 61"/>
                  <a:gd name="T78" fmla="*/ 121 w 177"/>
                  <a:gd name="T79" fmla="*/ 12 h 61"/>
                  <a:gd name="T80" fmla="*/ 124 w 177"/>
                  <a:gd name="T81" fmla="*/ 10 h 61"/>
                  <a:gd name="T82" fmla="*/ 131 w 177"/>
                  <a:gd name="T83" fmla="*/ 26 h 61"/>
                  <a:gd name="T84" fmla="*/ 126 w 177"/>
                  <a:gd name="T85" fmla="*/ 23 h 61"/>
                  <a:gd name="T86" fmla="*/ 124 w 177"/>
                  <a:gd name="T87" fmla="*/ 23 h 61"/>
                  <a:gd name="T88" fmla="*/ 137 w 177"/>
                  <a:gd name="T89" fmla="*/ 14 h 61"/>
                  <a:gd name="T90" fmla="*/ 133 w 177"/>
                  <a:gd name="T91" fmla="*/ 11 h 61"/>
                  <a:gd name="T92" fmla="*/ 137 w 177"/>
                  <a:gd name="T93" fmla="*/ 32 h 61"/>
                  <a:gd name="T94" fmla="*/ 137 w 177"/>
                  <a:gd name="T95" fmla="*/ 32 h 61"/>
                  <a:gd name="T96" fmla="*/ 145 w 177"/>
                  <a:gd name="T97" fmla="*/ 19 h 61"/>
                  <a:gd name="T98" fmla="*/ 146 w 177"/>
                  <a:gd name="T99" fmla="*/ 19 h 61"/>
                  <a:gd name="T100" fmla="*/ 159 w 177"/>
                  <a:gd name="T101" fmla="*/ 31 h 61"/>
                  <a:gd name="T102" fmla="*/ 149 w 177"/>
                  <a:gd name="T103" fmla="*/ 42 h 61"/>
                  <a:gd name="T104" fmla="*/ 155 w 177"/>
                  <a:gd name="T105" fmla="*/ 27 h 61"/>
                  <a:gd name="T106" fmla="*/ 166 w 177"/>
                  <a:gd name="T107" fmla="*/ 40 h 61"/>
                  <a:gd name="T108" fmla="*/ 160 w 177"/>
                  <a:gd name="T109" fmla="*/ 37 h 61"/>
                  <a:gd name="T110" fmla="*/ 153 w 177"/>
                  <a:gd name="T111" fmla="*/ 46 h 61"/>
                  <a:gd name="T112" fmla="*/ 177 w 177"/>
                  <a:gd name="T113" fmla="*/ 55 h 61"/>
                  <a:gd name="T114" fmla="*/ 162 w 177"/>
                  <a:gd name="T115" fmla="*/ 60 h 61"/>
                  <a:gd name="T116" fmla="*/ 165 w 177"/>
                  <a:gd name="T117" fmla="*/ 55 h 61"/>
                  <a:gd name="T118" fmla="*/ 173 w 177"/>
                  <a:gd name="T119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7" h="61">
                    <a:moveTo>
                      <a:pt x="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6" y="47"/>
                      <a:pt x="6" y="47"/>
                      <a:pt x="6" y="4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1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6" y="48"/>
                      <a:pt x="6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6" y="46"/>
                      <a:pt x="6" y="46"/>
                      <a:pt x="6" y="46"/>
                    </a:cubicBezTo>
                    <a:close/>
                    <a:moveTo>
                      <a:pt x="22" y="48"/>
                    </a:moveTo>
                    <a:cubicBezTo>
                      <a:pt x="22" y="49"/>
                      <a:pt x="21" y="49"/>
                      <a:pt x="21" y="49"/>
                    </a:cubicBezTo>
                    <a:cubicBezTo>
                      <a:pt x="20" y="50"/>
                      <a:pt x="19" y="49"/>
                      <a:pt x="18" y="48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8" y="50"/>
                      <a:pt x="19" y="51"/>
                      <a:pt x="20" y="50"/>
                    </a:cubicBezTo>
                    <a:cubicBezTo>
                      <a:pt x="21" y="50"/>
                      <a:pt x="22" y="50"/>
                      <a:pt x="23" y="49"/>
                    </a:cubicBezTo>
                    <a:cubicBezTo>
                      <a:pt x="24" y="48"/>
                      <a:pt x="24" y="47"/>
                      <a:pt x="24" y="46"/>
                    </a:cubicBezTo>
                    <a:cubicBezTo>
                      <a:pt x="24" y="45"/>
                      <a:pt x="23" y="44"/>
                      <a:pt x="22" y="4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4" y="37"/>
                      <a:pt x="14" y="37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3" y="44"/>
                      <a:pt x="23" y="45"/>
                      <a:pt x="23" y="46"/>
                    </a:cubicBezTo>
                    <a:cubicBezTo>
                      <a:pt x="23" y="47"/>
                      <a:pt x="23" y="47"/>
                      <a:pt x="22" y="48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6"/>
                      <a:pt x="34" y="36"/>
                      <a:pt x="34" y="36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8"/>
                      <a:pt x="32" y="37"/>
                      <a:pt x="32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9" y="41"/>
                      <a:pt x="29" y="40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7" y="42"/>
                      <a:pt x="27" y="41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1"/>
                      <a:pt x="19" y="31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33" y="36"/>
                      <a:pt x="33" y="36"/>
                      <a:pt x="33" y="36"/>
                    </a:cubicBezTo>
                    <a:close/>
                    <a:moveTo>
                      <a:pt x="38" y="26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1" y="30"/>
                      <a:pt x="41" y="30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2" y="29"/>
                      <a:pt x="42" y="2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5" y="34"/>
                      <a:pt x="35" y="34"/>
                    </a:cubicBezTo>
                    <a:cubicBezTo>
                      <a:pt x="35" y="34"/>
                      <a:pt x="35" y="34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6" y="33"/>
                    </a:cubicBezTo>
                    <a:cubicBezTo>
                      <a:pt x="36" y="33"/>
                      <a:pt x="36" y="32"/>
                      <a:pt x="36" y="32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8" y="26"/>
                      <a:pt x="38" y="26"/>
                      <a:pt x="38" y="26"/>
                    </a:cubicBezTo>
                    <a:close/>
                    <a:moveTo>
                      <a:pt x="31" y="21"/>
                    </a:moveTo>
                    <a:cubicBezTo>
                      <a:pt x="31" y="21"/>
                      <a:pt x="31" y="21"/>
                      <a:pt x="31" y="21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1" y="21"/>
                      <a:pt x="31" y="21"/>
                      <a:pt x="31" y="21"/>
                    </a:cubicBezTo>
                    <a:close/>
                    <a:moveTo>
                      <a:pt x="51" y="21"/>
                    </a:moveTo>
                    <a:cubicBezTo>
                      <a:pt x="51" y="21"/>
                      <a:pt x="51" y="21"/>
                      <a:pt x="51" y="2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5" y="11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1"/>
                      <a:pt x="47" y="11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6" y="27"/>
                      <a:pt x="46" y="26"/>
                      <a:pt x="45" y="2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9" y="14"/>
                      <a:pt x="39" y="14"/>
                      <a:pt x="38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51" y="21"/>
                      <a:pt x="51" y="21"/>
                      <a:pt x="51" y="21"/>
                    </a:cubicBezTo>
                    <a:close/>
                    <a:moveTo>
                      <a:pt x="70" y="17"/>
                    </a:moveTo>
                    <a:cubicBezTo>
                      <a:pt x="70" y="17"/>
                      <a:pt x="71" y="17"/>
                      <a:pt x="72" y="16"/>
                    </a:cubicBezTo>
                    <a:cubicBezTo>
                      <a:pt x="72" y="15"/>
                      <a:pt x="72" y="14"/>
                      <a:pt x="72" y="14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69" y="3"/>
                      <a:pt x="69" y="3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0" y="2"/>
                      <a:pt x="70" y="2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5"/>
                      <a:pt x="73" y="16"/>
                      <a:pt x="72" y="16"/>
                    </a:cubicBezTo>
                    <a:cubicBezTo>
                      <a:pt x="71" y="17"/>
                      <a:pt x="71" y="18"/>
                      <a:pt x="70" y="18"/>
                    </a:cubicBezTo>
                    <a:cubicBezTo>
                      <a:pt x="68" y="18"/>
                      <a:pt x="67" y="18"/>
                      <a:pt x="66" y="18"/>
                    </a:cubicBezTo>
                    <a:cubicBezTo>
                      <a:pt x="66" y="17"/>
                      <a:pt x="65" y="17"/>
                      <a:pt x="65" y="15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2" y="5"/>
                      <a:pt x="62" y="4"/>
                      <a:pt x="62" y="4"/>
                    </a:cubicBezTo>
                    <a:cubicBezTo>
                      <a:pt x="62" y="4"/>
                      <a:pt x="62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6"/>
                      <a:pt x="67" y="17"/>
                      <a:pt x="67" y="17"/>
                    </a:cubicBezTo>
                    <a:cubicBezTo>
                      <a:pt x="68" y="18"/>
                      <a:pt x="69" y="18"/>
                      <a:pt x="70" y="17"/>
                    </a:cubicBezTo>
                    <a:close/>
                    <a:moveTo>
                      <a:pt x="84" y="12"/>
                    </a:move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4" y="1"/>
                      <a:pt x="84" y="1"/>
                      <a:pt x="83" y="1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5" y="1"/>
                      <a:pt x="85" y="1"/>
                      <a:pt x="84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7" y="15"/>
                      <a:pt x="78" y="15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6"/>
                      <a:pt x="77" y="16"/>
                      <a:pt x="77" y="16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2"/>
                      <a:pt x="76" y="2"/>
                      <a:pt x="76" y="1"/>
                    </a:cubicBezTo>
                    <a:cubicBezTo>
                      <a:pt x="76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84" y="12"/>
                      <a:pt x="84" y="12"/>
                      <a:pt x="84" y="12"/>
                    </a:cubicBezTo>
                    <a:close/>
                    <a:moveTo>
                      <a:pt x="90" y="1"/>
                    </a:moveTo>
                    <a:cubicBezTo>
                      <a:pt x="90" y="0"/>
                      <a:pt x="90" y="0"/>
                      <a:pt x="90" y="0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5" y="1"/>
                      <a:pt x="95" y="1"/>
                      <a:pt x="95" y="2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5" y="15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3" y="1"/>
                      <a:pt x="92" y="1"/>
                    </a:cubicBezTo>
                    <a:cubicBezTo>
                      <a:pt x="90" y="1"/>
                      <a:pt x="90" y="1"/>
                      <a:pt x="90" y="1"/>
                    </a:cubicBezTo>
                    <a:close/>
                    <a:moveTo>
                      <a:pt x="109" y="3"/>
                    </a:moveTo>
                    <a:cubicBezTo>
                      <a:pt x="109" y="2"/>
                      <a:pt x="109" y="2"/>
                      <a:pt x="109" y="2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2" y="3"/>
                      <a:pt x="112" y="3"/>
                      <a:pt x="11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4" y="17"/>
                      <a:pt x="104" y="17"/>
                      <a:pt x="104" y="17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3"/>
                      <a:pt x="103" y="2"/>
                      <a:pt x="103" y="2"/>
                    </a:cubicBezTo>
                    <a:cubicBezTo>
                      <a:pt x="103" y="2"/>
                      <a:pt x="103" y="2"/>
                      <a:pt x="102" y="2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102" y="1"/>
                      <a:pt x="102" y="1"/>
                      <a:pt x="102" y="1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3"/>
                      <a:pt x="105" y="3"/>
                      <a:pt x="105" y="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10" y="3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09" y="3"/>
                      <a:pt x="109" y="3"/>
                      <a:pt x="109" y="3"/>
                    </a:cubicBezTo>
                    <a:close/>
                    <a:moveTo>
                      <a:pt x="116" y="5"/>
                    </a:move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7" y="5"/>
                      <a:pt x="117" y="6"/>
                      <a:pt x="117" y="6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3" y="18"/>
                      <a:pt x="113" y="19"/>
                      <a:pt x="113" y="19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11" y="19"/>
                      <a:pt x="111" y="19"/>
                      <a:pt x="111" y="19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122" y="19"/>
                      <a:pt x="122" y="19"/>
                      <a:pt x="122" y="19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1" y="19"/>
                      <a:pt x="120" y="20"/>
                      <a:pt x="120" y="20"/>
                    </a:cubicBezTo>
                    <a:cubicBezTo>
                      <a:pt x="119" y="21"/>
                      <a:pt x="118" y="21"/>
                      <a:pt x="117" y="20"/>
                    </a:cubicBezTo>
                    <a:cubicBezTo>
                      <a:pt x="115" y="20"/>
                      <a:pt x="115" y="20"/>
                      <a:pt x="115" y="20"/>
                    </a:cubicBezTo>
                    <a:cubicBezTo>
                      <a:pt x="115" y="20"/>
                      <a:pt x="114" y="19"/>
                      <a:pt x="114" y="19"/>
                    </a:cubicBezTo>
                    <a:cubicBezTo>
                      <a:pt x="114" y="19"/>
                      <a:pt x="114" y="19"/>
                      <a:pt x="114" y="19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3"/>
                      <a:pt x="120" y="13"/>
                      <a:pt x="120" y="14"/>
                    </a:cubicBezTo>
                    <a:cubicBezTo>
                      <a:pt x="120" y="14"/>
                      <a:pt x="120" y="15"/>
                      <a:pt x="120" y="15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0" y="13"/>
                      <a:pt x="120" y="13"/>
                      <a:pt x="119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8" y="6"/>
                      <a:pt x="119" y="6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122" y="7"/>
                      <a:pt x="123" y="7"/>
                      <a:pt x="123" y="8"/>
                    </a:cubicBezTo>
                    <a:cubicBezTo>
                      <a:pt x="124" y="8"/>
                      <a:pt x="124" y="9"/>
                      <a:pt x="124" y="1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6" y="5"/>
                      <a:pt x="116" y="5"/>
                      <a:pt x="116" y="5"/>
                    </a:cubicBezTo>
                    <a:close/>
                    <a:moveTo>
                      <a:pt x="136" y="17"/>
                    </a:moveTo>
                    <a:cubicBezTo>
                      <a:pt x="136" y="18"/>
                      <a:pt x="135" y="19"/>
                      <a:pt x="134" y="19"/>
                    </a:cubicBezTo>
                    <a:cubicBezTo>
                      <a:pt x="133" y="19"/>
                      <a:pt x="133" y="19"/>
                      <a:pt x="132" y="19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1" y="26"/>
                      <a:pt x="131" y="27"/>
                      <a:pt x="131" y="27"/>
                    </a:cubicBezTo>
                    <a:cubicBezTo>
                      <a:pt x="131" y="27"/>
                      <a:pt x="131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0" y="18"/>
                      <a:pt x="130" y="18"/>
                      <a:pt x="130" y="18"/>
                    </a:cubicBezTo>
                    <a:cubicBezTo>
                      <a:pt x="129" y="17"/>
                      <a:pt x="129" y="17"/>
                      <a:pt x="129" y="17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25" y="24"/>
                      <a:pt x="125" y="24"/>
                      <a:pt x="126" y="24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3"/>
                      <a:pt x="124" y="23"/>
                    </a:cubicBezTo>
                    <a:cubicBezTo>
                      <a:pt x="124" y="23"/>
                      <a:pt x="124" y="23"/>
                      <a:pt x="124" y="23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30" y="11"/>
                      <a:pt x="130" y="11"/>
                      <a:pt x="130" y="1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2"/>
                      <a:pt x="136" y="13"/>
                      <a:pt x="137" y="14"/>
                    </a:cubicBezTo>
                    <a:cubicBezTo>
                      <a:pt x="137" y="15"/>
                      <a:pt x="137" y="16"/>
                      <a:pt x="136" y="17"/>
                    </a:cubicBezTo>
                    <a:close/>
                    <a:moveTo>
                      <a:pt x="129" y="17"/>
                    </a:move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2" y="18"/>
                      <a:pt x="133" y="18"/>
                    </a:cubicBezTo>
                    <a:cubicBezTo>
                      <a:pt x="134" y="18"/>
                      <a:pt x="134" y="17"/>
                      <a:pt x="135" y="16"/>
                    </a:cubicBezTo>
                    <a:cubicBezTo>
                      <a:pt x="135" y="15"/>
                      <a:pt x="136" y="15"/>
                      <a:pt x="135" y="14"/>
                    </a:cubicBezTo>
                    <a:cubicBezTo>
                      <a:pt x="135" y="13"/>
                      <a:pt x="135" y="12"/>
                      <a:pt x="133" y="12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32" y="11"/>
                      <a:pt x="132" y="11"/>
                      <a:pt x="132" y="12"/>
                    </a:cubicBezTo>
                    <a:cubicBezTo>
                      <a:pt x="129" y="17"/>
                      <a:pt x="129" y="17"/>
                      <a:pt x="129" y="17"/>
                    </a:cubicBezTo>
                    <a:close/>
                    <a:moveTo>
                      <a:pt x="141" y="25"/>
                    </a:moveTo>
                    <a:cubicBezTo>
                      <a:pt x="142" y="27"/>
                      <a:pt x="142" y="28"/>
                      <a:pt x="142" y="28"/>
                    </a:cubicBezTo>
                    <a:cubicBezTo>
                      <a:pt x="142" y="29"/>
                      <a:pt x="142" y="30"/>
                      <a:pt x="142" y="30"/>
                    </a:cubicBezTo>
                    <a:cubicBezTo>
                      <a:pt x="141" y="31"/>
                      <a:pt x="141" y="32"/>
                      <a:pt x="140" y="32"/>
                    </a:cubicBezTo>
                    <a:cubicBezTo>
                      <a:pt x="139" y="32"/>
                      <a:pt x="138" y="32"/>
                      <a:pt x="137" y="32"/>
                    </a:cubicBezTo>
                    <a:cubicBezTo>
                      <a:pt x="137" y="31"/>
                      <a:pt x="136" y="30"/>
                      <a:pt x="136" y="29"/>
                    </a:cubicBezTo>
                    <a:cubicBezTo>
                      <a:pt x="135" y="28"/>
                      <a:pt x="136" y="27"/>
                      <a:pt x="136" y="26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5" y="30"/>
                      <a:pt x="135" y="30"/>
                      <a:pt x="135" y="30"/>
                    </a:cubicBezTo>
                    <a:cubicBezTo>
                      <a:pt x="135" y="30"/>
                      <a:pt x="135" y="30"/>
                      <a:pt x="136" y="31"/>
                    </a:cubicBezTo>
                    <a:cubicBezTo>
                      <a:pt x="136" y="31"/>
                      <a:pt x="136" y="32"/>
                      <a:pt x="137" y="32"/>
                    </a:cubicBezTo>
                    <a:cubicBezTo>
                      <a:pt x="138" y="33"/>
                      <a:pt x="139" y="33"/>
                      <a:pt x="140" y="33"/>
                    </a:cubicBezTo>
                    <a:cubicBezTo>
                      <a:pt x="142" y="33"/>
                      <a:pt x="142" y="32"/>
                      <a:pt x="143" y="31"/>
                    </a:cubicBezTo>
                    <a:cubicBezTo>
                      <a:pt x="144" y="30"/>
                      <a:pt x="144" y="29"/>
                      <a:pt x="144" y="28"/>
                    </a:cubicBezTo>
                    <a:cubicBezTo>
                      <a:pt x="144" y="27"/>
                      <a:pt x="143" y="26"/>
                      <a:pt x="142" y="25"/>
                    </a:cubicBezTo>
                    <a:cubicBezTo>
                      <a:pt x="141" y="23"/>
                      <a:pt x="141" y="22"/>
                      <a:pt x="141" y="22"/>
                    </a:cubicBezTo>
                    <a:cubicBezTo>
                      <a:pt x="141" y="21"/>
                      <a:pt x="141" y="20"/>
                      <a:pt x="141" y="20"/>
                    </a:cubicBezTo>
                    <a:cubicBezTo>
                      <a:pt x="142" y="19"/>
                      <a:pt x="142" y="19"/>
                      <a:pt x="143" y="19"/>
                    </a:cubicBezTo>
                    <a:cubicBezTo>
                      <a:pt x="144" y="18"/>
                      <a:pt x="144" y="18"/>
                      <a:pt x="145" y="19"/>
                    </a:cubicBezTo>
                    <a:cubicBezTo>
                      <a:pt x="146" y="20"/>
                      <a:pt x="147" y="20"/>
                      <a:pt x="147" y="21"/>
                    </a:cubicBezTo>
                    <a:cubicBezTo>
                      <a:pt x="147" y="22"/>
                      <a:pt x="147" y="23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9" y="21"/>
                      <a:pt x="149" y="21"/>
                      <a:pt x="149" y="21"/>
                    </a:cubicBezTo>
                    <a:cubicBezTo>
                      <a:pt x="149" y="21"/>
                      <a:pt x="149" y="21"/>
                      <a:pt x="148" y="21"/>
                    </a:cubicBezTo>
                    <a:cubicBezTo>
                      <a:pt x="148" y="21"/>
                      <a:pt x="148" y="21"/>
                      <a:pt x="148" y="21"/>
                    </a:cubicBezTo>
                    <a:cubicBezTo>
                      <a:pt x="148" y="21"/>
                      <a:pt x="147" y="20"/>
                      <a:pt x="147" y="20"/>
                    </a:cubicBezTo>
                    <a:cubicBezTo>
                      <a:pt x="147" y="19"/>
                      <a:pt x="146" y="19"/>
                      <a:pt x="146" y="19"/>
                    </a:cubicBezTo>
                    <a:cubicBezTo>
                      <a:pt x="145" y="18"/>
                      <a:pt x="144" y="18"/>
                      <a:pt x="143" y="18"/>
                    </a:cubicBezTo>
                    <a:cubicBezTo>
                      <a:pt x="141" y="18"/>
                      <a:pt x="141" y="19"/>
                      <a:pt x="140" y="19"/>
                    </a:cubicBezTo>
                    <a:cubicBezTo>
                      <a:pt x="139" y="20"/>
                      <a:pt x="139" y="21"/>
                      <a:pt x="139" y="22"/>
                    </a:cubicBezTo>
                    <a:cubicBezTo>
                      <a:pt x="140" y="23"/>
                      <a:pt x="140" y="24"/>
                      <a:pt x="141" y="25"/>
                    </a:cubicBezTo>
                    <a:close/>
                    <a:moveTo>
                      <a:pt x="154" y="26"/>
                    </a:moveTo>
                    <a:cubicBezTo>
                      <a:pt x="154" y="26"/>
                      <a:pt x="154" y="26"/>
                      <a:pt x="154" y="26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7" y="29"/>
                      <a:pt x="157" y="29"/>
                      <a:pt x="157" y="29"/>
                    </a:cubicBezTo>
                    <a:cubicBezTo>
                      <a:pt x="157" y="29"/>
                      <a:pt x="157" y="29"/>
                      <a:pt x="156" y="3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7" y="39"/>
                      <a:pt x="147" y="40"/>
                    </a:cubicBezTo>
                    <a:cubicBezTo>
                      <a:pt x="147" y="40"/>
                      <a:pt x="147" y="40"/>
                      <a:pt x="148" y="4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4" y="37"/>
                      <a:pt x="144" y="37"/>
                      <a:pt x="144" y="37"/>
                    </a:cubicBezTo>
                    <a:cubicBezTo>
                      <a:pt x="145" y="38"/>
                      <a:pt x="145" y="38"/>
                      <a:pt x="145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55" y="29"/>
                      <a:pt x="155" y="29"/>
                      <a:pt x="155" y="29"/>
                    </a:cubicBezTo>
                    <a:cubicBezTo>
                      <a:pt x="155" y="28"/>
                      <a:pt x="156" y="28"/>
                      <a:pt x="156" y="28"/>
                    </a:cubicBezTo>
                    <a:cubicBezTo>
                      <a:pt x="156" y="28"/>
                      <a:pt x="155" y="28"/>
                      <a:pt x="155" y="27"/>
                    </a:cubicBezTo>
                    <a:cubicBezTo>
                      <a:pt x="154" y="26"/>
                      <a:pt x="154" y="26"/>
                      <a:pt x="154" y="26"/>
                    </a:cubicBezTo>
                    <a:close/>
                    <a:moveTo>
                      <a:pt x="155" y="50"/>
                    </a:moveTo>
                    <a:cubicBezTo>
                      <a:pt x="156" y="50"/>
                      <a:pt x="156" y="50"/>
                      <a:pt x="156" y="50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8"/>
                      <a:pt x="155" y="48"/>
                    </a:cubicBezTo>
                    <a:cubicBezTo>
                      <a:pt x="165" y="40"/>
                      <a:pt x="165" y="40"/>
                      <a:pt x="165" y="40"/>
                    </a:cubicBezTo>
                    <a:cubicBezTo>
                      <a:pt x="166" y="40"/>
                      <a:pt x="166" y="40"/>
                      <a:pt x="166" y="40"/>
                    </a:cubicBezTo>
                    <a:cubicBezTo>
                      <a:pt x="166" y="40"/>
                      <a:pt x="166" y="40"/>
                      <a:pt x="167" y="40"/>
                    </a:cubicBezTo>
                    <a:cubicBezTo>
                      <a:pt x="167" y="41"/>
                      <a:pt x="167" y="42"/>
                      <a:pt x="167" y="42"/>
                    </a:cubicBezTo>
                    <a:cubicBezTo>
                      <a:pt x="167" y="43"/>
                      <a:pt x="167" y="43"/>
                      <a:pt x="166" y="45"/>
                    </a:cubicBezTo>
                    <a:cubicBezTo>
                      <a:pt x="166" y="45"/>
                      <a:pt x="166" y="45"/>
                      <a:pt x="166" y="45"/>
                    </a:cubicBezTo>
                    <a:cubicBezTo>
                      <a:pt x="169" y="42"/>
                      <a:pt x="169" y="42"/>
                      <a:pt x="169" y="42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2" y="37"/>
                      <a:pt x="163" y="37"/>
                      <a:pt x="163" y="37"/>
                    </a:cubicBezTo>
                    <a:cubicBezTo>
                      <a:pt x="163" y="37"/>
                      <a:pt x="164" y="37"/>
                      <a:pt x="164" y="38"/>
                    </a:cubicBezTo>
                    <a:cubicBezTo>
                      <a:pt x="165" y="38"/>
                      <a:pt x="165" y="38"/>
                      <a:pt x="165" y="38"/>
                    </a:cubicBezTo>
                    <a:cubicBezTo>
                      <a:pt x="165" y="39"/>
                      <a:pt x="165" y="39"/>
                      <a:pt x="164" y="39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3" y="47"/>
                      <a:pt x="153" y="47"/>
                    </a:cubicBezTo>
                    <a:cubicBezTo>
                      <a:pt x="153" y="46"/>
                      <a:pt x="153" y="46"/>
                      <a:pt x="153" y="46"/>
                    </a:cubicBezTo>
                    <a:cubicBezTo>
                      <a:pt x="152" y="47"/>
                      <a:pt x="152" y="47"/>
                      <a:pt x="152" y="47"/>
                    </a:cubicBezTo>
                    <a:cubicBezTo>
                      <a:pt x="155" y="50"/>
                      <a:pt x="155" y="50"/>
                      <a:pt x="155" y="50"/>
                    </a:cubicBezTo>
                    <a:close/>
                    <a:moveTo>
                      <a:pt x="174" y="54"/>
                    </a:moveTo>
                    <a:cubicBezTo>
                      <a:pt x="174" y="54"/>
                      <a:pt x="175" y="54"/>
                      <a:pt x="175" y="53"/>
                    </a:cubicBezTo>
                    <a:cubicBezTo>
                      <a:pt x="175" y="53"/>
                      <a:pt x="175" y="53"/>
                      <a:pt x="174" y="53"/>
                    </a:cubicBezTo>
                    <a:cubicBezTo>
                      <a:pt x="174" y="52"/>
                      <a:pt x="174" y="52"/>
                      <a:pt x="174" y="52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5" y="55"/>
                    </a:cubicBezTo>
                    <a:cubicBezTo>
                      <a:pt x="175" y="55"/>
                      <a:pt x="175" y="55"/>
                      <a:pt x="174" y="55"/>
                    </a:cubicBezTo>
                    <a:cubicBezTo>
                      <a:pt x="166" y="56"/>
                      <a:pt x="166" y="56"/>
                      <a:pt x="166" y="56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62" y="59"/>
                      <a:pt x="162" y="59"/>
                      <a:pt x="162" y="59"/>
                    </a:cubicBezTo>
                    <a:cubicBezTo>
                      <a:pt x="161" y="59"/>
                      <a:pt x="162" y="59"/>
                      <a:pt x="162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59" y="56"/>
                      <a:pt x="159" y="56"/>
                      <a:pt x="159" y="56"/>
                    </a:cubicBezTo>
                    <a:cubicBezTo>
                      <a:pt x="160" y="56"/>
                      <a:pt x="160" y="56"/>
                      <a:pt x="160" y="56"/>
                    </a:cubicBezTo>
                    <a:cubicBezTo>
                      <a:pt x="160" y="57"/>
                      <a:pt x="160" y="57"/>
                      <a:pt x="160" y="57"/>
                    </a:cubicBezTo>
                    <a:cubicBezTo>
                      <a:pt x="160" y="57"/>
                      <a:pt x="160" y="57"/>
                      <a:pt x="161" y="57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71" y="48"/>
                      <a:pt x="171" y="48"/>
                      <a:pt x="171" y="48"/>
                    </a:cubicBezTo>
                    <a:cubicBezTo>
                      <a:pt x="171" y="48"/>
                      <a:pt x="171" y="48"/>
                      <a:pt x="171" y="47"/>
                    </a:cubicBezTo>
                    <a:cubicBezTo>
                      <a:pt x="171" y="47"/>
                      <a:pt x="171" y="47"/>
                      <a:pt x="171" y="47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72" y="49"/>
                      <a:pt x="172" y="49"/>
                      <a:pt x="172" y="49"/>
                    </a:cubicBezTo>
                    <a:cubicBezTo>
                      <a:pt x="172" y="49"/>
                      <a:pt x="172" y="49"/>
                      <a:pt x="171" y="49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7" y="55"/>
                      <a:pt x="167" y="55"/>
                      <a:pt x="167" y="55"/>
                    </a:cubicBezTo>
                    <a:lnTo>
                      <a:pt x="174" y="54"/>
                    </a:ln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ŝ1îḓè">
                <a:extLst>
                  <a:ext uri="{FF2B5EF4-FFF2-40B4-BE49-F238E27FC236}">
                    <a16:creationId xmlns:a16="http://schemas.microsoft.com/office/drawing/2014/main" id="{13C0E147-05D7-4C43-BE2C-E80DAEDBE996}"/>
                  </a:ext>
                </a:extLst>
              </p:cNvPr>
              <p:cNvSpPr/>
              <p:nvPr/>
            </p:nvSpPr>
            <p:spPr bwMode="auto">
              <a:xfrm>
                <a:off x="3667126" y="3184525"/>
                <a:ext cx="492125" cy="496888"/>
              </a:xfrm>
              <a:custGeom>
                <a:avLst/>
                <a:gdLst>
                  <a:gd name="T0" fmla="*/ 74 w 149"/>
                  <a:gd name="T1" fmla="*/ 0 h 149"/>
                  <a:gd name="T2" fmla="*/ 149 w 149"/>
                  <a:gd name="T3" fmla="*/ 74 h 149"/>
                  <a:gd name="T4" fmla="*/ 74 w 149"/>
                  <a:gd name="T5" fmla="*/ 149 h 149"/>
                  <a:gd name="T6" fmla="*/ 0 w 149"/>
                  <a:gd name="T7" fmla="*/ 74 h 149"/>
                  <a:gd name="T8" fmla="*/ 74 w 149"/>
                  <a:gd name="T9" fmla="*/ 0 h 149"/>
                  <a:gd name="T10" fmla="*/ 74 w 149"/>
                  <a:gd name="T11" fmla="*/ 2 h 149"/>
                  <a:gd name="T12" fmla="*/ 2 w 149"/>
                  <a:gd name="T13" fmla="*/ 74 h 149"/>
                  <a:gd name="T14" fmla="*/ 74 w 149"/>
                  <a:gd name="T15" fmla="*/ 146 h 149"/>
                  <a:gd name="T16" fmla="*/ 146 w 149"/>
                  <a:gd name="T17" fmla="*/ 74 h 149"/>
                  <a:gd name="T18" fmla="*/ 74 w 149"/>
                  <a:gd name="T1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9" h="149">
                    <a:moveTo>
                      <a:pt x="74" y="0"/>
                    </a:move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115"/>
                      <a:pt x="115" y="149"/>
                      <a:pt x="74" y="149"/>
                    </a:cubicBezTo>
                    <a:cubicBezTo>
                      <a:pt x="33" y="149"/>
                      <a:pt x="0" y="11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lose/>
                    <a:moveTo>
                      <a:pt x="74" y="2"/>
                    </a:moveTo>
                    <a:cubicBezTo>
                      <a:pt x="35" y="2"/>
                      <a:pt x="2" y="34"/>
                      <a:pt x="2" y="74"/>
                    </a:cubicBezTo>
                    <a:cubicBezTo>
                      <a:pt x="2" y="114"/>
                      <a:pt x="35" y="146"/>
                      <a:pt x="74" y="146"/>
                    </a:cubicBezTo>
                    <a:cubicBezTo>
                      <a:pt x="114" y="146"/>
                      <a:pt x="146" y="114"/>
                      <a:pt x="146" y="74"/>
                    </a:cubicBezTo>
                    <a:cubicBezTo>
                      <a:pt x="146" y="34"/>
                      <a:pt x="114" y="2"/>
                      <a:pt x="74" y="2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iṣḷîďê">
                <a:extLst>
                  <a:ext uri="{FF2B5EF4-FFF2-40B4-BE49-F238E27FC236}">
                    <a16:creationId xmlns:a16="http://schemas.microsoft.com/office/drawing/2014/main" id="{18BE1E48-3CB1-468E-A627-E0EFC0EB9521}"/>
                  </a:ext>
                </a:extLst>
              </p:cNvPr>
              <p:cNvSpPr/>
              <p:nvPr/>
            </p:nvSpPr>
            <p:spPr bwMode="auto">
              <a:xfrm>
                <a:off x="3775076" y="3248025"/>
                <a:ext cx="274638" cy="146050"/>
              </a:xfrm>
              <a:custGeom>
                <a:avLst/>
                <a:gdLst>
                  <a:gd name="T0" fmla="*/ 10 w 83"/>
                  <a:gd name="T1" fmla="*/ 43 h 44"/>
                  <a:gd name="T2" fmla="*/ 18 w 83"/>
                  <a:gd name="T3" fmla="*/ 39 h 44"/>
                  <a:gd name="T4" fmla="*/ 67 w 83"/>
                  <a:gd name="T5" fmla="*/ 39 h 44"/>
                  <a:gd name="T6" fmla="*/ 73 w 83"/>
                  <a:gd name="T7" fmla="*/ 42 h 44"/>
                  <a:gd name="T8" fmla="*/ 76 w 83"/>
                  <a:gd name="T9" fmla="*/ 43 h 44"/>
                  <a:gd name="T10" fmla="*/ 83 w 83"/>
                  <a:gd name="T11" fmla="*/ 35 h 44"/>
                  <a:gd name="T12" fmla="*/ 76 w 83"/>
                  <a:gd name="T13" fmla="*/ 37 h 44"/>
                  <a:gd name="T14" fmla="*/ 69 w 83"/>
                  <a:gd name="T15" fmla="*/ 33 h 44"/>
                  <a:gd name="T16" fmla="*/ 70 w 83"/>
                  <a:gd name="T17" fmla="*/ 26 h 44"/>
                  <a:gd name="T18" fmla="*/ 64 w 83"/>
                  <a:gd name="T19" fmla="*/ 30 h 44"/>
                  <a:gd name="T20" fmla="*/ 59 w 83"/>
                  <a:gd name="T21" fmla="*/ 31 h 44"/>
                  <a:gd name="T22" fmla="*/ 56 w 83"/>
                  <a:gd name="T23" fmla="*/ 29 h 44"/>
                  <a:gd name="T24" fmla="*/ 56 w 83"/>
                  <a:gd name="T25" fmla="*/ 24 h 44"/>
                  <a:gd name="T26" fmla="*/ 58 w 83"/>
                  <a:gd name="T27" fmla="*/ 23 h 44"/>
                  <a:gd name="T28" fmla="*/ 58 w 83"/>
                  <a:gd name="T29" fmla="*/ 19 h 44"/>
                  <a:gd name="T30" fmla="*/ 54 w 83"/>
                  <a:gd name="T31" fmla="*/ 19 h 44"/>
                  <a:gd name="T32" fmla="*/ 53 w 83"/>
                  <a:gd name="T33" fmla="*/ 21 h 44"/>
                  <a:gd name="T34" fmla="*/ 44 w 83"/>
                  <a:gd name="T35" fmla="*/ 21 h 44"/>
                  <a:gd name="T36" fmla="*/ 43 w 83"/>
                  <a:gd name="T37" fmla="*/ 18 h 44"/>
                  <a:gd name="T38" fmla="*/ 44 w 83"/>
                  <a:gd name="T39" fmla="*/ 13 h 44"/>
                  <a:gd name="T40" fmla="*/ 43 w 83"/>
                  <a:gd name="T41" fmla="*/ 8 h 44"/>
                  <a:gd name="T42" fmla="*/ 43 w 83"/>
                  <a:gd name="T43" fmla="*/ 6 h 44"/>
                  <a:gd name="T44" fmla="*/ 43 w 83"/>
                  <a:gd name="T45" fmla="*/ 2 h 44"/>
                  <a:gd name="T46" fmla="*/ 43 w 83"/>
                  <a:gd name="T47" fmla="*/ 0 h 44"/>
                  <a:gd name="T48" fmla="*/ 40 w 83"/>
                  <a:gd name="T49" fmla="*/ 0 h 44"/>
                  <a:gd name="T50" fmla="*/ 39 w 83"/>
                  <a:gd name="T51" fmla="*/ 2 h 44"/>
                  <a:gd name="T52" fmla="*/ 39 w 83"/>
                  <a:gd name="T53" fmla="*/ 6 h 44"/>
                  <a:gd name="T54" fmla="*/ 39 w 83"/>
                  <a:gd name="T55" fmla="*/ 8 h 44"/>
                  <a:gd name="T56" fmla="*/ 38 w 83"/>
                  <a:gd name="T57" fmla="*/ 13 h 44"/>
                  <a:gd name="T58" fmla="*/ 38 w 83"/>
                  <a:gd name="T59" fmla="*/ 18 h 44"/>
                  <a:gd name="T60" fmla="*/ 38 w 83"/>
                  <a:gd name="T61" fmla="*/ 21 h 44"/>
                  <a:gd name="T62" fmla="*/ 30 w 83"/>
                  <a:gd name="T63" fmla="*/ 21 h 44"/>
                  <a:gd name="T64" fmla="*/ 29 w 83"/>
                  <a:gd name="T65" fmla="*/ 19 h 44"/>
                  <a:gd name="T66" fmla="*/ 25 w 83"/>
                  <a:gd name="T67" fmla="*/ 19 h 44"/>
                  <a:gd name="T68" fmla="*/ 25 w 83"/>
                  <a:gd name="T69" fmla="*/ 23 h 44"/>
                  <a:gd name="T70" fmla="*/ 26 w 83"/>
                  <a:gd name="T71" fmla="*/ 24 h 44"/>
                  <a:gd name="T72" fmla="*/ 27 w 83"/>
                  <a:gd name="T73" fmla="*/ 29 h 44"/>
                  <a:gd name="T74" fmla="*/ 22 w 83"/>
                  <a:gd name="T75" fmla="*/ 31 h 44"/>
                  <a:gd name="T76" fmla="*/ 13 w 83"/>
                  <a:gd name="T77" fmla="*/ 26 h 44"/>
                  <a:gd name="T78" fmla="*/ 13 w 83"/>
                  <a:gd name="T79" fmla="*/ 35 h 44"/>
                  <a:gd name="T80" fmla="*/ 7 w 83"/>
                  <a:gd name="T81" fmla="*/ 37 h 44"/>
                  <a:gd name="T82" fmla="*/ 0 w 83"/>
                  <a:gd name="T83" fmla="*/ 34 h 44"/>
                  <a:gd name="T84" fmla="*/ 5 w 83"/>
                  <a:gd name="T85" fmla="*/ 42 h 44"/>
                  <a:gd name="T86" fmla="*/ 10 w 83"/>
                  <a:gd name="T87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44">
                    <a:moveTo>
                      <a:pt x="10" y="43"/>
                    </a:moveTo>
                    <a:cubicBezTo>
                      <a:pt x="18" y="39"/>
                      <a:pt x="18" y="39"/>
                      <a:pt x="18" y="39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4" y="43"/>
                      <a:pt x="75" y="43"/>
                      <a:pt x="76" y="43"/>
                    </a:cubicBezTo>
                    <a:cubicBezTo>
                      <a:pt x="80" y="42"/>
                      <a:pt x="83" y="35"/>
                      <a:pt x="83" y="35"/>
                    </a:cubicBezTo>
                    <a:cubicBezTo>
                      <a:pt x="83" y="35"/>
                      <a:pt x="79" y="38"/>
                      <a:pt x="76" y="37"/>
                    </a:cubicBezTo>
                    <a:cubicBezTo>
                      <a:pt x="73" y="37"/>
                      <a:pt x="69" y="36"/>
                      <a:pt x="69" y="33"/>
                    </a:cubicBezTo>
                    <a:cubicBezTo>
                      <a:pt x="69" y="30"/>
                      <a:pt x="70" y="27"/>
                      <a:pt x="70" y="26"/>
                    </a:cubicBezTo>
                    <a:cubicBezTo>
                      <a:pt x="70" y="26"/>
                      <a:pt x="67" y="29"/>
                      <a:pt x="64" y="30"/>
                    </a:cubicBezTo>
                    <a:cubicBezTo>
                      <a:pt x="61" y="32"/>
                      <a:pt x="60" y="31"/>
                      <a:pt x="59" y="31"/>
                    </a:cubicBezTo>
                    <a:cubicBezTo>
                      <a:pt x="57" y="30"/>
                      <a:pt x="56" y="29"/>
                      <a:pt x="56" y="29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9"/>
                      <a:pt x="54" y="21"/>
                      <a:pt x="53" y="21"/>
                    </a:cubicBezTo>
                    <a:cubicBezTo>
                      <a:pt x="52" y="21"/>
                      <a:pt x="44" y="21"/>
                      <a:pt x="44" y="21"/>
                    </a:cubicBezTo>
                    <a:cubicBezTo>
                      <a:pt x="44" y="21"/>
                      <a:pt x="43" y="20"/>
                      <a:pt x="43" y="18"/>
                    </a:cubicBezTo>
                    <a:cubicBezTo>
                      <a:pt x="44" y="17"/>
                      <a:pt x="44" y="17"/>
                      <a:pt x="44" y="13"/>
                    </a:cubicBezTo>
                    <a:cubicBezTo>
                      <a:pt x="44" y="10"/>
                      <a:pt x="44" y="9"/>
                      <a:pt x="43" y="8"/>
                    </a:cubicBezTo>
                    <a:cubicBezTo>
                      <a:pt x="43" y="7"/>
                      <a:pt x="42" y="7"/>
                      <a:pt x="43" y="6"/>
                    </a:cubicBezTo>
                    <a:cubicBezTo>
                      <a:pt x="44" y="5"/>
                      <a:pt x="44" y="4"/>
                      <a:pt x="43" y="2"/>
                    </a:cubicBezTo>
                    <a:cubicBezTo>
                      <a:pt x="42" y="1"/>
                      <a:pt x="43" y="2"/>
                      <a:pt x="43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9" y="0"/>
                      <a:pt x="40" y="1"/>
                      <a:pt x="39" y="2"/>
                    </a:cubicBezTo>
                    <a:cubicBezTo>
                      <a:pt x="38" y="3"/>
                      <a:pt x="38" y="5"/>
                      <a:pt x="39" y="6"/>
                    </a:cubicBezTo>
                    <a:cubicBezTo>
                      <a:pt x="39" y="7"/>
                      <a:pt x="40" y="7"/>
                      <a:pt x="39" y="8"/>
                    </a:cubicBezTo>
                    <a:cubicBezTo>
                      <a:pt x="38" y="9"/>
                      <a:pt x="38" y="10"/>
                      <a:pt x="38" y="13"/>
                    </a:cubicBezTo>
                    <a:cubicBezTo>
                      <a:pt x="38" y="16"/>
                      <a:pt x="38" y="17"/>
                      <a:pt x="38" y="18"/>
                    </a:cubicBezTo>
                    <a:cubicBezTo>
                      <a:pt x="39" y="20"/>
                      <a:pt x="38" y="21"/>
                      <a:pt x="38" y="21"/>
                    </a:cubicBezTo>
                    <a:cubicBezTo>
                      <a:pt x="37" y="21"/>
                      <a:pt x="30" y="21"/>
                      <a:pt x="30" y="21"/>
                    </a:cubicBezTo>
                    <a:cubicBezTo>
                      <a:pt x="30" y="21"/>
                      <a:pt x="29" y="20"/>
                      <a:pt x="29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4" y="31"/>
                      <a:pt x="22" y="31"/>
                    </a:cubicBezTo>
                    <a:cubicBezTo>
                      <a:pt x="19" y="31"/>
                      <a:pt x="13" y="26"/>
                      <a:pt x="13" y="26"/>
                    </a:cubicBezTo>
                    <a:cubicBezTo>
                      <a:pt x="13" y="26"/>
                      <a:pt x="14" y="33"/>
                      <a:pt x="13" y="35"/>
                    </a:cubicBezTo>
                    <a:cubicBezTo>
                      <a:pt x="13" y="37"/>
                      <a:pt x="10" y="37"/>
                      <a:pt x="7" y="37"/>
                    </a:cubicBezTo>
                    <a:cubicBezTo>
                      <a:pt x="4" y="37"/>
                      <a:pt x="0" y="35"/>
                      <a:pt x="0" y="34"/>
                    </a:cubicBezTo>
                    <a:cubicBezTo>
                      <a:pt x="0" y="34"/>
                      <a:pt x="3" y="40"/>
                      <a:pt x="5" y="42"/>
                    </a:cubicBezTo>
                    <a:cubicBezTo>
                      <a:pt x="7" y="44"/>
                      <a:pt x="10" y="43"/>
                      <a:pt x="10" y="4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iṧlîḋe">
                <a:extLst>
                  <a:ext uri="{FF2B5EF4-FFF2-40B4-BE49-F238E27FC236}">
                    <a16:creationId xmlns:a16="http://schemas.microsoft.com/office/drawing/2014/main" id="{FE4F60DA-B731-495C-ABC0-3C128DF89C3F}"/>
                  </a:ext>
                </a:extLst>
              </p:cNvPr>
              <p:cNvSpPr/>
              <p:nvPr/>
            </p:nvSpPr>
            <p:spPr bwMode="auto">
              <a:xfrm>
                <a:off x="3614738" y="3370263"/>
                <a:ext cx="596900" cy="241300"/>
              </a:xfrm>
              <a:custGeom>
                <a:avLst/>
                <a:gdLst>
                  <a:gd name="T0" fmla="*/ 58 w 181"/>
                  <a:gd name="T1" fmla="*/ 72 h 72"/>
                  <a:gd name="T2" fmla="*/ 8 w 181"/>
                  <a:gd name="T3" fmla="*/ 72 h 72"/>
                  <a:gd name="T4" fmla="*/ 3 w 181"/>
                  <a:gd name="T5" fmla="*/ 63 h 72"/>
                  <a:gd name="T6" fmla="*/ 6 w 181"/>
                  <a:gd name="T7" fmla="*/ 63 h 72"/>
                  <a:gd name="T8" fmla="*/ 11 w 181"/>
                  <a:gd name="T9" fmla="*/ 55 h 72"/>
                  <a:gd name="T10" fmla="*/ 14 w 181"/>
                  <a:gd name="T11" fmla="*/ 55 h 72"/>
                  <a:gd name="T12" fmla="*/ 14 w 181"/>
                  <a:gd name="T13" fmla="*/ 29 h 72"/>
                  <a:gd name="T14" fmla="*/ 0 w 181"/>
                  <a:gd name="T15" fmla="*/ 4 h 72"/>
                  <a:gd name="T16" fmla="*/ 30 w 181"/>
                  <a:gd name="T17" fmla="*/ 0 h 72"/>
                  <a:gd name="T18" fmla="*/ 58 w 181"/>
                  <a:gd name="T19" fmla="*/ 8 h 72"/>
                  <a:gd name="T20" fmla="*/ 51 w 181"/>
                  <a:gd name="T21" fmla="*/ 25 h 72"/>
                  <a:gd name="T22" fmla="*/ 131 w 181"/>
                  <a:gd name="T23" fmla="*/ 25 h 72"/>
                  <a:gd name="T24" fmla="*/ 122 w 181"/>
                  <a:gd name="T25" fmla="*/ 8 h 72"/>
                  <a:gd name="T26" fmla="*/ 150 w 181"/>
                  <a:gd name="T27" fmla="*/ 0 h 72"/>
                  <a:gd name="T28" fmla="*/ 181 w 181"/>
                  <a:gd name="T29" fmla="*/ 5 h 72"/>
                  <a:gd name="T30" fmla="*/ 166 w 181"/>
                  <a:gd name="T31" fmla="*/ 28 h 72"/>
                  <a:gd name="T32" fmla="*/ 166 w 181"/>
                  <a:gd name="T33" fmla="*/ 55 h 72"/>
                  <a:gd name="T34" fmla="*/ 171 w 181"/>
                  <a:gd name="T35" fmla="*/ 55 h 72"/>
                  <a:gd name="T36" fmla="*/ 178 w 181"/>
                  <a:gd name="T37" fmla="*/ 65 h 72"/>
                  <a:gd name="T38" fmla="*/ 174 w 181"/>
                  <a:gd name="T39" fmla="*/ 72 h 72"/>
                  <a:gd name="T40" fmla="*/ 58 w 181"/>
                  <a:gd name="T4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72">
                    <a:moveTo>
                      <a:pt x="58" y="72"/>
                    </a:moveTo>
                    <a:cubicBezTo>
                      <a:pt x="8" y="72"/>
                      <a:pt x="8" y="72"/>
                      <a:pt x="8" y="7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7" y="61"/>
                      <a:pt x="10" y="57"/>
                      <a:pt x="11" y="55"/>
                    </a:cubicBezTo>
                    <a:cubicBezTo>
                      <a:pt x="12" y="55"/>
                      <a:pt x="13" y="55"/>
                      <a:pt x="14" y="55"/>
                    </a:cubicBezTo>
                    <a:cubicBezTo>
                      <a:pt x="14" y="45"/>
                      <a:pt x="14" y="39"/>
                      <a:pt x="14" y="29"/>
                    </a:cubicBezTo>
                    <a:cubicBezTo>
                      <a:pt x="6" y="25"/>
                      <a:pt x="0" y="19"/>
                      <a:pt x="0" y="4"/>
                    </a:cubicBezTo>
                    <a:cubicBezTo>
                      <a:pt x="13" y="19"/>
                      <a:pt x="25" y="20"/>
                      <a:pt x="30" y="0"/>
                    </a:cubicBezTo>
                    <a:cubicBezTo>
                      <a:pt x="40" y="22"/>
                      <a:pt x="50" y="16"/>
                      <a:pt x="58" y="8"/>
                    </a:cubicBezTo>
                    <a:cubicBezTo>
                      <a:pt x="59" y="17"/>
                      <a:pt x="51" y="24"/>
                      <a:pt x="5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8" y="21"/>
                      <a:pt x="123" y="15"/>
                      <a:pt x="122" y="8"/>
                    </a:cubicBezTo>
                    <a:cubicBezTo>
                      <a:pt x="131" y="18"/>
                      <a:pt x="141" y="23"/>
                      <a:pt x="150" y="0"/>
                    </a:cubicBezTo>
                    <a:cubicBezTo>
                      <a:pt x="160" y="23"/>
                      <a:pt x="169" y="16"/>
                      <a:pt x="181" y="5"/>
                    </a:cubicBezTo>
                    <a:cubicBezTo>
                      <a:pt x="178" y="23"/>
                      <a:pt x="174" y="23"/>
                      <a:pt x="166" y="28"/>
                    </a:cubicBezTo>
                    <a:cubicBezTo>
                      <a:pt x="166" y="38"/>
                      <a:pt x="166" y="45"/>
                      <a:pt x="166" y="55"/>
                    </a:cubicBezTo>
                    <a:cubicBezTo>
                      <a:pt x="168" y="55"/>
                      <a:pt x="169" y="55"/>
                      <a:pt x="171" y="5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4" y="72"/>
                      <a:pt x="174" y="72"/>
                      <a:pt x="174" y="72"/>
                    </a:cubicBezTo>
                    <a:lnTo>
                      <a:pt x="58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ïṩľïḓè">
                <a:extLst>
                  <a:ext uri="{FF2B5EF4-FFF2-40B4-BE49-F238E27FC236}">
                    <a16:creationId xmlns:a16="http://schemas.microsoft.com/office/drawing/2014/main" id="{17C0D534-C78E-47C3-B0C1-0243668D3326}"/>
                  </a:ext>
                </a:extLst>
              </p:cNvPr>
              <p:cNvSpPr/>
              <p:nvPr/>
            </p:nvSpPr>
            <p:spPr bwMode="auto">
              <a:xfrm>
                <a:off x="3624263" y="3381375"/>
                <a:ext cx="577850" cy="200025"/>
              </a:xfrm>
              <a:custGeom>
                <a:avLst/>
                <a:gdLst>
                  <a:gd name="T0" fmla="*/ 130 w 175"/>
                  <a:gd name="T1" fmla="*/ 51 h 60"/>
                  <a:gd name="T2" fmla="*/ 130 w 175"/>
                  <a:gd name="T3" fmla="*/ 50 h 60"/>
                  <a:gd name="T4" fmla="*/ 48 w 175"/>
                  <a:gd name="T5" fmla="*/ 50 h 60"/>
                  <a:gd name="T6" fmla="*/ 48 w 175"/>
                  <a:gd name="T7" fmla="*/ 51 h 60"/>
                  <a:gd name="T8" fmla="*/ 52 w 175"/>
                  <a:gd name="T9" fmla="*/ 51 h 60"/>
                  <a:gd name="T10" fmla="*/ 48 w 175"/>
                  <a:gd name="T11" fmla="*/ 60 h 60"/>
                  <a:gd name="T12" fmla="*/ 7 w 175"/>
                  <a:gd name="T13" fmla="*/ 60 h 60"/>
                  <a:gd name="T14" fmla="*/ 10 w 175"/>
                  <a:gd name="T15" fmla="*/ 54 h 60"/>
                  <a:gd name="T16" fmla="*/ 14 w 175"/>
                  <a:gd name="T17" fmla="*/ 54 h 60"/>
                  <a:gd name="T18" fmla="*/ 13 w 175"/>
                  <a:gd name="T19" fmla="*/ 25 h 60"/>
                  <a:gd name="T20" fmla="*/ 0 w 175"/>
                  <a:gd name="T21" fmla="*/ 7 h 60"/>
                  <a:gd name="T22" fmla="*/ 28 w 175"/>
                  <a:gd name="T23" fmla="*/ 0 h 60"/>
                  <a:gd name="T24" fmla="*/ 55 w 175"/>
                  <a:gd name="T25" fmla="*/ 7 h 60"/>
                  <a:gd name="T26" fmla="*/ 48 w 175"/>
                  <a:gd name="T27" fmla="*/ 22 h 60"/>
                  <a:gd name="T28" fmla="*/ 127 w 175"/>
                  <a:gd name="T29" fmla="*/ 22 h 60"/>
                  <a:gd name="T30" fmla="*/ 119 w 175"/>
                  <a:gd name="T31" fmla="*/ 7 h 60"/>
                  <a:gd name="T32" fmla="*/ 147 w 175"/>
                  <a:gd name="T33" fmla="*/ 0 h 60"/>
                  <a:gd name="T34" fmla="*/ 175 w 175"/>
                  <a:gd name="T35" fmla="*/ 7 h 60"/>
                  <a:gd name="T36" fmla="*/ 161 w 175"/>
                  <a:gd name="T37" fmla="*/ 24 h 60"/>
                  <a:gd name="T38" fmla="*/ 161 w 175"/>
                  <a:gd name="T39" fmla="*/ 53 h 60"/>
                  <a:gd name="T40" fmla="*/ 165 w 175"/>
                  <a:gd name="T41" fmla="*/ 53 h 60"/>
                  <a:gd name="T42" fmla="*/ 169 w 175"/>
                  <a:gd name="T43" fmla="*/ 60 h 60"/>
                  <a:gd name="T44" fmla="*/ 128 w 175"/>
                  <a:gd name="T45" fmla="*/ 60 h 60"/>
                  <a:gd name="T46" fmla="*/ 124 w 175"/>
                  <a:gd name="T47" fmla="*/ 51 h 60"/>
                  <a:gd name="T48" fmla="*/ 130 w 175"/>
                  <a:gd name="T49" fmla="*/ 5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5" h="60">
                    <a:moveTo>
                      <a:pt x="130" y="51"/>
                    </a:moveTo>
                    <a:cubicBezTo>
                      <a:pt x="130" y="50"/>
                      <a:pt x="130" y="50"/>
                      <a:pt x="130" y="50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34" y="60"/>
                      <a:pt x="20" y="60"/>
                      <a:pt x="7" y="60"/>
                    </a:cubicBezTo>
                    <a:cubicBezTo>
                      <a:pt x="8" y="58"/>
                      <a:pt x="9" y="56"/>
                      <a:pt x="10" y="54"/>
                    </a:cubicBezTo>
                    <a:cubicBezTo>
                      <a:pt x="11" y="54"/>
                      <a:pt x="12" y="54"/>
                      <a:pt x="14" y="54"/>
                    </a:cubicBezTo>
                    <a:cubicBezTo>
                      <a:pt x="14" y="44"/>
                      <a:pt x="13" y="34"/>
                      <a:pt x="13" y="25"/>
                    </a:cubicBezTo>
                    <a:cubicBezTo>
                      <a:pt x="5" y="20"/>
                      <a:pt x="1" y="14"/>
                      <a:pt x="0" y="7"/>
                    </a:cubicBezTo>
                    <a:cubicBezTo>
                      <a:pt x="12" y="18"/>
                      <a:pt x="22" y="17"/>
                      <a:pt x="28" y="0"/>
                    </a:cubicBezTo>
                    <a:cubicBezTo>
                      <a:pt x="37" y="22"/>
                      <a:pt x="47" y="15"/>
                      <a:pt x="55" y="7"/>
                    </a:cubicBezTo>
                    <a:cubicBezTo>
                      <a:pt x="55" y="14"/>
                      <a:pt x="50" y="17"/>
                      <a:pt x="48" y="22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5" y="18"/>
                      <a:pt x="120" y="14"/>
                      <a:pt x="119" y="7"/>
                    </a:cubicBezTo>
                    <a:cubicBezTo>
                      <a:pt x="127" y="15"/>
                      <a:pt x="137" y="22"/>
                      <a:pt x="147" y="0"/>
                    </a:cubicBezTo>
                    <a:cubicBezTo>
                      <a:pt x="153" y="17"/>
                      <a:pt x="163" y="18"/>
                      <a:pt x="175" y="7"/>
                    </a:cubicBezTo>
                    <a:cubicBezTo>
                      <a:pt x="173" y="14"/>
                      <a:pt x="169" y="19"/>
                      <a:pt x="161" y="24"/>
                    </a:cubicBezTo>
                    <a:cubicBezTo>
                      <a:pt x="161" y="34"/>
                      <a:pt x="161" y="44"/>
                      <a:pt x="161" y="53"/>
                    </a:cubicBezTo>
                    <a:cubicBezTo>
                      <a:pt x="162" y="53"/>
                      <a:pt x="164" y="53"/>
                      <a:pt x="165" y="53"/>
                    </a:cubicBezTo>
                    <a:cubicBezTo>
                      <a:pt x="166" y="55"/>
                      <a:pt x="167" y="58"/>
                      <a:pt x="169" y="60"/>
                    </a:cubicBezTo>
                    <a:cubicBezTo>
                      <a:pt x="155" y="60"/>
                      <a:pt x="142" y="60"/>
                      <a:pt x="128" y="60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30" y="51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ṣľïdê">
                <a:extLst>
                  <a:ext uri="{FF2B5EF4-FFF2-40B4-BE49-F238E27FC236}">
                    <a16:creationId xmlns:a16="http://schemas.microsoft.com/office/drawing/2014/main" id="{5A6189C0-70A8-4426-9689-830721FB2F12}"/>
                  </a:ext>
                </a:extLst>
              </p:cNvPr>
              <p:cNvSpPr/>
              <p:nvPr/>
            </p:nvSpPr>
            <p:spPr bwMode="auto">
              <a:xfrm>
                <a:off x="4065588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îšļíḍe">
                <a:extLst>
                  <a:ext uri="{FF2B5EF4-FFF2-40B4-BE49-F238E27FC236}">
                    <a16:creationId xmlns:a16="http://schemas.microsoft.com/office/drawing/2014/main" id="{EBED87DD-8CE0-45EF-8B6D-0ADE5C13502D}"/>
                  </a:ext>
                </a:extLst>
              </p:cNvPr>
              <p:cNvSpPr/>
              <p:nvPr/>
            </p:nvSpPr>
            <p:spPr bwMode="auto">
              <a:xfrm>
                <a:off x="3740151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íṧľîḋe">
                <a:extLst>
                  <a:ext uri="{FF2B5EF4-FFF2-40B4-BE49-F238E27FC236}">
                    <a16:creationId xmlns:a16="http://schemas.microsoft.com/office/drawing/2014/main" id="{2B6FDD38-98C1-4BD3-9972-FFE210D235C0}"/>
                  </a:ext>
                </a:extLst>
              </p:cNvPr>
              <p:cNvSpPr/>
              <p:nvPr/>
            </p:nvSpPr>
            <p:spPr bwMode="auto">
              <a:xfrm>
                <a:off x="4125913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îŝľîdê">
                <a:extLst>
                  <a:ext uri="{FF2B5EF4-FFF2-40B4-BE49-F238E27FC236}">
                    <a16:creationId xmlns:a16="http://schemas.microsoft.com/office/drawing/2014/main" id="{337224A6-B5EA-4997-9007-052E12D711E8}"/>
                  </a:ext>
                </a:extLst>
              </p:cNvPr>
              <p:cNvSpPr/>
              <p:nvPr/>
            </p:nvSpPr>
            <p:spPr bwMode="auto">
              <a:xfrm>
                <a:off x="3709988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îṧlîḓè">
                <a:extLst>
                  <a:ext uri="{FF2B5EF4-FFF2-40B4-BE49-F238E27FC236}">
                    <a16:creationId xmlns:a16="http://schemas.microsoft.com/office/drawing/2014/main" id="{D3D544B6-7845-4729-9F67-B4D8FD841202}"/>
                  </a:ext>
                </a:extLst>
              </p:cNvPr>
              <p:cNvSpPr/>
              <p:nvPr/>
            </p:nvSpPr>
            <p:spPr bwMode="auto">
              <a:xfrm>
                <a:off x="4095751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iṥḻîḍe">
                <a:extLst>
                  <a:ext uri="{FF2B5EF4-FFF2-40B4-BE49-F238E27FC236}">
                    <a16:creationId xmlns:a16="http://schemas.microsoft.com/office/drawing/2014/main" id="{02FF7CBD-EC78-4AA7-A8E9-FFD9E038D6B0}"/>
                  </a:ext>
                </a:extLst>
              </p:cNvPr>
              <p:cNvSpPr/>
              <p:nvPr/>
            </p:nvSpPr>
            <p:spPr bwMode="auto">
              <a:xfrm>
                <a:off x="3663951" y="3460750"/>
                <a:ext cx="495300" cy="3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iṩļïďe">
                <a:extLst>
                  <a:ext uri="{FF2B5EF4-FFF2-40B4-BE49-F238E27FC236}">
                    <a16:creationId xmlns:a16="http://schemas.microsoft.com/office/drawing/2014/main" id="{D23343FC-2142-4771-A52A-91EAB1F1555B}"/>
                  </a:ext>
                </a:extLst>
              </p:cNvPr>
              <p:cNvSpPr/>
              <p:nvPr/>
            </p:nvSpPr>
            <p:spPr bwMode="auto">
              <a:xfrm>
                <a:off x="3663951" y="3473450"/>
                <a:ext cx="11588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iṧliḋé">
                <a:extLst>
                  <a:ext uri="{FF2B5EF4-FFF2-40B4-BE49-F238E27FC236}">
                    <a16:creationId xmlns:a16="http://schemas.microsoft.com/office/drawing/2014/main" id="{A82CC8C3-32B0-44E7-B5D1-9085D763A8D5}"/>
                  </a:ext>
                </a:extLst>
              </p:cNvPr>
              <p:cNvSpPr/>
              <p:nvPr/>
            </p:nvSpPr>
            <p:spPr bwMode="auto">
              <a:xfrm>
                <a:off x="3789363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s1íde">
                <a:extLst>
                  <a:ext uri="{FF2B5EF4-FFF2-40B4-BE49-F238E27FC236}">
                    <a16:creationId xmlns:a16="http://schemas.microsoft.com/office/drawing/2014/main" id="{2A293431-52DC-486E-953D-5C17983D40B3}"/>
                  </a:ext>
                </a:extLst>
              </p:cNvPr>
              <p:cNvSpPr/>
              <p:nvPr/>
            </p:nvSpPr>
            <p:spPr bwMode="auto">
              <a:xfrm>
                <a:off x="3851276" y="3473450"/>
                <a:ext cx="571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iṣļíde">
                <a:extLst>
                  <a:ext uri="{FF2B5EF4-FFF2-40B4-BE49-F238E27FC236}">
                    <a16:creationId xmlns:a16="http://schemas.microsoft.com/office/drawing/2014/main" id="{85A6F31A-B7E8-489F-8AAA-D35E833F06F0}"/>
                  </a:ext>
                </a:extLst>
              </p:cNvPr>
              <p:cNvSpPr/>
              <p:nvPr/>
            </p:nvSpPr>
            <p:spPr bwMode="auto">
              <a:xfrm>
                <a:off x="3917951" y="3473450"/>
                <a:ext cx="555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îS1idê">
                <a:extLst>
                  <a:ext uri="{FF2B5EF4-FFF2-40B4-BE49-F238E27FC236}">
                    <a16:creationId xmlns:a16="http://schemas.microsoft.com/office/drawing/2014/main" id="{CAC164CF-07EE-453D-91D0-E654E91D30D4}"/>
                  </a:ext>
                </a:extLst>
              </p:cNvPr>
              <p:cNvSpPr/>
              <p:nvPr/>
            </p:nvSpPr>
            <p:spPr bwMode="auto">
              <a:xfrm>
                <a:off x="3994151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íŝlíḓê">
                <a:extLst>
                  <a:ext uri="{FF2B5EF4-FFF2-40B4-BE49-F238E27FC236}">
                    <a16:creationId xmlns:a16="http://schemas.microsoft.com/office/drawing/2014/main" id="{9B560613-7A7A-498E-B264-E581E8308CBF}"/>
                  </a:ext>
                </a:extLst>
              </p:cNvPr>
              <p:cNvSpPr/>
              <p:nvPr/>
            </p:nvSpPr>
            <p:spPr bwMode="auto">
              <a:xfrm>
                <a:off x="4046538" y="3473450"/>
                <a:ext cx="11271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šḷíḍè">
                <a:extLst>
                  <a:ext uri="{FF2B5EF4-FFF2-40B4-BE49-F238E27FC236}">
                    <a16:creationId xmlns:a16="http://schemas.microsoft.com/office/drawing/2014/main" id="{83C60AA7-4D70-48AF-91FD-3DE85C7307C0}"/>
                  </a:ext>
                </a:extLst>
              </p:cNvPr>
              <p:cNvSpPr/>
              <p:nvPr/>
            </p:nvSpPr>
            <p:spPr bwMode="auto">
              <a:xfrm>
                <a:off x="3979863" y="3473450"/>
                <a:ext cx="793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îṣļïďé">
                <a:extLst>
                  <a:ext uri="{FF2B5EF4-FFF2-40B4-BE49-F238E27FC236}">
                    <a16:creationId xmlns:a16="http://schemas.microsoft.com/office/drawing/2014/main" id="{C9839C6B-9308-4C39-8957-BAB5EAA0E59C}"/>
                  </a:ext>
                </a:extLst>
              </p:cNvPr>
              <p:cNvSpPr/>
              <p:nvPr/>
            </p:nvSpPr>
            <p:spPr bwMode="auto">
              <a:xfrm>
                <a:off x="3838576" y="3473450"/>
                <a:ext cx="63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išľïḑê">
                <a:extLst>
                  <a:ext uri="{FF2B5EF4-FFF2-40B4-BE49-F238E27FC236}">
                    <a16:creationId xmlns:a16="http://schemas.microsoft.com/office/drawing/2014/main" id="{E35A71E7-B864-4106-8411-951FCEEC9B99}"/>
                  </a:ext>
                </a:extLst>
              </p:cNvPr>
              <p:cNvSpPr/>
              <p:nvPr/>
            </p:nvSpPr>
            <p:spPr bwMode="auto">
              <a:xfrm>
                <a:off x="3851276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íṣlíḋê">
                <a:extLst>
                  <a:ext uri="{FF2B5EF4-FFF2-40B4-BE49-F238E27FC236}">
                    <a16:creationId xmlns:a16="http://schemas.microsoft.com/office/drawing/2014/main" id="{56E5429C-5759-4FA4-9609-481606FE94E7}"/>
                  </a:ext>
                </a:extLst>
              </p:cNvPr>
              <p:cNvSpPr/>
              <p:nvPr/>
            </p:nvSpPr>
            <p:spPr bwMode="auto">
              <a:xfrm>
                <a:off x="3817938" y="3384550"/>
                <a:ext cx="26988" cy="15875"/>
              </a:xfrm>
              <a:custGeom>
                <a:avLst/>
                <a:gdLst>
                  <a:gd name="T0" fmla="*/ 7 w 8"/>
                  <a:gd name="T1" fmla="*/ 0 h 5"/>
                  <a:gd name="T2" fmla="*/ 8 w 8"/>
                  <a:gd name="T3" fmla="*/ 2 h 5"/>
                  <a:gd name="T4" fmla="*/ 1 w 8"/>
                  <a:gd name="T5" fmla="*/ 5 h 5"/>
                  <a:gd name="T6" fmla="*/ 7 w 8"/>
                  <a:gd name="T7" fmla="*/ 0 h 5"/>
                  <a:gd name="T8" fmla="*/ 7 w 8"/>
                  <a:gd name="T9" fmla="*/ 0 h 5"/>
                  <a:gd name="T10" fmla="*/ 7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7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2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ïSḷíḓé">
                <a:extLst>
                  <a:ext uri="{FF2B5EF4-FFF2-40B4-BE49-F238E27FC236}">
                    <a16:creationId xmlns:a16="http://schemas.microsoft.com/office/drawing/2014/main" id="{D9E8A568-A16E-446C-BDFB-1A9F388879CB}"/>
                  </a:ext>
                </a:extLst>
              </p:cNvPr>
              <p:cNvSpPr/>
              <p:nvPr/>
            </p:nvSpPr>
            <p:spPr bwMode="auto">
              <a:xfrm>
                <a:off x="3983038" y="3384550"/>
                <a:ext cx="26988" cy="15875"/>
              </a:xfrm>
              <a:custGeom>
                <a:avLst/>
                <a:gdLst>
                  <a:gd name="T0" fmla="*/ 1 w 8"/>
                  <a:gd name="T1" fmla="*/ 0 h 5"/>
                  <a:gd name="T2" fmla="*/ 0 w 8"/>
                  <a:gd name="T3" fmla="*/ 2 h 5"/>
                  <a:gd name="T4" fmla="*/ 7 w 8"/>
                  <a:gd name="T5" fmla="*/ 5 h 5"/>
                  <a:gd name="T6" fmla="*/ 1 w 8"/>
                  <a:gd name="T7" fmla="*/ 0 h 5"/>
                  <a:gd name="T8" fmla="*/ 1 w 8"/>
                  <a:gd name="T9" fmla="*/ 0 h 5"/>
                  <a:gd name="T10" fmla="*/ 1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8" y="2"/>
                      <a:pt x="1" y="0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ṩľíḓè">
                <a:extLst>
                  <a:ext uri="{FF2B5EF4-FFF2-40B4-BE49-F238E27FC236}">
                    <a16:creationId xmlns:a16="http://schemas.microsoft.com/office/drawing/2014/main" id="{02C117E9-D424-41DC-AD98-DB9564A7854D}"/>
                  </a:ext>
                </a:extLst>
              </p:cNvPr>
              <p:cNvSpPr/>
              <p:nvPr/>
            </p:nvSpPr>
            <p:spPr bwMode="auto">
              <a:xfrm>
                <a:off x="3884613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íṧlíḓè">
                <a:extLst>
                  <a:ext uri="{FF2B5EF4-FFF2-40B4-BE49-F238E27FC236}">
                    <a16:creationId xmlns:a16="http://schemas.microsoft.com/office/drawing/2014/main" id="{83F981F0-246A-4F85-81FE-AE18F7900F10}"/>
                  </a:ext>
                </a:extLst>
              </p:cNvPr>
              <p:cNvSpPr/>
              <p:nvPr/>
            </p:nvSpPr>
            <p:spPr bwMode="auto">
              <a:xfrm>
                <a:off x="3917951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ŝ1îďè">
                <a:extLst>
                  <a:ext uri="{FF2B5EF4-FFF2-40B4-BE49-F238E27FC236}">
                    <a16:creationId xmlns:a16="http://schemas.microsoft.com/office/drawing/2014/main" id="{9E3A8E43-8A4C-4591-BF68-BB3DEE37F8ED}"/>
                  </a:ext>
                </a:extLst>
              </p:cNvPr>
              <p:cNvSpPr/>
              <p:nvPr/>
            </p:nvSpPr>
            <p:spPr bwMode="auto">
              <a:xfrm>
                <a:off x="3951288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îṥ1íḓe">
                <a:extLst>
                  <a:ext uri="{FF2B5EF4-FFF2-40B4-BE49-F238E27FC236}">
                    <a16:creationId xmlns:a16="http://schemas.microsoft.com/office/drawing/2014/main" id="{940A8175-DEAD-4053-9375-DEA8391074A2}"/>
                  </a:ext>
                </a:extLst>
              </p:cNvPr>
              <p:cNvSpPr/>
              <p:nvPr/>
            </p:nvSpPr>
            <p:spPr bwMode="auto">
              <a:xfrm>
                <a:off x="3771901" y="3484563"/>
                <a:ext cx="7938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íSļïḋè">
                <a:extLst>
                  <a:ext uri="{FF2B5EF4-FFF2-40B4-BE49-F238E27FC236}">
                    <a16:creationId xmlns:a16="http://schemas.microsoft.com/office/drawing/2014/main" id="{3E6AB95F-DCD3-4CC0-838A-A55D6424DC51}"/>
                  </a:ext>
                </a:extLst>
              </p:cNvPr>
              <p:cNvSpPr/>
              <p:nvPr/>
            </p:nvSpPr>
            <p:spPr bwMode="auto">
              <a:xfrm>
                <a:off x="3786188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20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20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îṡḻiḑè">
                <a:extLst>
                  <a:ext uri="{FF2B5EF4-FFF2-40B4-BE49-F238E27FC236}">
                    <a16:creationId xmlns:a16="http://schemas.microsoft.com/office/drawing/2014/main" id="{215FC689-C420-48CA-8CEF-A2B6D3A9484A}"/>
                  </a:ext>
                </a:extLst>
              </p:cNvPr>
              <p:cNvSpPr/>
              <p:nvPr/>
            </p:nvSpPr>
            <p:spPr bwMode="auto">
              <a:xfrm>
                <a:off x="3994151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18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18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š1iḍé">
                <a:extLst>
                  <a:ext uri="{FF2B5EF4-FFF2-40B4-BE49-F238E27FC236}">
                    <a16:creationId xmlns:a16="http://schemas.microsoft.com/office/drawing/2014/main" id="{58E5A75C-BC93-4077-B11A-557D299EB52A}"/>
                  </a:ext>
                </a:extLst>
              </p:cNvPr>
              <p:cNvSpPr/>
              <p:nvPr/>
            </p:nvSpPr>
            <p:spPr bwMode="auto">
              <a:xfrm>
                <a:off x="3851276" y="3484563"/>
                <a:ext cx="122238" cy="60325"/>
              </a:xfrm>
              <a:custGeom>
                <a:avLst/>
                <a:gdLst>
                  <a:gd name="T0" fmla="*/ 9 w 77"/>
                  <a:gd name="T1" fmla="*/ 0 h 38"/>
                  <a:gd name="T2" fmla="*/ 69 w 77"/>
                  <a:gd name="T3" fmla="*/ 0 h 38"/>
                  <a:gd name="T4" fmla="*/ 77 w 77"/>
                  <a:gd name="T5" fmla="*/ 8 h 38"/>
                  <a:gd name="T6" fmla="*/ 77 w 77"/>
                  <a:gd name="T7" fmla="*/ 38 h 38"/>
                  <a:gd name="T8" fmla="*/ 0 w 77"/>
                  <a:gd name="T9" fmla="*/ 38 h 38"/>
                  <a:gd name="T10" fmla="*/ 0 w 77"/>
                  <a:gd name="T11" fmla="*/ 8 h 38"/>
                  <a:gd name="T12" fmla="*/ 9 w 77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38">
                    <a:moveTo>
                      <a:pt x="9" y="0"/>
                    </a:moveTo>
                    <a:lnTo>
                      <a:pt x="69" y="0"/>
                    </a:lnTo>
                    <a:lnTo>
                      <a:pt x="77" y="8"/>
                    </a:lnTo>
                    <a:lnTo>
                      <a:pt x="77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î$ḻïḓé">
                <a:extLst>
                  <a:ext uri="{FF2B5EF4-FFF2-40B4-BE49-F238E27FC236}">
                    <a16:creationId xmlns:a16="http://schemas.microsoft.com/office/drawing/2014/main" id="{2111E0E0-7D70-4648-B8AB-41ABDCD14BF8}"/>
                  </a:ext>
                </a:extLst>
              </p:cNvPr>
              <p:cNvSpPr/>
              <p:nvPr/>
            </p:nvSpPr>
            <p:spPr bwMode="auto">
              <a:xfrm>
                <a:off x="4046538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ṩ1íḓe">
                <a:extLst>
                  <a:ext uri="{FF2B5EF4-FFF2-40B4-BE49-F238E27FC236}">
                    <a16:creationId xmlns:a16="http://schemas.microsoft.com/office/drawing/2014/main" id="{659B67D3-47DF-4DAA-8FBA-1F44337DFA42}"/>
                  </a:ext>
                </a:extLst>
              </p:cNvPr>
              <p:cNvSpPr/>
              <p:nvPr/>
            </p:nvSpPr>
            <p:spPr bwMode="auto">
              <a:xfrm>
                <a:off x="3838576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íṧḷíďê">
                <a:extLst>
                  <a:ext uri="{FF2B5EF4-FFF2-40B4-BE49-F238E27FC236}">
                    <a16:creationId xmlns:a16="http://schemas.microsoft.com/office/drawing/2014/main" id="{7EB4E424-33DA-4AE3-BC4C-07F2335D8C70}"/>
                  </a:ext>
                </a:extLst>
              </p:cNvPr>
              <p:cNvSpPr/>
              <p:nvPr/>
            </p:nvSpPr>
            <p:spPr bwMode="auto">
              <a:xfrm>
                <a:off x="3979863" y="3484563"/>
                <a:ext cx="3175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ṥļïḓè">
                <a:extLst>
                  <a:ext uri="{FF2B5EF4-FFF2-40B4-BE49-F238E27FC236}">
                    <a16:creationId xmlns:a16="http://schemas.microsoft.com/office/drawing/2014/main" id="{8EF72E71-6320-4271-B512-F057ACE16D03}"/>
                  </a:ext>
                </a:extLst>
              </p:cNvPr>
              <p:cNvSpPr/>
              <p:nvPr/>
            </p:nvSpPr>
            <p:spPr bwMode="auto">
              <a:xfrm>
                <a:off x="3811588" y="3551238"/>
                <a:ext cx="2047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îṣlîḋe">
                <a:extLst>
                  <a:ext uri="{FF2B5EF4-FFF2-40B4-BE49-F238E27FC236}">
                    <a16:creationId xmlns:a16="http://schemas.microsoft.com/office/drawing/2014/main" id="{D9280B1B-9881-428D-AF69-07CE9BEA82DF}"/>
                  </a:ext>
                </a:extLst>
              </p:cNvPr>
              <p:cNvSpPr/>
              <p:nvPr/>
            </p:nvSpPr>
            <p:spPr bwMode="auto">
              <a:xfrm>
                <a:off x="3805238" y="3557588"/>
                <a:ext cx="214313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ṩ1íďé">
                <a:extLst>
                  <a:ext uri="{FF2B5EF4-FFF2-40B4-BE49-F238E27FC236}">
                    <a16:creationId xmlns:a16="http://schemas.microsoft.com/office/drawing/2014/main" id="{A5AFE7CC-D353-4241-9C2B-D4A6E5E3FAB2}"/>
                  </a:ext>
                </a:extLst>
              </p:cNvPr>
              <p:cNvSpPr/>
              <p:nvPr/>
            </p:nvSpPr>
            <p:spPr bwMode="auto">
              <a:xfrm>
                <a:off x="3802063" y="3567113"/>
                <a:ext cx="220663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ŝlidê">
                <a:extLst>
                  <a:ext uri="{FF2B5EF4-FFF2-40B4-BE49-F238E27FC236}">
                    <a16:creationId xmlns:a16="http://schemas.microsoft.com/office/drawing/2014/main" id="{C3C89E14-E8CD-46B4-89C7-367431D81951}"/>
                  </a:ext>
                </a:extLst>
              </p:cNvPr>
              <p:cNvSpPr/>
              <p:nvPr/>
            </p:nvSpPr>
            <p:spPr bwMode="auto">
              <a:xfrm>
                <a:off x="3802063" y="3570288"/>
                <a:ext cx="2238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i$ḷîḑê">
                <a:extLst>
                  <a:ext uri="{FF2B5EF4-FFF2-40B4-BE49-F238E27FC236}">
                    <a16:creationId xmlns:a16="http://schemas.microsoft.com/office/drawing/2014/main" id="{360569AA-4452-462E-BB8B-0D26352085F1}"/>
                  </a:ext>
                </a:extLst>
              </p:cNvPr>
              <p:cNvSpPr/>
              <p:nvPr/>
            </p:nvSpPr>
            <p:spPr bwMode="auto">
              <a:xfrm>
                <a:off x="3795713" y="3581400"/>
                <a:ext cx="234950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ş1íḍê">
                <a:extLst>
                  <a:ext uri="{FF2B5EF4-FFF2-40B4-BE49-F238E27FC236}">
                    <a16:creationId xmlns:a16="http://schemas.microsoft.com/office/drawing/2014/main" id="{6C75111D-EA53-440E-8158-1542049FAFC0}"/>
                  </a:ext>
                </a:extLst>
              </p:cNvPr>
              <p:cNvSpPr/>
              <p:nvPr/>
            </p:nvSpPr>
            <p:spPr bwMode="auto">
              <a:xfrm>
                <a:off x="3633788" y="3587750"/>
                <a:ext cx="560388" cy="6350"/>
              </a:xfrm>
              <a:custGeom>
                <a:avLst/>
                <a:gdLst>
                  <a:gd name="T0" fmla="*/ 0 w 353"/>
                  <a:gd name="T1" fmla="*/ 0 h 4"/>
                  <a:gd name="T2" fmla="*/ 353 w 353"/>
                  <a:gd name="T3" fmla="*/ 0 h 4"/>
                  <a:gd name="T4" fmla="*/ 351 w 353"/>
                  <a:gd name="T5" fmla="*/ 4 h 4"/>
                  <a:gd name="T6" fmla="*/ 2 w 353"/>
                  <a:gd name="T7" fmla="*/ 4 h 4"/>
                  <a:gd name="T8" fmla="*/ 0 w 35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3" h="4">
                    <a:moveTo>
                      <a:pt x="0" y="0"/>
                    </a:moveTo>
                    <a:lnTo>
                      <a:pt x="353" y="0"/>
                    </a:lnTo>
                    <a:lnTo>
                      <a:pt x="351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ṥľîḋe">
                <a:extLst>
                  <a:ext uri="{FF2B5EF4-FFF2-40B4-BE49-F238E27FC236}">
                    <a16:creationId xmlns:a16="http://schemas.microsoft.com/office/drawing/2014/main" id="{4A4C52AC-185B-4133-8282-0CA172CAD5F6}"/>
                  </a:ext>
                </a:extLst>
              </p:cNvPr>
              <p:cNvSpPr/>
              <p:nvPr/>
            </p:nvSpPr>
            <p:spPr bwMode="auto">
              <a:xfrm>
                <a:off x="3640138" y="3600450"/>
                <a:ext cx="547688" cy="6350"/>
              </a:xfrm>
              <a:custGeom>
                <a:avLst/>
                <a:gdLst>
                  <a:gd name="T0" fmla="*/ 0 w 345"/>
                  <a:gd name="T1" fmla="*/ 0 h 4"/>
                  <a:gd name="T2" fmla="*/ 345 w 345"/>
                  <a:gd name="T3" fmla="*/ 0 h 4"/>
                  <a:gd name="T4" fmla="*/ 343 w 345"/>
                  <a:gd name="T5" fmla="*/ 4 h 4"/>
                  <a:gd name="T6" fmla="*/ 2 w 345"/>
                  <a:gd name="T7" fmla="*/ 4 h 4"/>
                  <a:gd name="T8" fmla="*/ 0 w 34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5" h="4">
                    <a:moveTo>
                      <a:pt x="0" y="0"/>
                    </a:moveTo>
                    <a:lnTo>
                      <a:pt x="345" y="0"/>
                    </a:lnTo>
                    <a:lnTo>
                      <a:pt x="343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s1ide">
                <a:extLst>
                  <a:ext uri="{FF2B5EF4-FFF2-40B4-BE49-F238E27FC236}">
                    <a16:creationId xmlns:a16="http://schemas.microsoft.com/office/drawing/2014/main" id="{763BB820-89E6-4115-9133-FC178CAB0242}"/>
                  </a:ext>
                </a:extLst>
              </p:cNvPr>
              <p:cNvSpPr/>
              <p:nvPr/>
            </p:nvSpPr>
            <p:spPr bwMode="auto">
              <a:xfrm>
                <a:off x="3736976" y="3406775"/>
                <a:ext cx="352425" cy="4763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šḻide">
                <a:extLst>
                  <a:ext uri="{FF2B5EF4-FFF2-40B4-BE49-F238E27FC236}">
                    <a16:creationId xmlns:a16="http://schemas.microsoft.com/office/drawing/2014/main" id="{BF17006F-D6A2-4801-B50E-141A9C913E46}"/>
                  </a:ext>
                </a:extLst>
              </p:cNvPr>
              <p:cNvSpPr/>
              <p:nvPr/>
            </p:nvSpPr>
            <p:spPr bwMode="auto">
              <a:xfrm>
                <a:off x="3746501" y="3417888"/>
                <a:ext cx="333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ŝľîḓé">
                <a:extLst>
                  <a:ext uri="{FF2B5EF4-FFF2-40B4-BE49-F238E27FC236}">
                    <a16:creationId xmlns:a16="http://schemas.microsoft.com/office/drawing/2014/main" id="{A064D24E-3C42-4F3D-8191-55FDB6B61031}"/>
                  </a:ext>
                </a:extLst>
              </p:cNvPr>
              <p:cNvSpPr/>
              <p:nvPr/>
            </p:nvSpPr>
            <p:spPr bwMode="auto">
              <a:xfrm>
                <a:off x="3805238" y="3417888"/>
                <a:ext cx="211138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îşḻíďè">
                <a:extLst>
                  <a:ext uri="{FF2B5EF4-FFF2-40B4-BE49-F238E27FC236}">
                    <a16:creationId xmlns:a16="http://schemas.microsoft.com/office/drawing/2014/main" id="{8239A811-A813-40ED-A9A3-12473AAA7D2F}"/>
                  </a:ext>
                </a:extLst>
              </p:cNvPr>
              <p:cNvSpPr/>
              <p:nvPr/>
            </p:nvSpPr>
            <p:spPr bwMode="auto">
              <a:xfrm>
                <a:off x="3811588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iş1iḍè">
                <a:extLst>
                  <a:ext uri="{FF2B5EF4-FFF2-40B4-BE49-F238E27FC236}">
                    <a16:creationId xmlns:a16="http://schemas.microsoft.com/office/drawing/2014/main" id="{0B986D29-CE34-4DDC-B50A-29C89BD0AD96}"/>
                  </a:ext>
                </a:extLst>
              </p:cNvPr>
              <p:cNvSpPr/>
              <p:nvPr/>
            </p:nvSpPr>
            <p:spPr bwMode="auto">
              <a:xfrm>
                <a:off x="3802063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iṣľiḑê">
                <a:extLst>
                  <a:ext uri="{FF2B5EF4-FFF2-40B4-BE49-F238E27FC236}">
                    <a16:creationId xmlns:a16="http://schemas.microsoft.com/office/drawing/2014/main" id="{CA110F83-EF23-4A82-9297-89B3D8461333}"/>
                  </a:ext>
                </a:extLst>
              </p:cNvPr>
              <p:cNvSpPr/>
              <p:nvPr/>
            </p:nvSpPr>
            <p:spPr bwMode="auto">
              <a:xfrm>
                <a:off x="3789363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$1íḍé">
                <a:extLst>
                  <a:ext uri="{FF2B5EF4-FFF2-40B4-BE49-F238E27FC236}">
                    <a16:creationId xmlns:a16="http://schemas.microsoft.com/office/drawing/2014/main" id="{F5D3AEF4-7B12-4CF7-A8BD-00425E27267E}"/>
                  </a:ext>
                </a:extLst>
              </p:cNvPr>
              <p:cNvSpPr/>
              <p:nvPr/>
            </p:nvSpPr>
            <p:spPr bwMode="auto">
              <a:xfrm>
                <a:off x="3822701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ŝḻïḓé">
                <a:extLst>
                  <a:ext uri="{FF2B5EF4-FFF2-40B4-BE49-F238E27FC236}">
                    <a16:creationId xmlns:a16="http://schemas.microsoft.com/office/drawing/2014/main" id="{3004E645-6426-4B2E-8E3E-A53B9C4BCD92}"/>
                  </a:ext>
                </a:extLst>
              </p:cNvPr>
              <p:cNvSpPr/>
              <p:nvPr/>
            </p:nvSpPr>
            <p:spPr bwMode="auto">
              <a:xfrm>
                <a:off x="38322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ṥḷïďè">
                <a:extLst>
                  <a:ext uri="{FF2B5EF4-FFF2-40B4-BE49-F238E27FC236}">
                    <a16:creationId xmlns:a16="http://schemas.microsoft.com/office/drawing/2014/main" id="{A420AAF7-5DA7-4E2F-BA61-9CC82BB23431}"/>
                  </a:ext>
                </a:extLst>
              </p:cNvPr>
              <p:cNvSpPr/>
              <p:nvPr/>
            </p:nvSpPr>
            <p:spPr bwMode="auto">
              <a:xfrm>
                <a:off x="38449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işlïďe">
                <a:extLst>
                  <a:ext uri="{FF2B5EF4-FFF2-40B4-BE49-F238E27FC236}">
                    <a16:creationId xmlns:a16="http://schemas.microsoft.com/office/drawing/2014/main" id="{7C7720A5-7B1C-43C3-81A2-490ACDA42769}"/>
                  </a:ext>
                </a:extLst>
              </p:cNvPr>
              <p:cNvSpPr/>
              <p:nvPr/>
            </p:nvSpPr>
            <p:spPr bwMode="auto">
              <a:xfrm>
                <a:off x="3854451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iSļîďè">
                <a:extLst>
                  <a:ext uri="{FF2B5EF4-FFF2-40B4-BE49-F238E27FC236}">
                    <a16:creationId xmlns:a16="http://schemas.microsoft.com/office/drawing/2014/main" id="{80886DFF-2FDA-4B6F-90B2-563E44D3693B}"/>
                  </a:ext>
                </a:extLst>
              </p:cNvPr>
              <p:cNvSpPr/>
              <p:nvPr/>
            </p:nvSpPr>
            <p:spPr bwMode="auto">
              <a:xfrm>
                <a:off x="386556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ṩ1îďé">
                <a:extLst>
                  <a:ext uri="{FF2B5EF4-FFF2-40B4-BE49-F238E27FC236}">
                    <a16:creationId xmlns:a16="http://schemas.microsoft.com/office/drawing/2014/main" id="{5458ED44-96C2-4707-9C50-3AB04719F91C}"/>
                  </a:ext>
                </a:extLst>
              </p:cNvPr>
              <p:cNvSpPr/>
              <p:nvPr/>
            </p:nvSpPr>
            <p:spPr bwMode="auto">
              <a:xfrm>
                <a:off x="3878263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ísľiḑe">
                <a:extLst>
                  <a:ext uri="{FF2B5EF4-FFF2-40B4-BE49-F238E27FC236}">
                    <a16:creationId xmlns:a16="http://schemas.microsoft.com/office/drawing/2014/main" id="{F053DF5B-90EE-489A-8766-C8F0C69DCB8B}"/>
                  </a:ext>
                </a:extLst>
              </p:cNvPr>
              <p:cNvSpPr/>
              <p:nvPr/>
            </p:nvSpPr>
            <p:spPr bwMode="auto">
              <a:xfrm>
                <a:off x="38877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$líḑê">
                <a:extLst>
                  <a:ext uri="{FF2B5EF4-FFF2-40B4-BE49-F238E27FC236}">
                    <a16:creationId xmlns:a16="http://schemas.microsoft.com/office/drawing/2014/main" id="{6539CC39-F20D-40B3-B6E3-A377EE713486}"/>
                  </a:ext>
                </a:extLst>
              </p:cNvPr>
              <p:cNvSpPr/>
              <p:nvPr/>
            </p:nvSpPr>
            <p:spPr bwMode="auto">
              <a:xfrm>
                <a:off x="3897313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í$ļiḓé">
                <a:extLst>
                  <a:ext uri="{FF2B5EF4-FFF2-40B4-BE49-F238E27FC236}">
                    <a16:creationId xmlns:a16="http://schemas.microsoft.com/office/drawing/2014/main" id="{FD234852-2830-4BF6-9B2D-382B4739C91E}"/>
                  </a:ext>
                </a:extLst>
              </p:cNvPr>
              <p:cNvSpPr/>
              <p:nvPr/>
            </p:nvSpPr>
            <p:spPr bwMode="auto">
              <a:xfrm>
                <a:off x="39084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îSlïḍè">
                <a:extLst>
                  <a:ext uri="{FF2B5EF4-FFF2-40B4-BE49-F238E27FC236}">
                    <a16:creationId xmlns:a16="http://schemas.microsoft.com/office/drawing/2014/main" id="{1D5007F3-33E3-4698-A446-72E9911757F5}"/>
                  </a:ext>
                </a:extLst>
              </p:cNvPr>
              <p:cNvSpPr/>
              <p:nvPr/>
            </p:nvSpPr>
            <p:spPr bwMode="auto">
              <a:xfrm>
                <a:off x="39211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i$ḷídè">
                <a:extLst>
                  <a:ext uri="{FF2B5EF4-FFF2-40B4-BE49-F238E27FC236}">
                    <a16:creationId xmlns:a16="http://schemas.microsoft.com/office/drawing/2014/main" id="{AC0A33FC-0F73-4A83-BE8E-0A05659CB69A}"/>
                  </a:ext>
                </a:extLst>
              </p:cNvPr>
              <p:cNvSpPr/>
              <p:nvPr/>
            </p:nvSpPr>
            <p:spPr bwMode="auto">
              <a:xfrm>
                <a:off x="3930651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îṧḷíḑê">
                <a:extLst>
                  <a:ext uri="{FF2B5EF4-FFF2-40B4-BE49-F238E27FC236}">
                    <a16:creationId xmlns:a16="http://schemas.microsoft.com/office/drawing/2014/main" id="{330A9322-EBAA-4567-9262-87DC6B06C53F}"/>
                  </a:ext>
                </a:extLst>
              </p:cNvPr>
              <p:cNvSpPr/>
              <p:nvPr/>
            </p:nvSpPr>
            <p:spPr bwMode="auto">
              <a:xfrm>
                <a:off x="3940176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ïSľïḋê">
                <a:extLst>
                  <a:ext uri="{FF2B5EF4-FFF2-40B4-BE49-F238E27FC236}">
                    <a16:creationId xmlns:a16="http://schemas.microsoft.com/office/drawing/2014/main" id="{A4FD787D-4312-4BF0-A0A2-F4ED3C6DE398}"/>
                  </a:ext>
                </a:extLst>
              </p:cNvPr>
              <p:cNvSpPr/>
              <p:nvPr/>
            </p:nvSpPr>
            <p:spPr bwMode="auto">
              <a:xfrm>
                <a:off x="3951288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2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ṧľïdé">
                <a:extLst>
                  <a:ext uri="{FF2B5EF4-FFF2-40B4-BE49-F238E27FC236}">
                    <a16:creationId xmlns:a16="http://schemas.microsoft.com/office/drawing/2014/main" id="{8A40356A-BF3D-46FB-9A6F-43719CB1CD9D}"/>
                  </a:ext>
                </a:extLst>
              </p:cNvPr>
              <p:cNvSpPr/>
              <p:nvPr/>
            </p:nvSpPr>
            <p:spPr bwMode="auto">
              <a:xfrm>
                <a:off x="39639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ïṥļíďê">
                <a:extLst>
                  <a:ext uri="{FF2B5EF4-FFF2-40B4-BE49-F238E27FC236}">
                    <a16:creationId xmlns:a16="http://schemas.microsoft.com/office/drawing/2014/main" id="{B693CC20-31EB-4431-BA26-859A80964F12}"/>
                  </a:ext>
                </a:extLst>
              </p:cNvPr>
              <p:cNvSpPr/>
              <p:nvPr/>
            </p:nvSpPr>
            <p:spPr bwMode="auto">
              <a:xfrm>
                <a:off x="397351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íṥḷïdè">
                <a:extLst>
                  <a:ext uri="{FF2B5EF4-FFF2-40B4-BE49-F238E27FC236}">
                    <a16:creationId xmlns:a16="http://schemas.microsoft.com/office/drawing/2014/main" id="{BEAAED66-19B9-4F60-AE47-84ABE0041CE9}"/>
                  </a:ext>
                </a:extLst>
              </p:cNvPr>
              <p:cNvSpPr/>
              <p:nvPr/>
            </p:nvSpPr>
            <p:spPr bwMode="auto">
              <a:xfrm>
                <a:off x="3983038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í$1ïḑê">
                <a:extLst>
                  <a:ext uri="{FF2B5EF4-FFF2-40B4-BE49-F238E27FC236}">
                    <a16:creationId xmlns:a16="http://schemas.microsoft.com/office/drawing/2014/main" id="{74642736-599D-4CC7-B0CF-D38567FC28A6}"/>
                  </a:ext>
                </a:extLst>
              </p:cNvPr>
              <p:cNvSpPr/>
              <p:nvPr/>
            </p:nvSpPr>
            <p:spPr bwMode="auto">
              <a:xfrm>
                <a:off x="39973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i$ļïḍê">
                <a:extLst>
                  <a:ext uri="{FF2B5EF4-FFF2-40B4-BE49-F238E27FC236}">
                    <a16:creationId xmlns:a16="http://schemas.microsoft.com/office/drawing/2014/main" id="{3EA6E459-704E-484B-BAAB-BFCCB8BBA79C}"/>
                  </a:ext>
                </a:extLst>
              </p:cNvPr>
              <p:cNvSpPr/>
              <p:nvPr/>
            </p:nvSpPr>
            <p:spPr bwMode="auto">
              <a:xfrm>
                <a:off x="4006851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ŝḷídé">
                <a:extLst>
                  <a:ext uri="{FF2B5EF4-FFF2-40B4-BE49-F238E27FC236}">
                    <a16:creationId xmlns:a16="http://schemas.microsoft.com/office/drawing/2014/main" id="{CBD9EE5B-00FD-4B0D-985B-7C197BB70043}"/>
                  </a:ext>
                </a:extLst>
              </p:cNvPr>
              <p:cNvSpPr/>
              <p:nvPr/>
            </p:nvSpPr>
            <p:spPr bwMode="auto">
              <a:xfrm>
                <a:off x="4016376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iṡ1iḍé">
                <a:extLst>
                  <a:ext uri="{FF2B5EF4-FFF2-40B4-BE49-F238E27FC236}">
                    <a16:creationId xmlns:a16="http://schemas.microsoft.com/office/drawing/2014/main" id="{65423F67-1539-403F-BF15-C6FD48823360}"/>
                  </a:ext>
                </a:extLst>
              </p:cNvPr>
              <p:cNvSpPr/>
              <p:nvPr/>
            </p:nvSpPr>
            <p:spPr bwMode="auto">
              <a:xfrm>
                <a:off x="4025901" y="3421063"/>
                <a:ext cx="7938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îṡḻïde">
                <a:extLst>
                  <a:ext uri="{FF2B5EF4-FFF2-40B4-BE49-F238E27FC236}">
                    <a16:creationId xmlns:a16="http://schemas.microsoft.com/office/drawing/2014/main" id="{BB72285D-7AB7-4C47-B7C5-51630DED8ACD}"/>
                  </a:ext>
                </a:extLst>
              </p:cNvPr>
              <p:cNvSpPr/>
              <p:nvPr/>
            </p:nvSpPr>
            <p:spPr bwMode="auto">
              <a:xfrm>
                <a:off x="4040188" y="3417888"/>
                <a:ext cx="396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šḻiḑe">
                <a:extLst>
                  <a:ext uri="{FF2B5EF4-FFF2-40B4-BE49-F238E27FC236}">
                    <a16:creationId xmlns:a16="http://schemas.microsoft.com/office/drawing/2014/main" id="{045CA4DE-54B9-4576-A4AB-A7D749510DF5}"/>
                  </a:ext>
                </a:extLst>
              </p:cNvPr>
              <p:cNvSpPr/>
              <p:nvPr/>
            </p:nvSpPr>
            <p:spPr bwMode="auto">
              <a:xfrm>
                <a:off x="3679826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ïSlîḑê">
                <a:extLst>
                  <a:ext uri="{FF2B5EF4-FFF2-40B4-BE49-F238E27FC236}">
                    <a16:creationId xmlns:a16="http://schemas.microsoft.com/office/drawing/2014/main" id="{07EBAA39-BDFE-4A10-84EB-E316E08E9705}"/>
                  </a:ext>
                </a:extLst>
              </p:cNvPr>
              <p:cNvSpPr/>
              <p:nvPr/>
            </p:nvSpPr>
            <p:spPr bwMode="auto">
              <a:xfrm>
                <a:off x="3884613" y="3490913"/>
                <a:ext cx="55563" cy="53975"/>
              </a:xfrm>
              <a:custGeom>
                <a:avLst/>
                <a:gdLst>
                  <a:gd name="T0" fmla="*/ 0 w 35"/>
                  <a:gd name="T1" fmla="*/ 0 h 34"/>
                  <a:gd name="T2" fmla="*/ 35 w 35"/>
                  <a:gd name="T3" fmla="*/ 0 h 34"/>
                  <a:gd name="T4" fmla="*/ 35 w 35"/>
                  <a:gd name="T5" fmla="*/ 34 h 34"/>
                  <a:gd name="T6" fmla="*/ 0 w 35"/>
                  <a:gd name="T7" fmla="*/ 34 h 34"/>
                  <a:gd name="T8" fmla="*/ 0 w 35"/>
                  <a:gd name="T9" fmla="*/ 0 h 34"/>
                  <a:gd name="T10" fmla="*/ 0 w 35"/>
                  <a:gd name="T11" fmla="*/ 0 h 34"/>
                  <a:gd name="T12" fmla="*/ 4 w 35"/>
                  <a:gd name="T13" fmla="*/ 8 h 34"/>
                  <a:gd name="T14" fmla="*/ 4 w 35"/>
                  <a:gd name="T15" fmla="*/ 27 h 34"/>
                  <a:gd name="T16" fmla="*/ 8 w 35"/>
                  <a:gd name="T17" fmla="*/ 27 h 34"/>
                  <a:gd name="T18" fmla="*/ 8 w 35"/>
                  <a:gd name="T19" fmla="*/ 8 h 34"/>
                  <a:gd name="T20" fmla="*/ 4 w 35"/>
                  <a:gd name="T21" fmla="*/ 8 h 34"/>
                  <a:gd name="T22" fmla="*/ 4 w 35"/>
                  <a:gd name="T23" fmla="*/ 8 h 34"/>
                  <a:gd name="T24" fmla="*/ 29 w 35"/>
                  <a:gd name="T25" fmla="*/ 8 h 34"/>
                  <a:gd name="T26" fmla="*/ 29 w 35"/>
                  <a:gd name="T27" fmla="*/ 27 h 34"/>
                  <a:gd name="T28" fmla="*/ 31 w 35"/>
                  <a:gd name="T29" fmla="*/ 27 h 34"/>
                  <a:gd name="T30" fmla="*/ 31 w 35"/>
                  <a:gd name="T31" fmla="*/ 8 h 34"/>
                  <a:gd name="T32" fmla="*/ 29 w 35"/>
                  <a:gd name="T33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4">
                    <a:moveTo>
                      <a:pt x="0" y="0"/>
                    </a:moveTo>
                    <a:lnTo>
                      <a:pt x="35" y="0"/>
                    </a:lnTo>
                    <a:lnTo>
                      <a:pt x="35" y="34"/>
                    </a:lnTo>
                    <a:lnTo>
                      <a:pt x="0" y="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8"/>
                    </a:moveTo>
                    <a:lnTo>
                      <a:pt x="4" y="27"/>
                    </a:lnTo>
                    <a:lnTo>
                      <a:pt x="8" y="27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29" y="8"/>
                    </a:moveTo>
                    <a:lnTo>
                      <a:pt x="29" y="27"/>
                    </a:lnTo>
                    <a:lnTo>
                      <a:pt x="31" y="27"/>
                    </a:lnTo>
                    <a:lnTo>
                      <a:pt x="31" y="8"/>
                    </a:lnTo>
                    <a:lnTo>
                      <a:pt x="29" y="8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iS1ïde">
                <a:extLst>
                  <a:ext uri="{FF2B5EF4-FFF2-40B4-BE49-F238E27FC236}">
                    <a16:creationId xmlns:a16="http://schemas.microsoft.com/office/drawing/2014/main" id="{9D59DCDA-5091-48BD-B33C-DF4DC94D2660}"/>
                  </a:ext>
                </a:extLst>
              </p:cNvPr>
              <p:cNvSpPr/>
              <p:nvPr/>
            </p:nvSpPr>
            <p:spPr bwMode="auto">
              <a:xfrm>
                <a:off x="3551238" y="3067050"/>
                <a:ext cx="722313" cy="727075"/>
              </a:xfrm>
              <a:custGeom>
                <a:avLst/>
                <a:gdLst>
                  <a:gd name="T0" fmla="*/ 109 w 219"/>
                  <a:gd name="T1" fmla="*/ 0 h 218"/>
                  <a:gd name="T2" fmla="*/ 219 w 219"/>
                  <a:gd name="T3" fmla="*/ 109 h 218"/>
                  <a:gd name="T4" fmla="*/ 109 w 219"/>
                  <a:gd name="T5" fmla="*/ 218 h 218"/>
                  <a:gd name="T6" fmla="*/ 0 w 219"/>
                  <a:gd name="T7" fmla="*/ 109 h 218"/>
                  <a:gd name="T8" fmla="*/ 109 w 219"/>
                  <a:gd name="T9" fmla="*/ 0 h 218"/>
                  <a:gd name="T10" fmla="*/ 109 w 219"/>
                  <a:gd name="T11" fmla="*/ 3 h 218"/>
                  <a:gd name="T12" fmla="*/ 4 w 219"/>
                  <a:gd name="T13" fmla="*/ 109 h 218"/>
                  <a:gd name="T14" fmla="*/ 109 w 219"/>
                  <a:gd name="T15" fmla="*/ 215 h 218"/>
                  <a:gd name="T16" fmla="*/ 215 w 219"/>
                  <a:gd name="T17" fmla="*/ 109 h 218"/>
                  <a:gd name="T18" fmla="*/ 109 w 219"/>
                  <a:gd name="T19" fmla="*/ 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9" h="218">
                    <a:moveTo>
                      <a:pt x="109" y="0"/>
                    </a:moveTo>
                    <a:cubicBezTo>
                      <a:pt x="170" y="0"/>
                      <a:pt x="219" y="49"/>
                      <a:pt x="219" y="109"/>
                    </a:cubicBezTo>
                    <a:cubicBezTo>
                      <a:pt x="219" y="169"/>
                      <a:pt x="170" y="218"/>
                      <a:pt x="109" y="218"/>
                    </a:cubicBezTo>
                    <a:cubicBezTo>
                      <a:pt x="49" y="218"/>
                      <a:pt x="0" y="169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lose/>
                    <a:moveTo>
                      <a:pt x="109" y="3"/>
                    </a:moveTo>
                    <a:cubicBezTo>
                      <a:pt x="51" y="3"/>
                      <a:pt x="4" y="51"/>
                      <a:pt x="4" y="109"/>
                    </a:cubicBezTo>
                    <a:cubicBezTo>
                      <a:pt x="4" y="167"/>
                      <a:pt x="51" y="215"/>
                      <a:pt x="109" y="215"/>
                    </a:cubicBezTo>
                    <a:cubicBezTo>
                      <a:pt x="168" y="215"/>
                      <a:pt x="215" y="167"/>
                      <a:pt x="215" y="109"/>
                    </a:cubicBezTo>
                    <a:cubicBezTo>
                      <a:pt x="215" y="51"/>
                      <a:pt x="168" y="3"/>
                      <a:pt x="109" y="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ïṡlïḋè">
              <a:extLst>
                <a:ext uri="{FF2B5EF4-FFF2-40B4-BE49-F238E27FC236}">
                  <a16:creationId xmlns:a16="http://schemas.microsoft.com/office/drawing/2014/main" id="{536AC710-72AE-4C77-9FA7-F732EAB60F3C}"/>
                </a:ext>
              </a:extLst>
            </p:cNvPr>
            <p:cNvGrpSpPr/>
            <p:nvPr/>
          </p:nvGrpSpPr>
          <p:grpSpPr>
            <a:xfrm>
              <a:off x="5777051" y="601725"/>
              <a:ext cx="1483367" cy="539516"/>
              <a:chOff x="4412452" y="3106738"/>
              <a:chExt cx="2312689" cy="841148"/>
            </a:xfrm>
          </p:grpSpPr>
          <p:grpSp>
            <p:nvGrpSpPr>
              <p:cNvPr id="14" name="îśḻîḑê">
                <a:extLst>
                  <a:ext uri="{FF2B5EF4-FFF2-40B4-BE49-F238E27FC236}">
                    <a16:creationId xmlns:a16="http://schemas.microsoft.com/office/drawing/2014/main" id="{A747EDCA-0FB8-4D1F-8450-F57942259C25}"/>
                  </a:ext>
                </a:extLst>
              </p:cNvPr>
              <p:cNvGrpSpPr/>
              <p:nvPr/>
            </p:nvGrpSpPr>
            <p:grpSpPr>
              <a:xfrm>
                <a:off x="4422776" y="3106738"/>
                <a:ext cx="2293937" cy="617538"/>
                <a:chOff x="4422776" y="3106738"/>
                <a:chExt cx="2293937" cy="617538"/>
              </a:xfrm>
            </p:grpSpPr>
            <p:sp>
              <p:nvSpPr>
                <p:cNvPr id="31" name="iṧļíďé">
                  <a:extLst>
                    <a:ext uri="{FF2B5EF4-FFF2-40B4-BE49-F238E27FC236}">
                      <a16:creationId xmlns:a16="http://schemas.microsoft.com/office/drawing/2014/main" id="{7C488D70-1CC2-46C0-BFE2-6D88BCD90A30}"/>
                    </a:ext>
                  </a:extLst>
                </p:cNvPr>
                <p:cNvSpPr/>
                <p:nvPr/>
              </p:nvSpPr>
              <p:spPr bwMode="auto">
                <a:xfrm>
                  <a:off x="4811713" y="3200400"/>
                  <a:ext cx="49213" cy="100013"/>
                </a:xfrm>
                <a:custGeom>
                  <a:avLst/>
                  <a:gdLst>
                    <a:gd name="T0" fmla="*/ 0 w 15"/>
                    <a:gd name="T1" fmla="*/ 1 h 30"/>
                    <a:gd name="T2" fmla="*/ 1 w 15"/>
                    <a:gd name="T3" fmla="*/ 12 h 30"/>
                    <a:gd name="T4" fmla="*/ 0 w 15"/>
                    <a:gd name="T5" fmla="*/ 21 h 30"/>
                    <a:gd name="T6" fmla="*/ 2 w 15"/>
                    <a:gd name="T7" fmla="*/ 28 h 30"/>
                    <a:gd name="T8" fmla="*/ 7 w 15"/>
                    <a:gd name="T9" fmla="*/ 30 h 30"/>
                    <a:gd name="T10" fmla="*/ 12 w 15"/>
                    <a:gd name="T11" fmla="*/ 26 h 30"/>
                    <a:gd name="T12" fmla="*/ 15 w 15"/>
                    <a:gd name="T13" fmla="*/ 18 h 30"/>
                    <a:gd name="T14" fmla="*/ 3 w 15"/>
                    <a:gd name="T15" fmla="*/ 0 h 30"/>
                    <a:gd name="T16" fmla="*/ 0 w 15"/>
                    <a:gd name="T17" fmla="*/ 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30">
                      <a:moveTo>
                        <a:pt x="0" y="1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3"/>
                        <a:pt x="0" y="18"/>
                        <a:pt x="0" y="21"/>
                      </a:cubicBezTo>
                      <a:cubicBezTo>
                        <a:pt x="0" y="24"/>
                        <a:pt x="2" y="25"/>
                        <a:pt x="2" y="2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9" y="27"/>
                        <a:pt x="10" y="29"/>
                        <a:pt x="12" y="26"/>
                      </a:cubicBezTo>
                      <a:cubicBezTo>
                        <a:pt x="14" y="23"/>
                        <a:pt x="14" y="21"/>
                        <a:pt x="15" y="18"/>
                      </a:cubicBezTo>
                      <a:cubicBezTo>
                        <a:pt x="12" y="7"/>
                        <a:pt x="13" y="5"/>
                        <a:pt x="3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2" name="iṡḷíḋè">
                  <a:extLst>
                    <a:ext uri="{FF2B5EF4-FFF2-40B4-BE49-F238E27FC236}">
                      <a16:creationId xmlns:a16="http://schemas.microsoft.com/office/drawing/2014/main" id="{B7811A54-B6FE-44DA-8D5C-F07ADD74DC87}"/>
                    </a:ext>
                  </a:extLst>
                </p:cNvPr>
                <p:cNvSpPr/>
                <p:nvPr/>
              </p:nvSpPr>
              <p:spPr bwMode="auto">
                <a:xfrm>
                  <a:off x="5221288" y="3184525"/>
                  <a:ext cx="36513" cy="122238"/>
                </a:xfrm>
                <a:custGeom>
                  <a:avLst/>
                  <a:gdLst>
                    <a:gd name="T0" fmla="*/ 0 w 11"/>
                    <a:gd name="T1" fmla="*/ 3 h 37"/>
                    <a:gd name="T2" fmla="*/ 2 w 11"/>
                    <a:gd name="T3" fmla="*/ 14 h 37"/>
                    <a:gd name="T4" fmla="*/ 0 w 11"/>
                    <a:gd name="T5" fmla="*/ 33 h 37"/>
                    <a:gd name="T6" fmla="*/ 0 w 11"/>
                    <a:gd name="T7" fmla="*/ 36 h 37"/>
                    <a:gd name="T8" fmla="*/ 2 w 11"/>
                    <a:gd name="T9" fmla="*/ 37 h 37"/>
                    <a:gd name="T10" fmla="*/ 8 w 11"/>
                    <a:gd name="T11" fmla="*/ 27 h 37"/>
                    <a:gd name="T12" fmla="*/ 11 w 11"/>
                    <a:gd name="T13" fmla="*/ 17 h 37"/>
                    <a:gd name="T14" fmla="*/ 11 w 11"/>
                    <a:gd name="T15" fmla="*/ 15 h 37"/>
                    <a:gd name="T16" fmla="*/ 7 w 11"/>
                    <a:gd name="T17" fmla="*/ 2 h 37"/>
                    <a:gd name="T18" fmla="*/ 2 w 11"/>
                    <a:gd name="T19" fmla="*/ 0 h 37"/>
                    <a:gd name="T20" fmla="*/ 0 w 11"/>
                    <a:gd name="T21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37">
                      <a:moveTo>
                        <a:pt x="0" y="3"/>
                      </a:move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2" y="19"/>
                        <a:pt x="0" y="27"/>
                        <a:pt x="0" y="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2" y="36"/>
                        <a:pt x="1" y="37"/>
                        <a:pt x="2" y="37"/>
                      </a:cubicBezTo>
                      <a:cubicBezTo>
                        <a:pt x="3" y="37"/>
                        <a:pt x="7" y="28"/>
                        <a:pt x="8" y="27"/>
                      </a:cubicBezTo>
                      <a:cubicBezTo>
                        <a:pt x="9" y="24"/>
                        <a:pt x="11" y="21"/>
                        <a:pt x="11" y="17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7"/>
                        <a:pt x="8" y="7"/>
                        <a:pt x="7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1"/>
                        <a:pt x="0" y="1"/>
                        <a:pt x="0" y="3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3" name="ïś1îḓè">
                  <a:extLst>
                    <a:ext uri="{FF2B5EF4-FFF2-40B4-BE49-F238E27FC236}">
                      <a16:creationId xmlns:a16="http://schemas.microsoft.com/office/drawing/2014/main" id="{40B0F907-4B81-4FB6-A515-A77F0C61DD22}"/>
                    </a:ext>
                  </a:extLst>
                </p:cNvPr>
                <p:cNvSpPr/>
                <p:nvPr/>
              </p:nvSpPr>
              <p:spPr bwMode="auto">
                <a:xfrm>
                  <a:off x="4554538" y="3251200"/>
                  <a:ext cx="119063" cy="58738"/>
                </a:xfrm>
                <a:custGeom>
                  <a:avLst/>
                  <a:gdLst>
                    <a:gd name="T0" fmla="*/ 0 w 36"/>
                    <a:gd name="T1" fmla="*/ 15 h 18"/>
                    <a:gd name="T2" fmla="*/ 2 w 36"/>
                    <a:gd name="T3" fmla="*/ 16 h 18"/>
                    <a:gd name="T4" fmla="*/ 13 w 36"/>
                    <a:gd name="T5" fmla="*/ 18 h 18"/>
                    <a:gd name="T6" fmla="*/ 16 w 36"/>
                    <a:gd name="T7" fmla="*/ 18 h 18"/>
                    <a:gd name="T8" fmla="*/ 22 w 36"/>
                    <a:gd name="T9" fmla="*/ 17 h 18"/>
                    <a:gd name="T10" fmla="*/ 23 w 36"/>
                    <a:gd name="T11" fmla="*/ 17 h 18"/>
                    <a:gd name="T12" fmla="*/ 30 w 36"/>
                    <a:gd name="T13" fmla="*/ 13 h 18"/>
                    <a:gd name="T14" fmla="*/ 36 w 36"/>
                    <a:gd name="T15" fmla="*/ 8 h 18"/>
                    <a:gd name="T16" fmla="*/ 36 w 36"/>
                    <a:gd name="T17" fmla="*/ 7 h 18"/>
                    <a:gd name="T18" fmla="*/ 36 w 36"/>
                    <a:gd name="T19" fmla="*/ 4 h 18"/>
                    <a:gd name="T20" fmla="*/ 32 w 36"/>
                    <a:gd name="T21" fmla="*/ 0 h 18"/>
                    <a:gd name="T22" fmla="*/ 24 w 36"/>
                    <a:gd name="T23" fmla="*/ 3 h 18"/>
                    <a:gd name="T24" fmla="*/ 16 w 36"/>
                    <a:gd name="T25" fmla="*/ 7 h 18"/>
                    <a:gd name="T26" fmla="*/ 0 w 36"/>
                    <a:gd name="T27" fmla="*/ 1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18">
                      <a:moveTo>
                        <a:pt x="0" y="15"/>
                      </a:moveTo>
                      <a:cubicBezTo>
                        <a:pt x="1" y="16"/>
                        <a:pt x="1" y="16"/>
                        <a:pt x="2" y="16"/>
                      </a:cubicBezTo>
                      <a:cubicBezTo>
                        <a:pt x="6" y="16"/>
                        <a:pt x="9" y="18"/>
                        <a:pt x="13" y="18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6" y="16"/>
                        <a:pt x="28" y="14"/>
                        <a:pt x="30" y="13"/>
                      </a:cubicBezTo>
                      <a:cubicBezTo>
                        <a:pt x="34" y="11"/>
                        <a:pt x="33" y="10"/>
                        <a:pt x="36" y="8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1"/>
                        <a:pt x="33" y="2"/>
                        <a:pt x="32" y="0"/>
                      </a:cubicBezTo>
                      <a:cubicBezTo>
                        <a:pt x="29" y="1"/>
                        <a:pt x="27" y="1"/>
                        <a:pt x="24" y="3"/>
                      </a:cubicBezTo>
                      <a:cubicBezTo>
                        <a:pt x="21" y="4"/>
                        <a:pt x="19" y="6"/>
                        <a:pt x="16" y="7"/>
                      </a:cubicBezTo>
                      <a:cubicBezTo>
                        <a:pt x="11" y="11"/>
                        <a:pt x="4" y="10"/>
                        <a:pt x="0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4" name="ï$1îḓê">
                  <a:extLst>
                    <a:ext uri="{FF2B5EF4-FFF2-40B4-BE49-F238E27FC236}">
                      <a16:creationId xmlns:a16="http://schemas.microsoft.com/office/drawing/2014/main" id="{9DE3DB95-2EF5-426E-88D7-3D250CE136FB}"/>
                    </a:ext>
                  </a:extLst>
                </p:cNvPr>
                <p:cNvSpPr/>
                <p:nvPr/>
              </p:nvSpPr>
              <p:spPr bwMode="auto">
                <a:xfrm>
                  <a:off x="6359526" y="3263900"/>
                  <a:ext cx="93663" cy="139700"/>
                </a:xfrm>
                <a:custGeom>
                  <a:avLst/>
                  <a:gdLst>
                    <a:gd name="T0" fmla="*/ 15 w 28"/>
                    <a:gd name="T1" fmla="*/ 1 h 42"/>
                    <a:gd name="T2" fmla="*/ 6 w 28"/>
                    <a:gd name="T3" fmla="*/ 11 h 42"/>
                    <a:gd name="T4" fmla="*/ 6 w 28"/>
                    <a:gd name="T5" fmla="*/ 13 h 42"/>
                    <a:gd name="T6" fmla="*/ 5 w 28"/>
                    <a:gd name="T7" fmla="*/ 16 h 42"/>
                    <a:gd name="T8" fmla="*/ 6 w 28"/>
                    <a:gd name="T9" fmla="*/ 20 h 42"/>
                    <a:gd name="T10" fmla="*/ 6 w 28"/>
                    <a:gd name="T11" fmla="*/ 21 h 42"/>
                    <a:gd name="T12" fmla="*/ 0 w 28"/>
                    <a:gd name="T13" fmla="*/ 38 h 42"/>
                    <a:gd name="T14" fmla="*/ 0 w 28"/>
                    <a:gd name="T15" fmla="*/ 41 h 42"/>
                    <a:gd name="T16" fmla="*/ 3 w 28"/>
                    <a:gd name="T17" fmla="*/ 42 h 42"/>
                    <a:gd name="T18" fmla="*/ 9 w 28"/>
                    <a:gd name="T19" fmla="*/ 32 h 42"/>
                    <a:gd name="T20" fmla="*/ 12 w 28"/>
                    <a:gd name="T21" fmla="*/ 26 h 42"/>
                    <a:gd name="T22" fmla="*/ 14 w 28"/>
                    <a:gd name="T23" fmla="*/ 26 h 42"/>
                    <a:gd name="T24" fmla="*/ 20 w 28"/>
                    <a:gd name="T25" fmla="*/ 26 h 42"/>
                    <a:gd name="T26" fmla="*/ 28 w 28"/>
                    <a:gd name="T27" fmla="*/ 14 h 42"/>
                    <a:gd name="T28" fmla="*/ 28 w 28"/>
                    <a:gd name="T29" fmla="*/ 6 h 42"/>
                    <a:gd name="T30" fmla="*/ 28 w 28"/>
                    <a:gd name="T31" fmla="*/ 5 h 42"/>
                    <a:gd name="T32" fmla="*/ 27 w 28"/>
                    <a:gd name="T33" fmla="*/ 3 h 42"/>
                    <a:gd name="T34" fmla="*/ 26 w 28"/>
                    <a:gd name="T35" fmla="*/ 3 h 42"/>
                    <a:gd name="T36" fmla="*/ 24 w 28"/>
                    <a:gd name="T37" fmla="*/ 3 h 42"/>
                    <a:gd name="T38" fmla="*/ 23 w 28"/>
                    <a:gd name="T39" fmla="*/ 3 h 42"/>
                    <a:gd name="T40" fmla="*/ 20 w 28"/>
                    <a:gd name="T41" fmla="*/ 0 h 42"/>
                    <a:gd name="T42" fmla="*/ 15 w 28"/>
                    <a:gd name="T43" fmla="*/ 1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8" h="42">
                      <a:moveTo>
                        <a:pt x="15" y="1"/>
                      </a:moveTo>
                      <a:cubicBezTo>
                        <a:pt x="15" y="10"/>
                        <a:pt x="8" y="6"/>
                        <a:pt x="6" y="11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6" y="14"/>
                        <a:pt x="5" y="14"/>
                        <a:pt x="5" y="16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6" y="29"/>
                        <a:pt x="0" y="31"/>
                        <a:pt x="0" y="38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2" y="42"/>
                        <a:pt x="3" y="42"/>
                      </a:cubicBezTo>
                      <a:cubicBezTo>
                        <a:pt x="7" y="42"/>
                        <a:pt x="9" y="36"/>
                        <a:pt x="9" y="32"/>
                      </a:cubicBezTo>
                      <a:cubicBezTo>
                        <a:pt x="9" y="29"/>
                        <a:pt x="10" y="26"/>
                        <a:pt x="12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24" y="24"/>
                        <a:pt x="28" y="21"/>
                        <a:pt x="28" y="14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7" y="3"/>
                        <a:pt x="27" y="3"/>
                        <a:pt x="27" y="3"/>
                      </a:cubicBezTo>
                      <a:cubicBezTo>
                        <a:pt x="26" y="3"/>
                        <a:pt x="26" y="3"/>
                        <a:pt x="26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20" y="0"/>
                        <a:pt x="20" y="0"/>
                        <a:pt x="20" y="0"/>
                      </a:cubicBez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5" name="íṩḷiďè">
                  <a:extLst>
                    <a:ext uri="{FF2B5EF4-FFF2-40B4-BE49-F238E27FC236}">
                      <a16:creationId xmlns:a16="http://schemas.microsoft.com/office/drawing/2014/main" id="{5485D37D-619E-44A0-82B0-18E1E7516E71}"/>
                    </a:ext>
                  </a:extLst>
                </p:cNvPr>
                <p:cNvSpPr/>
                <p:nvPr/>
              </p:nvSpPr>
              <p:spPr bwMode="auto">
                <a:xfrm>
                  <a:off x="5826126" y="3273425"/>
                  <a:ext cx="223838" cy="293688"/>
                </a:xfrm>
                <a:custGeom>
                  <a:avLst/>
                  <a:gdLst>
                    <a:gd name="T0" fmla="*/ 38 w 68"/>
                    <a:gd name="T1" fmla="*/ 16 h 88"/>
                    <a:gd name="T2" fmla="*/ 40 w 68"/>
                    <a:gd name="T3" fmla="*/ 5 h 88"/>
                    <a:gd name="T4" fmla="*/ 36 w 68"/>
                    <a:gd name="T5" fmla="*/ 1 h 88"/>
                    <a:gd name="T6" fmla="*/ 36 w 68"/>
                    <a:gd name="T7" fmla="*/ 1 h 88"/>
                    <a:gd name="T8" fmla="*/ 33 w 68"/>
                    <a:gd name="T9" fmla="*/ 0 h 88"/>
                    <a:gd name="T10" fmla="*/ 24 w 68"/>
                    <a:gd name="T11" fmla="*/ 7 h 88"/>
                    <a:gd name="T12" fmla="*/ 24 w 68"/>
                    <a:gd name="T13" fmla="*/ 8 h 88"/>
                    <a:gd name="T14" fmla="*/ 26 w 68"/>
                    <a:gd name="T15" fmla="*/ 18 h 88"/>
                    <a:gd name="T16" fmla="*/ 27 w 68"/>
                    <a:gd name="T17" fmla="*/ 28 h 88"/>
                    <a:gd name="T18" fmla="*/ 27 w 68"/>
                    <a:gd name="T19" fmla="*/ 39 h 88"/>
                    <a:gd name="T20" fmla="*/ 16 w 68"/>
                    <a:gd name="T21" fmla="*/ 48 h 88"/>
                    <a:gd name="T22" fmla="*/ 7 w 68"/>
                    <a:gd name="T23" fmla="*/ 49 h 88"/>
                    <a:gd name="T24" fmla="*/ 5 w 68"/>
                    <a:gd name="T25" fmla="*/ 49 h 88"/>
                    <a:gd name="T26" fmla="*/ 4 w 68"/>
                    <a:gd name="T27" fmla="*/ 49 h 88"/>
                    <a:gd name="T28" fmla="*/ 0 w 68"/>
                    <a:gd name="T29" fmla="*/ 54 h 88"/>
                    <a:gd name="T30" fmla="*/ 5 w 68"/>
                    <a:gd name="T31" fmla="*/ 60 h 88"/>
                    <a:gd name="T32" fmla="*/ 11 w 68"/>
                    <a:gd name="T33" fmla="*/ 60 h 88"/>
                    <a:gd name="T34" fmla="*/ 13 w 68"/>
                    <a:gd name="T35" fmla="*/ 59 h 88"/>
                    <a:gd name="T36" fmla="*/ 20 w 68"/>
                    <a:gd name="T37" fmla="*/ 66 h 88"/>
                    <a:gd name="T38" fmla="*/ 17 w 68"/>
                    <a:gd name="T39" fmla="*/ 72 h 88"/>
                    <a:gd name="T40" fmla="*/ 13 w 68"/>
                    <a:gd name="T41" fmla="*/ 76 h 88"/>
                    <a:gd name="T42" fmla="*/ 2 w 68"/>
                    <a:gd name="T43" fmla="*/ 82 h 88"/>
                    <a:gd name="T44" fmla="*/ 2 w 68"/>
                    <a:gd name="T45" fmla="*/ 83 h 88"/>
                    <a:gd name="T46" fmla="*/ 2 w 68"/>
                    <a:gd name="T47" fmla="*/ 87 h 88"/>
                    <a:gd name="T48" fmla="*/ 4 w 68"/>
                    <a:gd name="T49" fmla="*/ 88 h 88"/>
                    <a:gd name="T50" fmla="*/ 25 w 68"/>
                    <a:gd name="T51" fmla="*/ 77 h 88"/>
                    <a:gd name="T52" fmla="*/ 31 w 68"/>
                    <a:gd name="T53" fmla="*/ 69 h 88"/>
                    <a:gd name="T54" fmla="*/ 40 w 68"/>
                    <a:gd name="T55" fmla="*/ 63 h 88"/>
                    <a:gd name="T56" fmla="*/ 52 w 68"/>
                    <a:gd name="T57" fmla="*/ 70 h 88"/>
                    <a:gd name="T58" fmla="*/ 48 w 68"/>
                    <a:gd name="T59" fmla="*/ 79 h 88"/>
                    <a:gd name="T60" fmla="*/ 59 w 68"/>
                    <a:gd name="T61" fmla="*/ 81 h 88"/>
                    <a:gd name="T62" fmla="*/ 68 w 68"/>
                    <a:gd name="T63" fmla="*/ 71 h 88"/>
                    <a:gd name="T64" fmla="*/ 59 w 68"/>
                    <a:gd name="T65" fmla="*/ 62 h 88"/>
                    <a:gd name="T66" fmla="*/ 44 w 68"/>
                    <a:gd name="T67" fmla="*/ 60 h 88"/>
                    <a:gd name="T68" fmla="*/ 42 w 68"/>
                    <a:gd name="T69" fmla="*/ 60 h 88"/>
                    <a:gd name="T70" fmla="*/ 36 w 68"/>
                    <a:gd name="T71" fmla="*/ 53 h 88"/>
                    <a:gd name="T72" fmla="*/ 48 w 68"/>
                    <a:gd name="T73" fmla="*/ 42 h 88"/>
                    <a:gd name="T74" fmla="*/ 59 w 68"/>
                    <a:gd name="T75" fmla="*/ 32 h 88"/>
                    <a:gd name="T76" fmla="*/ 59 w 68"/>
                    <a:gd name="T77" fmla="*/ 30 h 88"/>
                    <a:gd name="T78" fmla="*/ 59 w 68"/>
                    <a:gd name="T79" fmla="*/ 29 h 88"/>
                    <a:gd name="T80" fmla="*/ 54 w 68"/>
                    <a:gd name="T81" fmla="*/ 26 h 88"/>
                    <a:gd name="T82" fmla="*/ 51 w 68"/>
                    <a:gd name="T83" fmla="*/ 27 h 88"/>
                    <a:gd name="T84" fmla="*/ 50 w 68"/>
                    <a:gd name="T85" fmla="*/ 27 h 88"/>
                    <a:gd name="T86" fmla="*/ 41 w 68"/>
                    <a:gd name="T87" fmla="*/ 33 h 88"/>
                    <a:gd name="T88" fmla="*/ 38 w 68"/>
                    <a:gd name="T89" fmla="*/ 28 h 88"/>
                    <a:gd name="T90" fmla="*/ 38 w 68"/>
                    <a:gd name="T91" fmla="*/ 27 h 88"/>
                    <a:gd name="T92" fmla="*/ 38 w 68"/>
                    <a:gd name="T93" fmla="*/ 1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8" h="88">
                      <a:moveTo>
                        <a:pt x="38" y="16"/>
                      </a:moveTo>
                      <a:cubicBezTo>
                        <a:pt x="39" y="11"/>
                        <a:pt x="40" y="9"/>
                        <a:pt x="40" y="5"/>
                      </a:cubicBezTo>
                      <a:cubicBezTo>
                        <a:pt x="40" y="3"/>
                        <a:pt x="38" y="1"/>
                        <a:pt x="36" y="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4" y="1"/>
                        <a:pt x="34" y="1"/>
                        <a:pt x="33" y="0"/>
                      </a:cubicBezTo>
                      <a:cubicBezTo>
                        <a:pt x="28" y="3"/>
                        <a:pt x="28" y="1"/>
                        <a:pt x="24" y="7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2"/>
                        <a:pt x="26" y="14"/>
                        <a:pt x="26" y="1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45"/>
                        <a:pt x="22" y="48"/>
                        <a:pt x="16" y="48"/>
                      </a:cubicBezTo>
                      <a:cubicBezTo>
                        <a:pt x="7" y="49"/>
                        <a:pt x="7" y="49"/>
                        <a:pt x="7" y="49"/>
                      </a:cubicBezTo>
                      <a:cubicBezTo>
                        <a:pt x="5" y="49"/>
                        <a:pt x="5" y="49"/>
                        <a:pt x="5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2" y="50"/>
                        <a:pt x="0" y="51"/>
                        <a:pt x="0" y="54"/>
                      </a:cubicBezTo>
                      <a:cubicBezTo>
                        <a:pt x="0" y="56"/>
                        <a:pt x="3" y="60"/>
                        <a:pt x="5" y="60"/>
                      </a:cubicBezTo>
                      <a:cubicBezTo>
                        <a:pt x="11" y="60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3" y="59"/>
                      </a:cubicBezTo>
                      <a:cubicBezTo>
                        <a:pt x="17" y="62"/>
                        <a:pt x="17" y="60"/>
                        <a:pt x="20" y="66"/>
                      </a:cubicBezTo>
                      <a:cubicBezTo>
                        <a:pt x="18" y="69"/>
                        <a:pt x="20" y="68"/>
                        <a:pt x="17" y="72"/>
                      </a:cubicBezTo>
                      <a:cubicBezTo>
                        <a:pt x="15" y="73"/>
                        <a:pt x="15" y="75"/>
                        <a:pt x="13" y="76"/>
                      </a:cubicBezTo>
                      <a:cubicBezTo>
                        <a:pt x="8" y="79"/>
                        <a:pt x="7" y="80"/>
                        <a:pt x="2" y="82"/>
                      </a:cubicBezTo>
                      <a:cubicBezTo>
                        <a:pt x="2" y="83"/>
                        <a:pt x="2" y="83"/>
                        <a:pt x="2" y="83"/>
                      </a:cubicBezTo>
                      <a:cubicBezTo>
                        <a:pt x="2" y="87"/>
                        <a:pt x="2" y="87"/>
                        <a:pt x="2" y="87"/>
                      </a:cubicBezTo>
                      <a:cubicBezTo>
                        <a:pt x="4" y="87"/>
                        <a:pt x="3" y="88"/>
                        <a:pt x="4" y="88"/>
                      </a:cubicBezTo>
                      <a:cubicBezTo>
                        <a:pt x="13" y="88"/>
                        <a:pt x="20" y="82"/>
                        <a:pt x="25" y="77"/>
                      </a:cubicBezTo>
                      <a:cubicBezTo>
                        <a:pt x="26" y="76"/>
                        <a:pt x="30" y="71"/>
                        <a:pt x="31" y="69"/>
                      </a:cubicBezTo>
                      <a:cubicBezTo>
                        <a:pt x="33" y="65"/>
                        <a:pt x="35" y="63"/>
                        <a:pt x="40" y="63"/>
                      </a:cubicBezTo>
                      <a:cubicBezTo>
                        <a:pt x="45" y="63"/>
                        <a:pt x="49" y="67"/>
                        <a:pt x="52" y="70"/>
                      </a:cubicBezTo>
                      <a:cubicBezTo>
                        <a:pt x="48" y="79"/>
                        <a:pt x="48" y="79"/>
                        <a:pt x="48" y="79"/>
                      </a:cubicBezTo>
                      <a:cubicBezTo>
                        <a:pt x="50" y="79"/>
                        <a:pt x="58" y="81"/>
                        <a:pt x="59" y="81"/>
                      </a:cubicBezTo>
                      <a:cubicBezTo>
                        <a:pt x="65" y="81"/>
                        <a:pt x="67" y="76"/>
                        <a:pt x="68" y="71"/>
                      </a:cubicBezTo>
                      <a:cubicBezTo>
                        <a:pt x="67" y="65"/>
                        <a:pt x="63" y="64"/>
                        <a:pt x="59" y="62"/>
                      </a:cubicBezTo>
                      <a:cubicBezTo>
                        <a:pt x="53" y="59"/>
                        <a:pt x="51" y="60"/>
                        <a:pt x="44" y="60"/>
                      </a:cubicBezTo>
                      <a:cubicBezTo>
                        <a:pt x="43" y="60"/>
                        <a:pt x="43" y="60"/>
                        <a:pt x="42" y="60"/>
                      </a:cubicBezTo>
                      <a:cubicBezTo>
                        <a:pt x="40" y="59"/>
                        <a:pt x="36" y="56"/>
                        <a:pt x="36" y="53"/>
                      </a:cubicBezTo>
                      <a:cubicBezTo>
                        <a:pt x="36" y="51"/>
                        <a:pt x="45" y="44"/>
                        <a:pt x="48" y="42"/>
                      </a:cubicBezTo>
                      <a:cubicBezTo>
                        <a:pt x="50" y="41"/>
                        <a:pt x="59" y="34"/>
                        <a:pt x="59" y="32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59" y="29"/>
                        <a:pt x="59" y="29"/>
                        <a:pt x="59" y="29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53" y="27"/>
                        <a:pt x="53" y="27"/>
                        <a:pt x="5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cubicBezTo>
                        <a:pt x="46" y="32"/>
                        <a:pt x="46" y="30"/>
                        <a:pt x="41" y="33"/>
                      </a:cubicBezTo>
                      <a:cubicBezTo>
                        <a:pt x="40" y="31"/>
                        <a:pt x="39" y="30"/>
                        <a:pt x="38" y="28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lnTo>
                        <a:pt x="38" y="16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6" name="îšlîḓe">
                  <a:extLst>
                    <a:ext uri="{FF2B5EF4-FFF2-40B4-BE49-F238E27FC236}">
                      <a16:creationId xmlns:a16="http://schemas.microsoft.com/office/drawing/2014/main" id="{10E489D2-EC52-4653-8EBC-63C01BC67F0D}"/>
                    </a:ext>
                  </a:extLst>
                </p:cNvPr>
                <p:cNvSpPr/>
                <p:nvPr/>
              </p:nvSpPr>
              <p:spPr bwMode="auto">
                <a:xfrm>
                  <a:off x="4518026" y="3506788"/>
                  <a:ext cx="53975" cy="71438"/>
                </a:xfrm>
                <a:custGeom>
                  <a:avLst/>
                  <a:gdLst>
                    <a:gd name="T0" fmla="*/ 14 w 16"/>
                    <a:gd name="T1" fmla="*/ 17 h 21"/>
                    <a:gd name="T2" fmla="*/ 16 w 16"/>
                    <a:gd name="T3" fmla="*/ 12 h 21"/>
                    <a:gd name="T4" fmla="*/ 11 w 16"/>
                    <a:gd name="T5" fmla="*/ 5 h 21"/>
                    <a:gd name="T6" fmla="*/ 5 w 16"/>
                    <a:gd name="T7" fmla="*/ 0 h 21"/>
                    <a:gd name="T8" fmla="*/ 2 w 16"/>
                    <a:gd name="T9" fmla="*/ 4 h 21"/>
                    <a:gd name="T10" fmla="*/ 2 w 16"/>
                    <a:gd name="T11" fmla="*/ 5 h 21"/>
                    <a:gd name="T12" fmla="*/ 2 w 16"/>
                    <a:gd name="T13" fmla="*/ 8 h 21"/>
                    <a:gd name="T14" fmla="*/ 2 w 16"/>
                    <a:gd name="T15" fmla="*/ 9 h 21"/>
                    <a:gd name="T16" fmla="*/ 0 w 16"/>
                    <a:gd name="T17" fmla="*/ 17 h 21"/>
                    <a:gd name="T18" fmla="*/ 3 w 16"/>
                    <a:gd name="T19" fmla="*/ 21 h 21"/>
                    <a:gd name="T20" fmla="*/ 4 w 16"/>
                    <a:gd name="T21" fmla="*/ 21 h 21"/>
                    <a:gd name="T22" fmla="*/ 5 w 16"/>
                    <a:gd name="T23" fmla="*/ 21 h 21"/>
                    <a:gd name="T24" fmla="*/ 14 w 16"/>
                    <a:gd name="T25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21">
                      <a:moveTo>
                        <a:pt x="14" y="17"/>
                      </a:moveTo>
                      <a:cubicBezTo>
                        <a:pt x="14" y="15"/>
                        <a:pt x="16" y="13"/>
                        <a:pt x="16" y="12"/>
                      </a:cubicBezTo>
                      <a:cubicBezTo>
                        <a:pt x="16" y="11"/>
                        <a:pt x="12" y="7"/>
                        <a:pt x="11" y="5"/>
                      </a:cubicBezTo>
                      <a:cubicBezTo>
                        <a:pt x="11" y="3"/>
                        <a:pt x="8" y="0"/>
                        <a:pt x="5" y="0"/>
                      </a:cubicBezTo>
                      <a:cubicBezTo>
                        <a:pt x="4" y="0"/>
                        <a:pt x="3" y="3"/>
                        <a:pt x="2" y="4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9"/>
                        <a:pt x="2" y="9"/>
                        <a:pt x="2" y="9"/>
                      </a:cubicBezTo>
                      <a:cubicBezTo>
                        <a:pt x="1" y="11"/>
                        <a:pt x="0" y="14"/>
                        <a:pt x="0" y="17"/>
                      </a:cubicBezTo>
                      <a:cubicBezTo>
                        <a:pt x="0" y="19"/>
                        <a:pt x="1" y="20"/>
                        <a:pt x="3" y="21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7" y="21"/>
                        <a:pt x="11" y="17"/>
                        <a:pt x="14" y="17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7" name="îṧḻíďe">
                  <a:extLst>
                    <a:ext uri="{FF2B5EF4-FFF2-40B4-BE49-F238E27FC236}">
                      <a16:creationId xmlns:a16="http://schemas.microsoft.com/office/drawing/2014/main" id="{716958D0-6ED8-4D77-B39C-5829F17DE4C3}"/>
                    </a:ext>
                  </a:extLst>
                </p:cNvPr>
                <p:cNvSpPr/>
                <p:nvPr/>
              </p:nvSpPr>
              <p:spPr bwMode="auto">
                <a:xfrm>
                  <a:off x="5319713" y="3133725"/>
                  <a:ext cx="222250" cy="500063"/>
                </a:xfrm>
                <a:custGeom>
                  <a:avLst/>
                  <a:gdLst>
                    <a:gd name="T0" fmla="*/ 47 w 67"/>
                    <a:gd name="T1" fmla="*/ 96 h 150"/>
                    <a:gd name="T2" fmla="*/ 51 w 67"/>
                    <a:gd name="T3" fmla="*/ 96 h 150"/>
                    <a:gd name="T4" fmla="*/ 46 w 67"/>
                    <a:gd name="T5" fmla="*/ 114 h 150"/>
                    <a:gd name="T6" fmla="*/ 42 w 67"/>
                    <a:gd name="T7" fmla="*/ 113 h 150"/>
                    <a:gd name="T8" fmla="*/ 39 w 67"/>
                    <a:gd name="T9" fmla="*/ 108 h 150"/>
                    <a:gd name="T10" fmla="*/ 21 w 67"/>
                    <a:gd name="T11" fmla="*/ 78 h 150"/>
                    <a:gd name="T12" fmla="*/ 29 w 67"/>
                    <a:gd name="T13" fmla="*/ 73 h 150"/>
                    <a:gd name="T14" fmla="*/ 32 w 67"/>
                    <a:gd name="T15" fmla="*/ 74 h 150"/>
                    <a:gd name="T16" fmla="*/ 32 w 67"/>
                    <a:gd name="T17" fmla="*/ 77 h 150"/>
                    <a:gd name="T18" fmla="*/ 32 w 67"/>
                    <a:gd name="T19" fmla="*/ 79 h 150"/>
                    <a:gd name="T20" fmla="*/ 21 w 67"/>
                    <a:gd name="T21" fmla="*/ 78 h 150"/>
                    <a:gd name="T22" fmla="*/ 53 w 67"/>
                    <a:gd name="T23" fmla="*/ 118 h 150"/>
                    <a:gd name="T24" fmla="*/ 66 w 67"/>
                    <a:gd name="T25" fmla="*/ 108 h 150"/>
                    <a:gd name="T26" fmla="*/ 60 w 67"/>
                    <a:gd name="T27" fmla="*/ 98 h 150"/>
                    <a:gd name="T28" fmla="*/ 51 w 67"/>
                    <a:gd name="T29" fmla="*/ 82 h 150"/>
                    <a:gd name="T30" fmla="*/ 47 w 67"/>
                    <a:gd name="T31" fmla="*/ 71 h 150"/>
                    <a:gd name="T32" fmla="*/ 60 w 67"/>
                    <a:gd name="T33" fmla="*/ 58 h 150"/>
                    <a:gd name="T34" fmla="*/ 53 w 67"/>
                    <a:gd name="T35" fmla="*/ 52 h 150"/>
                    <a:gd name="T36" fmla="*/ 44 w 67"/>
                    <a:gd name="T37" fmla="*/ 50 h 150"/>
                    <a:gd name="T38" fmla="*/ 48 w 67"/>
                    <a:gd name="T39" fmla="*/ 38 h 150"/>
                    <a:gd name="T40" fmla="*/ 66 w 67"/>
                    <a:gd name="T41" fmla="*/ 17 h 150"/>
                    <a:gd name="T42" fmla="*/ 66 w 67"/>
                    <a:gd name="T43" fmla="*/ 13 h 150"/>
                    <a:gd name="T44" fmla="*/ 56 w 67"/>
                    <a:gd name="T45" fmla="*/ 1 h 150"/>
                    <a:gd name="T46" fmla="*/ 55 w 67"/>
                    <a:gd name="T47" fmla="*/ 7 h 150"/>
                    <a:gd name="T48" fmla="*/ 50 w 67"/>
                    <a:gd name="T49" fmla="*/ 18 h 150"/>
                    <a:gd name="T50" fmla="*/ 42 w 67"/>
                    <a:gd name="T51" fmla="*/ 15 h 150"/>
                    <a:gd name="T52" fmla="*/ 40 w 67"/>
                    <a:gd name="T53" fmla="*/ 15 h 150"/>
                    <a:gd name="T54" fmla="*/ 41 w 67"/>
                    <a:gd name="T55" fmla="*/ 26 h 150"/>
                    <a:gd name="T56" fmla="*/ 41 w 67"/>
                    <a:gd name="T57" fmla="*/ 30 h 150"/>
                    <a:gd name="T58" fmla="*/ 37 w 67"/>
                    <a:gd name="T59" fmla="*/ 33 h 150"/>
                    <a:gd name="T60" fmla="*/ 30 w 67"/>
                    <a:gd name="T61" fmla="*/ 29 h 150"/>
                    <a:gd name="T62" fmla="*/ 9 w 67"/>
                    <a:gd name="T63" fmla="*/ 50 h 150"/>
                    <a:gd name="T64" fmla="*/ 4 w 67"/>
                    <a:gd name="T65" fmla="*/ 59 h 150"/>
                    <a:gd name="T66" fmla="*/ 23 w 67"/>
                    <a:gd name="T67" fmla="*/ 51 h 150"/>
                    <a:gd name="T68" fmla="*/ 30 w 67"/>
                    <a:gd name="T69" fmla="*/ 58 h 150"/>
                    <a:gd name="T70" fmla="*/ 26 w 67"/>
                    <a:gd name="T71" fmla="*/ 65 h 150"/>
                    <a:gd name="T72" fmla="*/ 19 w 67"/>
                    <a:gd name="T73" fmla="*/ 64 h 150"/>
                    <a:gd name="T74" fmla="*/ 16 w 67"/>
                    <a:gd name="T75" fmla="*/ 67 h 150"/>
                    <a:gd name="T76" fmla="*/ 16 w 67"/>
                    <a:gd name="T77" fmla="*/ 72 h 150"/>
                    <a:gd name="T78" fmla="*/ 3 w 67"/>
                    <a:gd name="T79" fmla="*/ 105 h 150"/>
                    <a:gd name="T80" fmla="*/ 6 w 67"/>
                    <a:gd name="T81" fmla="*/ 110 h 150"/>
                    <a:gd name="T82" fmla="*/ 9 w 67"/>
                    <a:gd name="T83" fmla="*/ 111 h 150"/>
                    <a:gd name="T84" fmla="*/ 24 w 67"/>
                    <a:gd name="T85" fmla="*/ 89 h 150"/>
                    <a:gd name="T86" fmla="*/ 32 w 67"/>
                    <a:gd name="T87" fmla="*/ 93 h 150"/>
                    <a:gd name="T88" fmla="*/ 32 w 67"/>
                    <a:gd name="T89" fmla="*/ 96 h 150"/>
                    <a:gd name="T90" fmla="*/ 29 w 67"/>
                    <a:gd name="T91" fmla="*/ 113 h 150"/>
                    <a:gd name="T92" fmla="*/ 29 w 67"/>
                    <a:gd name="T93" fmla="*/ 115 h 150"/>
                    <a:gd name="T94" fmla="*/ 22 w 67"/>
                    <a:gd name="T95" fmla="*/ 122 h 150"/>
                    <a:gd name="T96" fmla="*/ 10 w 67"/>
                    <a:gd name="T97" fmla="*/ 124 h 150"/>
                    <a:gd name="T98" fmla="*/ 15 w 67"/>
                    <a:gd name="T99" fmla="*/ 144 h 150"/>
                    <a:gd name="T100" fmla="*/ 17 w 67"/>
                    <a:gd name="T101" fmla="*/ 150 h 150"/>
                    <a:gd name="T102" fmla="*/ 38 w 67"/>
                    <a:gd name="T103" fmla="*/ 12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7" h="150">
                      <a:moveTo>
                        <a:pt x="39" y="107"/>
                      </a:moveTo>
                      <a:cubicBezTo>
                        <a:pt x="39" y="103"/>
                        <a:pt x="44" y="96"/>
                        <a:pt x="47" y="96"/>
                      </a:cubicBez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3" y="98"/>
                        <a:pt x="55" y="101"/>
                        <a:pt x="55" y="104"/>
                      </a:cubicBezTo>
                      <a:cubicBezTo>
                        <a:pt x="55" y="108"/>
                        <a:pt x="49" y="112"/>
                        <a:pt x="46" y="114"/>
                      </a:cubicBezTo>
                      <a:cubicBezTo>
                        <a:pt x="45" y="114"/>
                        <a:pt x="45" y="113"/>
                        <a:pt x="43" y="113"/>
                      </a:cubicBezTo>
                      <a:cubicBezTo>
                        <a:pt x="42" y="113"/>
                        <a:pt x="42" y="113"/>
                        <a:pt x="42" y="113"/>
                      </a:cubicBezTo>
                      <a:cubicBezTo>
                        <a:pt x="39" y="109"/>
                        <a:pt x="39" y="109"/>
                        <a:pt x="39" y="109"/>
                      </a:cubicBezTo>
                      <a:cubicBezTo>
                        <a:pt x="39" y="108"/>
                        <a:pt x="39" y="108"/>
                        <a:pt x="39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lose/>
                      <a:moveTo>
                        <a:pt x="21" y="78"/>
                      </a:moveTo>
                      <a:cubicBezTo>
                        <a:pt x="21" y="77"/>
                        <a:pt x="25" y="73"/>
                        <a:pt x="26" y="73"/>
                      </a:cubicBezTo>
                      <a:cubicBezTo>
                        <a:pt x="27" y="73"/>
                        <a:pt x="27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4"/>
                        <a:pt x="32" y="74"/>
                        <a:pt x="32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2" y="79"/>
                        <a:pt x="32" y="79"/>
                        <a:pt x="32" y="79"/>
                      </a:cubicBezTo>
                      <a:cubicBezTo>
                        <a:pt x="31" y="82"/>
                        <a:pt x="29" y="83"/>
                        <a:pt x="25" y="83"/>
                      </a:cubicBezTo>
                      <a:cubicBezTo>
                        <a:pt x="23" y="83"/>
                        <a:pt x="21" y="81"/>
                        <a:pt x="21" y="78"/>
                      </a:cubicBezTo>
                      <a:close/>
                      <a:moveTo>
                        <a:pt x="38" y="125"/>
                      </a:moveTo>
                      <a:cubicBezTo>
                        <a:pt x="43" y="122"/>
                        <a:pt x="47" y="120"/>
                        <a:pt x="53" y="118"/>
                      </a:cubicBezTo>
                      <a:cubicBezTo>
                        <a:pt x="57" y="116"/>
                        <a:pt x="57" y="116"/>
                        <a:pt x="60" y="114"/>
                      </a:cubicBezTo>
                      <a:cubicBezTo>
                        <a:pt x="64" y="111"/>
                        <a:pt x="63" y="110"/>
                        <a:pt x="66" y="108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4" y="100"/>
                        <a:pt x="64" y="101"/>
                        <a:pt x="60" y="98"/>
                      </a:cubicBezTo>
                      <a:cubicBezTo>
                        <a:pt x="58" y="96"/>
                        <a:pt x="55" y="95"/>
                        <a:pt x="54" y="92"/>
                      </a:cubicBezTo>
                      <a:cubicBezTo>
                        <a:pt x="53" y="88"/>
                        <a:pt x="53" y="84"/>
                        <a:pt x="51" y="82"/>
                      </a:cubicBezTo>
                      <a:cubicBezTo>
                        <a:pt x="49" y="79"/>
                        <a:pt x="47" y="77"/>
                        <a:pt x="47" y="73"/>
                      </a:cubicBezTo>
                      <a:cubicBezTo>
                        <a:pt x="47" y="72"/>
                        <a:pt x="47" y="72"/>
                        <a:pt x="47" y="71"/>
                      </a:cubicBezTo>
                      <a:cubicBezTo>
                        <a:pt x="49" y="67"/>
                        <a:pt x="47" y="67"/>
                        <a:pt x="53" y="64"/>
                      </a:cubicBezTo>
                      <a:cubicBezTo>
                        <a:pt x="55" y="64"/>
                        <a:pt x="60" y="60"/>
                        <a:pt x="60" y="58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60" y="53"/>
                        <a:pt x="56" y="51"/>
                        <a:pt x="53" y="52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6" y="52"/>
                        <a:pt x="45" y="51"/>
                        <a:pt x="44" y="50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44"/>
                        <a:pt x="47" y="41"/>
                        <a:pt x="48" y="38"/>
                      </a:cubicBezTo>
                      <a:cubicBezTo>
                        <a:pt x="49" y="34"/>
                        <a:pt x="50" y="33"/>
                        <a:pt x="53" y="30"/>
                      </a:cubicBezTo>
                      <a:cubicBezTo>
                        <a:pt x="56" y="27"/>
                        <a:pt x="66" y="22"/>
                        <a:pt x="66" y="17"/>
                      </a:cubicBezTo>
                      <a:cubicBezTo>
                        <a:pt x="66" y="14"/>
                        <a:pt x="66" y="14"/>
                        <a:pt x="66" y="14"/>
                      </a:cubicBezTo>
                      <a:cubicBezTo>
                        <a:pt x="66" y="13"/>
                        <a:pt x="66" y="13"/>
                        <a:pt x="66" y="13"/>
                      </a:cubicBezTo>
                      <a:cubicBezTo>
                        <a:pt x="65" y="10"/>
                        <a:pt x="62" y="0"/>
                        <a:pt x="58" y="0"/>
                      </a:cubicBezTo>
                      <a:cubicBezTo>
                        <a:pt x="57" y="0"/>
                        <a:pt x="57" y="0"/>
                        <a:pt x="56" y="1"/>
                      </a:cubicBezTo>
                      <a:cubicBezTo>
                        <a:pt x="56" y="3"/>
                        <a:pt x="55" y="3"/>
                        <a:pt x="55" y="5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11"/>
                        <a:pt x="53" y="15"/>
                        <a:pt x="51" y="18"/>
                      </a:cubicBezTo>
                      <a:cubicBezTo>
                        <a:pt x="50" y="18"/>
                        <a:pt x="50" y="18"/>
                        <a:pt x="50" y="18"/>
                      </a:cubicBezTo>
                      <a:cubicBezTo>
                        <a:pt x="48" y="18"/>
                        <a:pt x="48" y="18"/>
                        <a:pt x="47" y="19"/>
                      </a:cubicBezTo>
                      <a:cubicBezTo>
                        <a:pt x="42" y="15"/>
                        <a:pt x="42" y="15"/>
                        <a:pt x="42" y="15"/>
                      </a:cubicBezTo>
                      <a:cubicBezTo>
                        <a:pt x="41" y="15"/>
                        <a:pt x="41" y="15"/>
                        <a:pt x="41" y="15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39" y="15"/>
                        <a:pt x="38" y="16"/>
                        <a:pt x="38" y="17"/>
                      </a:cubicBezTo>
                      <a:cubicBezTo>
                        <a:pt x="38" y="19"/>
                        <a:pt x="41" y="22"/>
                        <a:pt x="41" y="26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30"/>
                        <a:pt x="41" y="30"/>
                        <a:pt x="41" y="30"/>
                      </a:cubicBezTo>
                      <a:cubicBezTo>
                        <a:pt x="38" y="33"/>
                        <a:pt x="38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5" y="34"/>
                        <a:pt x="34" y="34"/>
                      </a:cubicBezTo>
                      <a:cubicBezTo>
                        <a:pt x="32" y="33"/>
                        <a:pt x="31" y="31"/>
                        <a:pt x="30" y="29"/>
                      </a:cubicBezTo>
                      <a:cubicBezTo>
                        <a:pt x="24" y="29"/>
                        <a:pt x="30" y="41"/>
                        <a:pt x="19" y="45"/>
                      </a:cubicBezTo>
                      <a:cubicBezTo>
                        <a:pt x="16" y="46"/>
                        <a:pt x="12" y="48"/>
                        <a:pt x="9" y="50"/>
                      </a:cubicBezTo>
                      <a:cubicBezTo>
                        <a:pt x="6" y="51"/>
                        <a:pt x="1" y="53"/>
                        <a:pt x="0" y="55"/>
                      </a:cubicBezTo>
                      <a:cubicBezTo>
                        <a:pt x="1" y="58"/>
                        <a:pt x="1" y="57"/>
                        <a:pt x="4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10" y="59"/>
                        <a:pt x="20" y="51"/>
                        <a:pt x="23" y="51"/>
                      </a:cubicBezTo>
                      <a:cubicBezTo>
                        <a:pt x="25" y="51"/>
                        <a:pt x="24" y="51"/>
                        <a:pt x="27" y="52"/>
                      </a:cubicBezTo>
                      <a:cubicBezTo>
                        <a:pt x="29" y="54"/>
                        <a:pt x="29" y="55"/>
                        <a:pt x="30" y="58"/>
                      </a:cubicBezTo>
                      <a:cubicBezTo>
                        <a:pt x="30" y="59"/>
                        <a:pt x="30" y="59"/>
                        <a:pt x="30" y="59"/>
                      </a:cubicBezTo>
                      <a:cubicBezTo>
                        <a:pt x="30" y="62"/>
                        <a:pt x="28" y="64"/>
                        <a:pt x="26" y="65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4"/>
                        <a:pt x="20" y="64"/>
                        <a:pt x="19" y="64"/>
                      </a:cubicBezTo>
                      <a:cubicBezTo>
                        <a:pt x="18" y="64"/>
                        <a:pt x="18" y="64"/>
                        <a:pt x="18" y="64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8"/>
                        <a:pt x="16" y="68"/>
                        <a:pt x="16" y="68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16" y="78"/>
                        <a:pt x="13" y="85"/>
                        <a:pt x="11" y="90"/>
                      </a:cubicBezTo>
                      <a:cubicBezTo>
                        <a:pt x="9" y="94"/>
                        <a:pt x="3" y="100"/>
                        <a:pt x="3" y="105"/>
                      </a:cubicBezTo>
                      <a:cubicBezTo>
                        <a:pt x="3" y="106"/>
                        <a:pt x="4" y="109"/>
                        <a:pt x="5" y="110"/>
                      </a:cubicBezTo>
                      <a:cubicBezTo>
                        <a:pt x="6" y="110"/>
                        <a:pt x="6" y="110"/>
                        <a:pt x="6" y="110"/>
                      </a:cubicBezTo>
                      <a:cubicBezTo>
                        <a:pt x="7" y="110"/>
                        <a:pt x="7" y="110"/>
                        <a:pt x="7" y="110"/>
                      </a:cubicBezTo>
                      <a:cubicBezTo>
                        <a:pt x="9" y="110"/>
                        <a:pt x="8" y="110"/>
                        <a:pt x="9" y="111"/>
                      </a:cubicBezTo>
                      <a:cubicBezTo>
                        <a:pt x="11" y="109"/>
                        <a:pt x="15" y="101"/>
                        <a:pt x="15" y="98"/>
                      </a:cubicBezTo>
                      <a:cubicBezTo>
                        <a:pt x="17" y="94"/>
                        <a:pt x="20" y="89"/>
                        <a:pt x="24" y="89"/>
                      </a:cubicBezTo>
                      <a:cubicBezTo>
                        <a:pt x="25" y="89"/>
                        <a:pt x="25" y="89"/>
                        <a:pt x="26" y="88"/>
                      </a:cubicBezTo>
                      <a:cubicBezTo>
                        <a:pt x="28" y="90"/>
                        <a:pt x="32" y="90"/>
                        <a:pt x="32" y="93"/>
                      </a:cubicBez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8" y="102"/>
                        <a:pt x="25" y="101"/>
                        <a:pt x="23" y="104"/>
                      </a:cubicBezTo>
                      <a:cubicBezTo>
                        <a:pt x="26" y="109"/>
                        <a:pt x="27" y="108"/>
                        <a:pt x="29" y="113"/>
                      </a:cubicBezTo>
                      <a:cubicBezTo>
                        <a:pt x="29" y="114"/>
                        <a:pt x="29" y="114"/>
                        <a:pt x="29" y="114"/>
                      </a:cubicBezTo>
                      <a:cubicBezTo>
                        <a:pt x="29" y="115"/>
                        <a:pt x="29" y="115"/>
                        <a:pt x="29" y="115"/>
                      </a:cubicBezTo>
                      <a:cubicBezTo>
                        <a:pt x="29" y="116"/>
                        <a:pt x="29" y="116"/>
                        <a:pt x="29" y="116"/>
                      </a:cubicBezTo>
                      <a:cubicBezTo>
                        <a:pt x="28" y="119"/>
                        <a:pt x="26" y="123"/>
                        <a:pt x="22" y="122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2"/>
                        <a:pt x="11" y="124"/>
                        <a:pt x="10" y="124"/>
                      </a:cubicBezTo>
                      <a:cubicBezTo>
                        <a:pt x="13" y="127"/>
                        <a:pt x="23" y="129"/>
                        <a:pt x="23" y="133"/>
                      </a:cubicBezTo>
                      <a:cubicBezTo>
                        <a:pt x="23" y="137"/>
                        <a:pt x="18" y="142"/>
                        <a:pt x="15" y="144"/>
                      </a:cubicBezTo>
                      <a:cubicBezTo>
                        <a:pt x="15" y="150"/>
                        <a:pt x="15" y="150"/>
                        <a:pt x="15" y="150"/>
                      </a:cubicBezTo>
                      <a:cubicBezTo>
                        <a:pt x="17" y="150"/>
                        <a:pt x="17" y="150"/>
                        <a:pt x="17" y="150"/>
                      </a:cubicBezTo>
                      <a:cubicBezTo>
                        <a:pt x="20" y="150"/>
                        <a:pt x="27" y="141"/>
                        <a:pt x="29" y="139"/>
                      </a:cubicBezTo>
                      <a:cubicBezTo>
                        <a:pt x="33" y="135"/>
                        <a:pt x="34" y="129"/>
                        <a:pt x="38" y="12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8" name="íṩḻïḑè">
                  <a:extLst>
                    <a:ext uri="{FF2B5EF4-FFF2-40B4-BE49-F238E27FC236}">
                      <a16:creationId xmlns:a16="http://schemas.microsoft.com/office/drawing/2014/main" id="{54823FC1-1060-4DA2-8225-20A0177689DD}"/>
                    </a:ext>
                  </a:extLst>
                </p:cNvPr>
                <p:cNvSpPr/>
                <p:nvPr/>
              </p:nvSpPr>
              <p:spPr bwMode="auto">
                <a:xfrm>
                  <a:off x="4422776" y="3106738"/>
                  <a:ext cx="412750" cy="596900"/>
                </a:xfrm>
                <a:custGeom>
                  <a:avLst/>
                  <a:gdLst>
                    <a:gd name="T0" fmla="*/ 63 w 125"/>
                    <a:gd name="T1" fmla="*/ 83 h 179"/>
                    <a:gd name="T2" fmla="*/ 69 w 125"/>
                    <a:gd name="T3" fmla="*/ 84 h 179"/>
                    <a:gd name="T4" fmla="*/ 71 w 125"/>
                    <a:gd name="T5" fmla="*/ 95 h 179"/>
                    <a:gd name="T6" fmla="*/ 56 w 125"/>
                    <a:gd name="T7" fmla="*/ 91 h 179"/>
                    <a:gd name="T8" fmla="*/ 77 w 125"/>
                    <a:gd name="T9" fmla="*/ 77 h 179"/>
                    <a:gd name="T10" fmla="*/ 90 w 125"/>
                    <a:gd name="T11" fmla="*/ 82 h 179"/>
                    <a:gd name="T12" fmla="*/ 93 w 125"/>
                    <a:gd name="T13" fmla="*/ 96 h 179"/>
                    <a:gd name="T14" fmla="*/ 88 w 125"/>
                    <a:gd name="T15" fmla="*/ 106 h 179"/>
                    <a:gd name="T16" fmla="*/ 75 w 125"/>
                    <a:gd name="T17" fmla="*/ 89 h 179"/>
                    <a:gd name="T18" fmla="*/ 91 w 125"/>
                    <a:gd name="T19" fmla="*/ 29 h 179"/>
                    <a:gd name="T20" fmla="*/ 95 w 125"/>
                    <a:gd name="T21" fmla="*/ 4 h 179"/>
                    <a:gd name="T22" fmla="*/ 92 w 125"/>
                    <a:gd name="T23" fmla="*/ 0 h 179"/>
                    <a:gd name="T24" fmla="*/ 86 w 125"/>
                    <a:gd name="T25" fmla="*/ 0 h 179"/>
                    <a:gd name="T26" fmla="*/ 80 w 125"/>
                    <a:gd name="T27" fmla="*/ 7 h 179"/>
                    <a:gd name="T28" fmla="*/ 83 w 125"/>
                    <a:gd name="T29" fmla="*/ 30 h 179"/>
                    <a:gd name="T30" fmla="*/ 86 w 125"/>
                    <a:gd name="T31" fmla="*/ 50 h 179"/>
                    <a:gd name="T32" fmla="*/ 46 w 125"/>
                    <a:gd name="T33" fmla="*/ 84 h 179"/>
                    <a:gd name="T34" fmla="*/ 0 w 125"/>
                    <a:gd name="T35" fmla="*/ 99 h 179"/>
                    <a:gd name="T36" fmla="*/ 13 w 125"/>
                    <a:gd name="T37" fmla="*/ 108 h 179"/>
                    <a:gd name="T38" fmla="*/ 30 w 125"/>
                    <a:gd name="T39" fmla="*/ 100 h 179"/>
                    <a:gd name="T40" fmla="*/ 47 w 125"/>
                    <a:gd name="T41" fmla="*/ 92 h 179"/>
                    <a:gd name="T42" fmla="*/ 51 w 125"/>
                    <a:gd name="T43" fmla="*/ 109 h 179"/>
                    <a:gd name="T44" fmla="*/ 50 w 125"/>
                    <a:gd name="T45" fmla="*/ 118 h 179"/>
                    <a:gd name="T46" fmla="*/ 54 w 125"/>
                    <a:gd name="T47" fmla="*/ 125 h 179"/>
                    <a:gd name="T48" fmla="*/ 62 w 125"/>
                    <a:gd name="T49" fmla="*/ 119 h 179"/>
                    <a:gd name="T50" fmla="*/ 62 w 125"/>
                    <a:gd name="T51" fmla="*/ 113 h 179"/>
                    <a:gd name="T52" fmla="*/ 78 w 125"/>
                    <a:gd name="T53" fmla="*/ 111 h 179"/>
                    <a:gd name="T54" fmla="*/ 78 w 125"/>
                    <a:gd name="T55" fmla="*/ 113 h 179"/>
                    <a:gd name="T56" fmla="*/ 78 w 125"/>
                    <a:gd name="T57" fmla="*/ 118 h 179"/>
                    <a:gd name="T58" fmla="*/ 46 w 125"/>
                    <a:gd name="T59" fmla="*/ 147 h 179"/>
                    <a:gd name="T60" fmla="*/ 28 w 125"/>
                    <a:gd name="T61" fmla="*/ 158 h 179"/>
                    <a:gd name="T62" fmla="*/ 1 w 125"/>
                    <a:gd name="T63" fmla="*/ 170 h 179"/>
                    <a:gd name="T64" fmla="*/ 14 w 125"/>
                    <a:gd name="T65" fmla="*/ 178 h 179"/>
                    <a:gd name="T66" fmla="*/ 20 w 125"/>
                    <a:gd name="T67" fmla="*/ 179 h 179"/>
                    <a:gd name="T68" fmla="*/ 22 w 125"/>
                    <a:gd name="T69" fmla="*/ 179 h 179"/>
                    <a:gd name="T70" fmla="*/ 38 w 125"/>
                    <a:gd name="T71" fmla="*/ 169 h 179"/>
                    <a:gd name="T72" fmla="*/ 61 w 125"/>
                    <a:gd name="T73" fmla="*/ 150 h 179"/>
                    <a:gd name="T74" fmla="*/ 79 w 125"/>
                    <a:gd name="T75" fmla="*/ 135 h 179"/>
                    <a:gd name="T76" fmla="*/ 96 w 125"/>
                    <a:gd name="T77" fmla="*/ 119 h 179"/>
                    <a:gd name="T78" fmla="*/ 106 w 125"/>
                    <a:gd name="T79" fmla="*/ 149 h 179"/>
                    <a:gd name="T80" fmla="*/ 125 w 125"/>
                    <a:gd name="T81" fmla="*/ 152 h 179"/>
                    <a:gd name="T82" fmla="*/ 116 w 125"/>
                    <a:gd name="T83" fmla="*/ 120 h 179"/>
                    <a:gd name="T84" fmla="*/ 115 w 125"/>
                    <a:gd name="T85" fmla="*/ 125 h 179"/>
                    <a:gd name="T86" fmla="*/ 109 w 125"/>
                    <a:gd name="T87" fmla="*/ 129 h 179"/>
                    <a:gd name="T88" fmla="*/ 97 w 125"/>
                    <a:gd name="T89" fmla="*/ 92 h 179"/>
                    <a:gd name="T90" fmla="*/ 94 w 125"/>
                    <a:gd name="T91" fmla="*/ 76 h 179"/>
                    <a:gd name="T92" fmla="*/ 110 w 125"/>
                    <a:gd name="T93" fmla="*/ 60 h 179"/>
                    <a:gd name="T94" fmla="*/ 105 w 125"/>
                    <a:gd name="T95" fmla="*/ 57 h 179"/>
                    <a:gd name="T96" fmla="*/ 101 w 125"/>
                    <a:gd name="T97" fmla="*/ 59 h 179"/>
                    <a:gd name="T98" fmla="*/ 91 w 125"/>
                    <a:gd name="T99" fmla="*/ 54 h 179"/>
                    <a:gd name="T100" fmla="*/ 91 w 125"/>
                    <a:gd name="T101" fmla="*/ 29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5" h="179">
                      <a:moveTo>
                        <a:pt x="56" y="91"/>
                      </a:moveTo>
                      <a:cubicBezTo>
                        <a:pt x="56" y="87"/>
                        <a:pt x="60" y="85"/>
                        <a:pt x="63" y="83"/>
                      </a:cubicBezTo>
                      <a:cubicBezTo>
                        <a:pt x="64" y="83"/>
                        <a:pt x="64" y="83"/>
                        <a:pt x="64" y="83"/>
                      </a:cubicBezTo>
                      <a:cubicBezTo>
                        <a:pt x="67" y="83"/>
                        <a:pt x="67" y="84"/>
                        <a:pt x="69" y="84"/>
                      </a:cubicBezTo>
                      <a:cubicBezTo>
                        <a:pt x="71" y="94"/>
                        <a:pt x="71" y="94"/>
                        <a:pt x="71" y="94"/>
                      </a:cubicBez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68" y="100"/>
                        <a:pt x="68" y="99"/>
                        <a:pt x="63" y="101"/>
                      </a:cubicBezTo>
                      <a:cubicBezTo>
                        <a:pt x="61" y="99"/>
                        <a:pt x="56" y="95"/>
                        <a:pt x="56" y="91"/>
                      </a:cubicBezTo>
                      <a:close/>
                      <a:moveTo>
                        <a:pt x="72" y="83"/>
                      </a:moveTo>
                      <a:cubicBezTo>
                        <a:pt x="74" y="79"/>
                        <a:pt x="73" y="79"/>
                        <a:pt x="77" y="77"/>
                      </a:cubicBezTo>
                      <a:cubicBezTo>
                        <a:pt x="79" y="75"/>
                        <a:pt x="82" y="75"/>
                        <a:pt x="83" y="73"/>
                      </a:cubicBezTo>
                      <a:cubicBezTo>
                        <a:pt x="88" y="76"/>
                        <a:pt x="89" y="76"/>
                        <a:pt x="90" y="82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93" y="96"/>
                        <a:pt x="93" y="96"/>
                        <a:pt x="93" y="96"/>
                      </a:cubicBezTo>
                      <a:cubicBezTo>
                        <a:pt x="94" y="99"/>
                        <a:pt x="94" y="99"/>
                        <a:pt x="94" y="99"/>
                      </a:cubicBezTo>
                      <a:cubicBezTo>
                        <a:pt x="91" y="105"/>
                        <a:pt x="93" y="103"/>
                        <a:pt x="88" y="106"/>
                      </a:cubicBezTo>
                      <a:cubicBezTo>
                        <a:pt x="83" y="101"/>
                        <a:pt x="82" y="101"/>
                        <a:pt x="79" y="95"/>
                      </a:cubicBezTo>
                      <a:cubicBezTo>
                        <a:pt x="77" y="93"/>
                        <a:pt x="77" y="91"/>
                        <a:pt x="75" y="89"/>
                      </a:cubicBezTo>
                      <a:cubicBezTo>
                        <a:pt x="73" y="87"/>
                        <a:pt x="73" y="86"/>
                        <a:pt x="72" y="83"/>
                      </a:cubicBezTo>
                      <a:close/>
                      <a:moveTo>
                        <a:pt x="91" y="29"/>
                      </a:moveTo>
                      <a:cubicBezTo>
                        <a:pt x="91" y="22"/>
                        <a:pt x="95" y="12"/>
                        <a:pt x="95" y="4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95" y="3"/>
                        <a:pt x="95" y="3"/>
                        <a:pt x="95" y="3"/>
                      </a:cubicBezTo>
                      <a:cubicBezTo>
                        <a:pt x="93" y="0"/>
                        <a:pt x="95" y="1"/>
                        <a:pt x="92" y="0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2" y="1"/>
                        <a:pt x="80" y="4"/>
                        <a:pt x="80" y="7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8"/>
                        <a:pt x="86" y="44"/>
                        <a:pt x="86" y="49"/>
                      </a:cubicBezTo>
                      <a:cubicBezTo>
                        <a:pt x="86" y="50"/>
                        <a:pt x="86" y="50"/>
                        <a:pt x="86" y="50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7" y="68"/>
                        <a:pt x="52" y="81"/>
                        <a:pt x="46" y="84"/>
                      </a:cubicBezTo>
                      <a:cubicBezTo>
                        <a:pt x="39" y="87"/>
                        <a:pt x="31" y="89"/>
                        <a:pt x="23" y="92"/>
                      </a:cubicBezTo>
                      <a:cubicBezTo>
                        <a:pt x="20" y="94"/>
                        <a:pt x="0" y="96"/>
                        <a:pt x="0" y="99"/>
                      </a:cubicBezTo>
                      <a:cubicBezTo>
                        <a:pt x="0" y="101"/>
                        <a:pt x="9" y="108"/>
                        <a:pt x="11" y="108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4" y="108"/>
                        <a:pt x="14" y="108"/>
                        <a:pt x="14" y="108"/>
                      </a:cubicBezTo>
                      <a:cubicBezTo>
                        <a:pt x="20" y="105"/>
                        <a:pt x="24" y="103"/>
                        <a:pt x="30" y="100"/>
                      </a:cubicBezTo>
                      <a:cubicBezTo>
                        <a:pt x="34" y="98"/>
                        <a:pt x="41" y="93"/>
                        <a:pt x="45" y="93"/>
                      </a:cubicBezTo>
                      <a:cubicBezTo>
                        <a:pt x="46" y="93"/>
                        <a:pt x="46" y="93"/>
                        <a:pt x="47" y="92"/>
                      </a:cubicBezTo>
                      <a:cubicBezTo>
                        <a:pt x="49" y="94"/>
                        <a:pt x="52" y="96"/>
                        <a:pt x="51" y="101"/>
                      </a:cubicBezTo>
                      <a:cubicBezTo>
                        <a:pt x="51" y="109"/>
                        <a:pt x="51" y="109"/>
                        <a:pt x="51" y="109"/>
                      </a:cubicBezTo>
                      <a:cubicBezTo>
                        <a:pt x="51" y="110"/>
                        <a:pt x="51" y="110"/>
                        <a:pt x="51" y="110"/>
                      </a:cubicBezTo>
                      <a:cubicBezTo>
                        <a:pt x="50" y="118"/>
                        <a:pt x="50" y="118"/>
                        <a:pt x="50" y="118"/>
                      </a:cubicBezTo>
                      <a:cubicBezTo>
                        <a:pt x="50" y="119"/>
                        <a:pt x="50" y="119"/>
                        <a:pt x="50" y="120"/>
                      </a:cubicBezTo>
                      <a:cubicBezTo>
                        <a:pt x="51" y="123"/>
                        <a:pt x="51" y="123"/>
                        <a:pt x="54" y="125"/>
                      </a:cubicBezTo>
                      <a:cubicBezTo>
                        <a:pt x="56" y="125"/>
                        <a:pt x="56" y="125"/>
                        <a:pt x="56" y="125"/>
                      </a:cubicBezTo>
                      <a:cubicBezTo>
                        <a:pt x="59" y="125"/>
                        <a:pt x="60" y="121"/>
                        <a:pt x="62" y="119"/>
                      </a:cubicBezTo>
                      <a:cubicBezTo>
                        <a:pt x="62" y="118"/>
                        <a:pt x="62" y="118"/>
                        <a:pt x="62" y="118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63" y="110"/>
                        <a:pt x="68" y="106"/>
                        <a:pt x="71" y="106"/>
                      </a:cubicBezTo>
                      <a:cubicBezTo>
                        <a:pt x="75" y="106"/>
                        <a:pt x="77" y="109"/>
                        <a:pt x="78" y="111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78" y="113"/>
                        <a:pt x="78" y="113"/>
                        <a:pt x="78" y="113"/>
                      </a:cubicBezTo>
                      <a:cubicBezTo>
                        <a:pt x="78" y="115"/>
                        <a:pt x="78" y="115"/>
                        <a:pt x="79" y="116"/>
                      </a:cubicBezTo>
                      <a:cubicBezTo>
                        <a:pt x="78" y="117"/>
                        <a:pt x="78" y="117"/>
                        <a:pt x="78" y="118"/>
                      </a:cubicBezTo>
                      <a:cubicBezTo>
                        <a:pt x="78" y="119"/>
                        <a:pt x="78" y="119"/>
                        <a:pt x="78" y="119"/>
                      </a:cubicBezTo>
                      <a:cubicBezTo>
                        <a:pt x="72" y="130"/>
                        <a:pt x="57" y="140"/>
                        <a:pt x="46" y="147"/>
                      </a:cubicBezTo>
                      <a:cubicBezTo>
                        <a:pt x="44" y="148"/>
                        <a:pt x="40" y="151"/>
                        <a:pt x="37" y="152"/>
                      </a:cubicBezTo>
                      <a:cubicBezTo>
                        <a:pt x="35" y="153"/>
                        <a:pt x="29" y="157"/>
                        <a:pt x="28" y="158"/>
                      </a:cubicBezTo>
                      <a:cubicBezTo>
                        <a:pt x="25" y="161"/>
                        <a:pt x="12" y="165"/>
                        <a:pt x="6" y="165"/>
                      </a:cubicBezTo>
                      <a:cubicBezTo>
                        <a:pt x="4" y="165"/>
                        <a:pt x="2" y="168"/>
                        <a:pt x="1" y="170"/>
                      </a:cubicBezTo>
                      <a:cubicBezTo>
                        <a:pt x="4" y="171"/>
                        <a:pt x="4" y="173"/>
                        <a:pt x="7" y="175"/>
                      </a:cubicBezTo>
                      <a:cubicBezTo>
                        <a:pt x="10" y="176"/>
                        <a:pt x="12" y="176"/>
                        <a:pt x="14" y="178"/>
                      </a:cubicBezTo>
                      <a:cubicBezTo>
                        <a:pt x="18" y="179"/>
                        <a:pt x="18" y="179"/>
                        <a:pt x="18" y="179"/>
                      </a:cubicBezTo>
                      <a:cubicBezTo>
                        <a:pt x="20" y="179"/>
                        <a:pt x="18" y="179"/>
                        <a:pt x="20" y="179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6" y="177"/>
                        <a:pt x="30" y="175"/>
                        <a:pt x="33" y="173"/>
                      </a:cubicBezTo>
                      <a:cubicBezTo>
                        <a:pt x="35" y="171"/>
                        <a:pt x="36" y="170"/>
                        <a:pt x="38" y="169"/>
                      </a:cubicBezTo>
                      <a:cubicBezTo>
                        <a:pt x="39" y="168"/>
                        <a:pt x="43" y="166"/>
                        <a:pt x="43" y="166"/>
                      </a:cubicBezTo>
                      <a:cubicBezTo>
                        <a:pt x="49" y="160"/>
                        <a:pt x="55" y="156"/>
                        <a:pt x="61" y="150"/>
                      </a:cubicBezTo>
                      <a:cubicBezTo>
                        <a:pt x="64" y="148"/>
                        <a:pt x="67" y="145"/>
                        <a:pt x="70" y="143"/>
                      </a:cubicBezTo>
                      <a:cubicBezTo>
                        <a:pt x="73" y="140"/>
                        <a:pt x="76" y="137"/>
                        <a:pt x="79" y="135"/>
                      </a:cubicBezTo>
                      <a:cubicBezTo>
                        <a:pt x="82" y="132"/>
                        <a:pt x="85" y="130"/>
                        <a:pt x="87" y="127"/>
                      </a:cubicBezTo>
                      <a:cubicBezTo>
                        <a:pt x="90" y="124"/>
                        <a:pt x="91" y="119"/>
                        <a:pt x="96" y="119"/>
                      </a:cubicBezTo>
                      <a:cubicBezTo>
                        <a:pt x="98" y="119"/>
                        <a:pt x="100" y="126"/>
                        <a:pt x="100" y="128"/>
                      </a:cubicBezTo>
                      <a:cubicBezTo>
                        <a:pt x="100" y="132"/>
                        <a:pt x="105" y="145"/>
                        <a:pt x="106" y="149"/>
                      </a:cubicBezTo>
                      <a:cubicBezTo>
                        <a:pt x="108" y="155"/>
                        <a:pt x="111" y="165"/>
                        <a:pt x="118" y="165"/>
                      </a:cubicBezTo>
                      <a:cubicBezTo>
                        <a:pt x="119" y="163"/>
                        <a:pt x="125" y="161"/>
                        <a:pt x="125" y="152"/>
                      </a:cubicBezTo>
                      <a:cubicBezTo>
                        <a:pt x="125" y="143"/>
                        <a:pt x="120" y="120"/>
                        <a:pt x="117" y="116"/>
                      </a:cubicBezTo>
                      <a:cubicBezTo>
                        <a:pt x="117" y="118"/>
                        <a:pt x="116" y="118"/>
                        <a:pt x="116" y="120"/>
                      </a:cubicBezTo>
                      <a:cubicBezTo>
                        <a:pt x="116" y="123"/>
                        <a:pt x="115" y="121"/>
                        <a:pt x="115" y="124"/>
                      </a:cubicBezTo>
                      <a:cubicBezTo>
                        <a:pt x="115" y="125"/>
                        <a:pt x="115" y="125"/>
                        <a:pt x="115" y="125"/>
                      </a:cubicBezTo>
                      <a:cubicBezTo>
                        <a:pt x="115" y="126"/>
                        <a:pt x="114" y="129"/>
                        <a:pt x="112" y="129"/>
                      </a:cubicBezTo>
                      <a:cubicBezTo>
                        <a:pt x="109" y="129"/>
                        <a:pt x="109" y="129"/>
                        <a:pt x="109" y="129"/>
                      </a:cubicBezTo>
                      <a:cubicBezTo>
                        <a:pt x="105" y="129"/>
                        <a:pt x="102" y="110"/>
                        <a:pt x="100" y="105"/>
                      </a:cubicBezTo>
                      <a:cubicBezTo>
                        <a:pt x="98" y="101"/>
                        <a:pt x="98" y="97"/>
                        <a:pt x="97" y="92"/>
                      </a:cubicBezTo>
                      <a:cubicBezTo>
                        <a:pt x="96" y="87"/>
                        <a:pt x="94" y="86"/>
                        <a:pt x="94" y="79"/>
                      </a:cubicBezTo>
                      <a:cubicBezTo>
                        <a:pt x="94" y="76"/>
                        <a:pt x="94" y="76"/>
                        <a:pt x="94" y="76"/>
                      </a:cubicBezTo>
                      <a:cubicBezTo>
                        <a:pt x="94" y="65"/>
                        <a:pt x="110" y="67"/>
                        <a:pt x="110" y="61"/>
                      </a:cubicBezTo>
                      <a:cubicBezTo>
                        <a:pt x="110" y="60"/>
                        <a:pt x="110" y="60"/>
                        <a:pt x="110" y="60"/>
                      </a:cubicBezTo>
                      <a:cubicBezTo>
                        <a:pt x="110" y="58"/>
                        <a:pt x="109" y="57"/>
                        <a:pt x="108" y="57"/>
                      </a:cubicBezTo>
                      <a:cubicBezTo>
                        <a:pt x="105" y="57"/>
                        <a:pt x="105" y="57"/>
                        <a:pt x="105" y="57"/>
                      </a:cubicBezTo>
                      <a:cubicBezTo>
                        <a:pt x="104" y="57"/>
                        <a:pt x="104" y="57"/>
                        <a:pt x="104" y="57"/>
                      </a:cubicBezTo>
                      <a:cubicBezTo>
                        <a:pt x="103" y="58"/>
                        <a:pt x="102" y="59"/>
                        <a:pt x="101" y="59"/>
                      </a:cubicBezTo>
                      <a:cubicBezTo>
                        <a:pt x="99" y="60"/>
                        <a:pt x="99" y="59"/>
                        <a:pt x="97" y="60"/>
                      </a:cubicBezTo>
                      <a:cubicBezTo>
                        <a:pt x="95" y="59"/>
                        <a:pt x="91" y="56"/>
                        <a:pt x="91" y="54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lnTo>
                        <a:pt x="91" y="29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9" name="ïṡľîdê">
                  <a:extLst>
                    <a:ext uri="{FF2B5EF4-FFF2-40B4-BE49-F238E27FC236}">
                      <a16:creationId xmlns:a16="http://schemas.microsoft.com/office/drawing/2014/main" id="{72209671-C0B6-43E6-9A41-F6CA94ECD81E}"/>
                    </a:ext>
                  </a:extLst>
                </p:cNvPr>
                <p:cNvSpPr/>
                <p:nvPr/>
              </p:nvSpPr>
              <p:spPr bwMode="auto">
                <a:xfrm>
                  <a:off x="5478463" y="3581400"/>
                  <a:ext cx="46038" cy="76200"/>
                </a:xfrm>
                <a:custGeom>
                  <a:avLst/>
                  <a:gdLst>
                    <a:gd name="T0" fmla="*/ 14 w 14"/>
                    <a:gd name="T1" fmla="*/ 15 h 23"/>
                    <a:gd name="T2" fmla="*/ 10 w 14"/>
                    <a:gd name="T3" fmla="*/ 6 h 23"/>
                    <a:gd name="T4" fmla="*/ 3 w 14"/>
                    <a:gd name="T5" fmla="*/ 0 h 23"/>
                    <a:gd name="T6" fmla="*/ 0 w 14"/>
                    <a:gd name="T7" fmla="*/ 3 h 23"/>
                    <a:gd name="T8" fmla="*/ 5 w 14"/>
                    <a:gd name="T9" fmla="*/ 11 h 23"/>
                    <a:gd name="T10" fmla="*/ 5 w 14"/>
                    <a:gd name="T11" fmla="*/ 12 h 23"/>
                    <a:gd name="T12" fmla="*/ 5 w 14"/>
                    <a:gd name="T13" fmla="*/ 14 h 23"/>
                    <a:gd name="T14" fmla="*/ 5 w 14"/>
                    <a:gd name="T15" fmla="*/ 15 h 23"/>
                    <a:gd name="T16" fmla="*/ 2 w 14"/>
                    <a:gd name="T17" fmla="*/ 19 h 23"/>
                    <a:gd name="T18" fmla="*/ 2 w 14"/>
                    <a:gd name="T19" fmla="*/ 22 h 23"/>
                    <a:gd name="T20" fmla="*/ 5 w 14"/>
                    <a:gd name="T21" fmla="*/ 23 h 23"/>
                    <a:gd name="T22" fmla="*/ 6 w 14"/>
                    <a:gd name="T23" fmla="*/ 23 h 23"/>
                    <a:gd name="T24" fmla="*/ 11 w 14"/>
                    <a:gd name="T25" fmla="*/ 20 h 23"/>
                    <a:gd name="T26" fmla="*/ 14 w 14"/>
                    <a:gd name="T27" fmla="*/ 1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23">
                      <a:moveTo>
                        <a:pt x="14" y="15"/>
                      </a:moveTo>
                      <a:cubicBezTo>
                        <a:pt x="14" y="11"/>
                        <a:pt x="12" y="9"/>
                        <a:pt x="10" y="6"/>
                      </a:cubicBezTo>
                      <a:cubicBezTo>
                        <a:pt x="8" y="5"/>
                        <a:pt x="3" y="1"/>
                        <a:pt x="3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7" y="23"/>
                        <a:pt x="11" y="21"/>
                        <a:pt x="11" y="20"/>
                      </a:cubicBezTo>
                      <a:cubicBezTo>
                        <a:pt x="13" y="19"/>
                        <a:pt x="13" y="17"/>
                        <a:pt x="14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0" name="iṡ1îďé">
                  <a:extLst>
                    <a:ext uri="{FF2B5EF4-FFF2-40B4-BE49-F238E27FC236}">
                      <a16:creationId xmlns:a16="http://schemas.microsoft.com/office/drawing/2014/main" id="{4F6398E8-5311-4347-AD84-B5DE05F2C1B3}"/>
                    </a:ext>
                  </a:extLst>
                </p:cNvPr>
                <p:cNvSpPr/>
                <p:nvPr/>
              </p:nvSpPr>
              <p:spPr bwMode="auto">
                <a:xfrm>
                  <a:off x="6310313" y="3136900"/>
                  <a:ext cx="406400" cy="554038"/>
                </a:xfrm>
                <a:custGeom>
                  <a:avLst/>
                  <a:gdLst>
                    <a:gd name="T0" fmla="*/ 101 w 123"/>
                    <a:gd name="T1" fmla="*/ 9 h 166"/>
                    <a:gd name="T2" fmla="*/ 96 w 123"/>
                    <a:gd name="T3" fmla="*/ 0 h 166"/>
                    <a:gd name="T4" fmla="*/ 76 w 123"/>
                    <a:gd name="T5" fmla="*/ 23 h 166"/>
                    <a:gd name="T6" fmla="*/ 66 w 123"/>
                    <a:gd name="T7" fmla="*/ 20 h 166"/>
                    <a:gd name="T8" fmla="*/ 69 w 123"/>
                    <a:gd name="T9" fmla="*/ 29 h 166"/>
                    <a:gd name="T10" fmla="*/ 64 w 123"/>
                    <a:gd name="T11" fmla="*/ 38 h 166"/>
                    <a:gd name="T12" fmla="*/ 71 w 123"/>
                    <a:gd name="T13" fmla="*/ 37 h 166"/>
                    <a:gd name="T14" fmla="*/ 78 w 123"/>
                    <a:gd name="T15" fmla="*/ 38 h 166"/>
                    <a:gd name="T16" fmla="*/ 104 w 123"/>
                    <a:gd name="T17" fmla="*/ 37 h 166"/>
                    <a:gd name="T18" fmla="*/ 97 w 123"/>
                    <a:gd name="T19" fmla="*/ 43 h 166"/>
                    <a:gd name="T20" fmla="*/ 85 w 123"/>
                    <a:gd name="T21" fmla="*/ 56 h 166"/>
                    <a:gd name="T22" fmla="*/ 78 w 123"/>
                    <a:gd name="T23" fmla="*/ 67 h 166"/>
                    <a:gd name="T24" fmla="*/ 72 w 123"/>
                    <a:gd name="T25" fmla="*/ 62 h 166"/>
                    <a:gd name="T26" fmla="*/ 72 w 123"/>
                    <a:gd name="T27" fmla="*/ 48 h 166"/>
                    <a:gd name="T28" fmla="*/ 63 w 123"/>
                    <a:gd name="T29" fmla="*/ 57 h 166"/>
                    <a:gd name="T30" fmla="*/ 56 w 123"/>
                    <a:gd name="T31" fmla="*/ 57 h 166"/>
                    <a:gd name="T32" fmla="*/ 61 w 123"/>
                    <a:gd name="T33" fmla="*/ 66 h 166"/>
                    <a:gd name="T34" fmla="*/ 59 w 123"/>
                    <a:gd name="T35" fmla="*/ 70 h 166"/>
                    <a:gd name="T36" fmla="*/ 68 w 123"/>
                    <a:gd name="T37" fmla="*/ 74 h 166"/>
                    <a:gd name="T38" fmla="*/ 68 w 123"/>
                    <a:gd name="T39" fmla="*/ 78 h 166"/>
                    <a:gd name="T40" fmla="*/ 40 w 123"/>
                    <a:gd name="T41" fmla="*/ 92 h 166"/>
                    <a:gd name="T42" fmla="*/ 24 w 123"/>
                    <a:gd name="T43" fmla="*/ 99 h 166"/>
                    <a:gd name="T44" fmla="*/ 3 w 123"/>
                    <a:gd name="T45" fmla="*/ 105 h 166"/>
                    <a:gd name="T46" fmla="*/ 2 w 123"/>
                    <a:gd name="T47" fmla="*/ 112 h 166"/>
                    <a:gd name="T48" fmla="*/ 14 w 123"/>
                    <a:gd name="T49" fmla="*/ 120 h 166"/>
                    <a:gd name="T50" fmla="*/ 32 w 123"/>
                    <a:gd name="T51" fmla="*/ 108 h 166"/>
                    <a:gd name="T52" fmla="*/ 55 w 123"/>
                    <a:gd name="T53" fmla="*/ 93 h 166"/>
                    <a:gd name="T54" fmla="*/ 63 w 123"/>
                    <a:gd name="T55" fmla="*/ 89 h 166"/>
                    <a:gd name="T56" fmla="*/ 82 w 123"/>
                    <a:gd name="T57" fmla="*/ 83 h 166"/>
                    <a:gd name="T58" fmla="*/ 82 w 123"/>
                    <a:gd name="T59" fmla="*/ 86 h 166"/>
                    <a:gd name="T60" fmla="*/ 74 w 123"/>
                    <a:gd name="T61" fmla="*/ 97 h 166"/>
                    <a:gd name="T62" fmla="*/ 61 w 123"/>
                    <a:gd name="T63" fmla="*/ 107 h 166"/>
                    <a:gd name="T64" fmla="*/ 64 w 123"/>
                    <a:gd name="T65" fmla="*/ 118 h 166"/>
                    <a:gd name="T66" fmla="*/ 55 w 123"/>
                    <a:gd name="T67" fmla="*/ 126 h 166"/>
                    <a:gd name="T68" fmla="*/ 40 w 123"/>
                    <a:gd name="T69" fmla="*/ 129 h 166"/>
                    <a:gd name="T70" fmla="*/ 30 w 123"/>
                    <a:gd name="T71" fmla="*/ 130 h 166"/>
                    <a:gd name="T72" fmla="*/ 35 w 123"/>
                    <a:gd name="T73" fmla="*/ 141 h 166"/>
                    <a:gd name="T74" fmla="*/ 38 w 123"/>
                    <a:gd name="T75" fmla="*/ 141 h 166"/>
                    <a:gd name="T76" fmla="*/ 56 w 123"/>
                    <a:gd name="T77" fmla="*/ 133 h 166"/>
                    <a:gd name="T78" fmla="*/ 63 w 123"/>
                    <a:gd name="T79" fmla="*/ 141 h 166"/>
                    <a:gd name="T80" fmla="*/ 56 w 123"/>
                    <a:gd name="T81" fmla="*/ 154 h 166"/>
                    <a:gd name="T82" fmla="*/ 53 w 123"/>
                    <a:gd name="T83" fmla="*/ 154 h 166"/>
                    <a:gd name="T84" fmla="*/ 49 w 123"/>
                    <a:gd name="T85" fmla="*/ 154 h 166"/>
                    <a:gd name="T86" fmla="*/ 46 w 123"/>
                    <a:gd name="T87" fmla="*/ 156 h 166"/>
                    <a:gd name="T88" fmla="*/ 56 w 123"/>
                    <a:gd name="T89" fmla="*/ 166 h 166"/>
                    <a:gd name="T90" fmla="*/ 71 w 123"/>
                    <a:gd name="T91" fmla="*/ 160 h 166"/>
                    <a:gd name="T92" fmla="*/ 75 w 123"/>
                    <a:gd name="T93" fmla="*/ 146 h 166"/>
                    <a:gd name="T94" fmla="*/ 80 w 123"/>
                    <a:gd name="T95" fmla="*/ 124 h 166"/>
                    <a:gd name="T96" fmla="*/ 94 w 123"/>
                    <a:gd name="T97" fmla="*/ 120 h 166"/>
                    <a:gd name="T98" fmla="*/ 81 w 123"/>
                    <a:gd name="T99" fmla="*/ 117 h 166"/>
                    <a:gd name="T100" fmla="*/ 72 w 123"/>
                    <a:gd name="T101" fmla="*/ 107 h 166"/>
                    <a:gd name="T102" fmla="*/ 78 w 123"/>
                    <a:gd name="T103" fmla="*/ 96 h 166"/>
                    <a:gd name="T104" fmla="*/ 92 w 123"/>
                    <a:gd name="T105" fmla="*/ 89 h 166"/>
                    <a:gd name="T106" fmla="*/ 102 w 123"/>
                    <a:gd name="T107" fmla="*/ 78 h 166"/>
                    <a:gd name="T108" fmla="*/ 95 w 123"/>
                    <a:gd name="T109" fmla="*/ 61 h 166"/>
                    <a:gd name="T110" fmla="*/ 109 w 123"/>
                    <a:gd name="T111" fmla="*/ 48 h 166"/>
                    <a:gd name="T112" fmla="*/ 116 w 123"/>
                    <a:gd name="T113" fmla="*/ 42 h 166"/>
                    <a:gd name="T114" fmla="*/ 121 w 123"/>
                    <a:gd name="T115" fmla="*/ 32 h 166"/>
                    <a:gd name="T116" fmla="*/ 116 w 123"/>
                    <a:gd name="T117" fmla="*/ 17 h 166"/>
                    <a:gd name="T118" fmla="*/ 104 w 123"/>
                    <a:gd name="T119" fmla="*/ 20 h 166"/>
                    <a:gd name="T120" fmla="*/ 93 w 123"/>
                    <a:gd name="T121" fmla="*/ 21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3" h="166">
                      <a:moveTo>
                        <a:pt x="93" y="21"/>
                      </a:moveTo>
                      <a:cubicBezTo>
                        <a:pt x="94" y="14"/>
                        <a:pt x="98" y="14"/>
                        <a:pt x="101" y="9"/>
                      </a:cubicBezTo>
                      <a:cubicBezTo>
                        <a:pt x="101" y="8"/>
                        <a:pt x="101" y="8"/>
                        <a:pt x="101" y="8"/>
                      </a:cubicBezTo>
                      <a:cubicBezTo>
                        <a:pt x="101" y="5"/>
                        <a:pt x="97" y="1"/>
                        <a:pt x="96" y="0"/>
                      </a:cubicBezTo>
                      <a:cubicBezTo>
                        <a:pt x="89" y="3"/>
                        <a:pt x="91" y="6"/>
                        <a:pt x="88" y="13"/>
                      </a:cubicBezTo>
                      <a:cubicBezTo>
                        <a:pt x="85" y="17"/>
                        <a:pt x="82" y="23"/>
                        <a:pt x="76" y="23"/>
                      </a:cubicBezTo>
                      <a:cubicBezTo>
                        <a:pt x="75" y="23"/>
                        <a:pt x="70" y="18"/>
                        <a:pt x="67" y="17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7" y="23"/>
                        <a:pt x="69" y="24"/>
                        <a:pt x="69" y="28"/>
                      </a:cubicBezTo>
                      <a:cubicBezTo>
                        <a:pt x="69" y="29"/>
                        <a:pt x="69" y="29"/>
                        <a:pt x="69" y="29"/>
                      </a:cubicBezTo>
                      <a:cubicBezTo>
                        <a:pt x="69" y="29"/>
                        <a:pt x="63" y="36"/>
                        <a:pt x="62" y="37"/>
                      </a:cubicBezTo>
                      <a:cubicBezTo>
                        <a:pt x="63" y="38"/>
                        <a:pt x="61" y="38"/>
                        <a:pt x="64" y="38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74" y="37"/>
                        <a:pt x="74" y="38"/>
                        <a:pt x="78" y="38"/>
                      </a:cubicBezTo>
                      <a:cubicBezTo>
                        <a:pt x="78" y="38"/>
                        <a:pt x="78" y="38"/>
                        <a:pt x="78" y="38"/>
                      </a:cubicBezTo>
                      <a:cubicBezTo>
                        <a:pt x="79" y="38"/>
                        <a:pt x="84" y="33"/>
                        <a:pt x="91" y="32"/>
                      </a:cubicBezTo>
                      <a:cubicBezTo>
                        <a:pt x="96" y="31"/>
                        <a:pt x="104" y="30"/>
                        <a:pt x="104" y="37"/>
                      </a:cubicBezTo>
                      <a:cubicBezTo>
                        <a:pt x="104" y="39"/>
                        <a:pt x="102" y="41"/>
                        <a:pt x="101" y="43"/>
                      </a:cubicBezTo>
                      <a:cubicBezTo>
                        <a:pt x="98" y="43"/>
                        <a:pt x="99" y="43"/>
                        <a:pt x="97" y="43"/>
                      </a:cubicBezTo>
                      <a:cubicBezTo>
                        <a:pt x="96" y="43"/>
                        <a:pt x="93" y="42"/>
                        <a:pt x="92" y="41"/>
                      </a:cubicBezTo>
                      <a:cubicBezTo>
                        <a:pt x="85" y="46"/>
                        <a:pt x="88" y="49"/>
                        <a:pt x="85" y="56"/>
                      </a:cubicBezTo>
                      <a:cubicBezTo>
                        <a:pt x="84" y="57"/>
                        <a:pt x="81" y="64"/>
                        <a:pt x="81" y="64"/>
                      </a:cubicBezTo>
                      <a:cubicBezTo>
                        <a:pt x="80" y="66"/>
                        <a:pt x="80" y="64"/>
                        <a:pt x="78" y="67"/>
                      </a:cubicBezTo>
                      <a:cubicBezTo>
                        <a:pt x="77" y="70"/>
                        <a:pt x="78" y="68"/>
                        <a:pt x="76" y="70"/>
                      </a:cubicBezTo>
                      <a:cubicBezTo>
                        <a:pt x="74" y="67"/>
                        <a:pt x="72" y="66"/>
                        <a:pt x="72" y="62"/>
                      </a:cubicBezTo>
                      <a:cubicBezTo>
                        <a:pt x="72" y="61"/>
                        <a:pt x="75" y="55"/>
                        <a:pt x="76" y="54"/>
                      </a:cubicBezTo>
                      <a:cubicBezTo>
                        <a:pt x="75" y="51"/>
                        <a:pt x="75" y="48"/>
                        <a:pt x="72" y="48"/>
                      </a:cubicBezTo>
                      <a:cubicBezTo>
                        <a:pt x="71" y="48"/>
                        <a:pt x="70" y="49"/>
                        <a:pt x="70" y="49"/>
                      </a:cubicBezTo>
                      <a:cubicBezTo>
                        <a:pt x="70" y="55"/>
                        <a:pt x="67" y="55"/>
                        <a:pt x="63" y="57"/>
                      </a:cubicBezTo>
                      <a:cubicBezTo>
                        <a:pt x="62" y="56"/>
                        <a:pt x="60" y="55"/>
                        <a:pt x="59" y="55"/>
                      </a:cubicBezTo>
                      <a:cubicBezTo>
                        <a:pt x="58" y="55"/>
                        <a:pt x="56" y="57"/>
                        <a:pt x="56" y="57"/>
                      </a:cubicBezTo>
                      <a:cubicBezTo>
                        <a:pt x="58" y="60"/>
                        <a:pt x="59" y="60"/>
                        <a:pt x="61" y="64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1" y="67"/>
                        <a:pt x="61" y="67"/>
                        <a:pt x="61" y="67"/>
                      </a:cubicBezTo>
                      <a:cubicBezTo>
                        <a:pt x="59" y="70"/>
                        <a:pt x="59" y="70"/>
                        <a:pt x="59" y="70"/>
                      </a:cubicBezTo>
                      <a:cubicBezTo>
                        <a:pt x="60" y="71"/>
                        <a:pt x="58" y="71"/>
                        <a:pt x="61" y="71"/>
                      </a:cubicBezTo>
                      <a:cubicBezTo>
                        <a:pt x="64" y="71"/>
                        <a:pt x="66" y="72"/>
                        <a:pt x="68" y="74"/>
                      </a:cubicBezTo>
                      <a:cubicBezTo>
                        <a:pt x="68" y="75"/>
                        <a:pt x="68" y="75"/>
                        <a:pt x="68" y="75"/>
                      </a:cubicBezTo>
                      <a:cubicBezTo>
                        <a:pt x="68" y="78"/>
                        <a:pt x="68" y="78"/>
                        <a:pt x="68" y="78"/>
                      </a:cubicBezTo>
                      <a:cubicBezTo>
                        <a:pt x="68" y="82"/>
                        <a:pt x="58" y="85"/>
                        <a:pt x="55" y="86"/>
                      </a:cubicBezTo>
                      <a:cubicBezTo>
                        <a:pt x="50" y="88"/>
                        <a:pt x="44" y="91"/>
                        <a:pt x="40" y="92"/>
                      </a:cubicBezTo>
                      <a:cubicBezTo>
                        <a:pt x="36" y="94"/>
                        <a:pt x="35" y="94"/>
                        <a:pt x="32" y="96"/>
                      </a:cubicBezTo>
                      <a:cubicBezTo>
                        <a:pt x="29" y="97"/>
                        <a:pt x="27" y="97"/>
                        <a:pt x="24" y="99"/>
                      </a:cubicBezTo>
                      <a:cubicBezTo>
                        <a:pt x="20" y="101"/>
                        <a:pt x="13" y="104"/>
                        <a:pt x="9" y="104"/>
                      </a:cubicBezTo>
                      <a:cubicBezTo>
                        <a:pt x="3" y="105"/>
                        <a:pt x="3" y="105"/>
                        <a:pt x="3" y="105"/>
                      </a:cubicBezTo>
                      <a:cubicBezTo>
                        <a:pt x="1" y="105"/>
                        <a:pt x="1" y="106"/>
                        <a:pt x="0" y="107"/>
                      </a:cubicBezTo>
                      <a:cubicBezTo>
                        <a:pt x="0" y="108"/>
                        <a:pt x="0" y="111"/>
                        <a:pt x="2" y="112"/>
                      </a:cubicBezTo>
                      <a:cubicBezTo>
                        <a:pt x="4" y="114"/>
                        <a:pt x="3" y="114"/>
                        <a:pt x="5" y="115"/>
                      </a:cubicBezTo>
                      <a:cubicBezTo>
                        <a:pt x="6" y="116"/>
                        <a:pt x="12" y="119"/>
                        <a:pt x="14" y="120"/>
                      </a:cubicBezTo>
                      <a:cubicBezTo>
                        <a:pt x="15" y="119"/>
                        <a:pt x="15" y="119"/>
                        <a:pt x="17" y="119"/>
                      </a:cubicBezTo>
                      <a:cubicBezTo>
                        <a:pt x="20" y="119"/>
                        <a:pt x="30" y="110"/>
                        <a:pt x="32" y="108"/>
                      </a:cubicBezTo>
                      <a:cubicBezTo>
                        <a:pt x="36" y="104"/>
                        <a:pt x="42" y="101"/>
                        <a:pt x="47" y="98"/>
                      </a:cubicBezTo>
                      <a:cubicBezTo>
                        <a:pt x="50" y="96"/>
                        <a:pt x="52" y="95"/>
                        <a:pt x="55" y="93"/>
                      </a:cubicBezTo>
                      <a:cubicBezTo>
                        <a:pt x="57" y="92"/>
                        <a:pt x="58" y="92"/>
                        <a:pt x="59" y="91"/>
                      </a:cubicBezTo>
                      <a:cubicBezTo>
                        <a:pt x="61" y="90"/>
                        <a:pt x="61" y="90"/>
                        <a:pt x="63" y="89"/>
                      </a:cubicBezTo>
                      <a:cubicBezTo>
                        <a:pt x="68" y="87"/>
                        <a:pt x="74" y="80"/>
                        <a:pt x="79" y="80"/>
                      </a:cubicBezTo>
                      <a:cubicBezTo>
                        <a:pt x="81" y="80"/>
                        <a:pt x="82" y="82"/>
                        <a:pt x="82" y="83"/>
                      </a:cubicBezTo>
                      <a:cubicBezTo>
                        <a:pt x="82" y="85"/>
                        <a:pt x="82" y="85"/>
                        <a:pt x="82" y="85"/>
                      </a:cubicBezTo>
                      <a:cubicBezTo>
                        <a:pt x="82" y="86"/>
                        <a:pt x="82" y="86"/>
                        <a:pt x="82" y="86"/>
                      </a:cubicBezTo>
                      <a:cubicBezTo>
                        <a:pt x="80" y="90"/>
                        <a:pt x="79" y="89"/>
                        <a:pt x="78" y="93"/>
                      </a:cubicBezTo>
                      <a:cubicBezTo>
                        <a:pt x="75" y="94"/>
                        <a:pt x="75" y="94"/>
                        <a:pt x="74" y="97"/>
                      </a:cubicBezTo>
                      <a:cubicBezTo>
                        <a:pt x="69" y="98"/>
                        <a:pt x="71" y="99"/>
                        <a:pt x="67" y="101"/>
                      </a:cubicBezTo>
                      <a:cubicBezTo>
                        <a:pt x="63" y="103"/>
                        <a:pt x="63" y="103"/>
                        <a:pt x="61" y="107"/>
                      </a:cubicBezTo>
                      <a:cubicBezTo>
                        <a:pt x="61" y="110"/>
                        <a:pt x="64" y="114"/>
                        <a:pt x="64" y="117"/>
                      </a:cubicBezTo>
                      <a:cubicBezTo>
                        <a:pt x="64" y="118"/>
                        <a:pt x="64" y="118"/>
                        <a:pt x="64" y="118"/>
                      </a:cubicBezTo>
                      <a:cubicBezTo>
                        <a:pt x="64" y="119"/>
                        <a:pt x="64" y="119"/>
                        <a:pt x="64" y="119"/>
                      </a:cubicBezTo>
                      <a:cubicBezTo>
                        <a:pt x="61" y="123"/>
                        <a:pt x="60" y="125"/>
                        <a:pt x="55" y="126"/>
                      </a:cubicBezTo>
                      <a:cubicBezTo>
                        <a:pt x="51" y="127"/>
                        <a:pt x="43" y="129"/>
                        <a:pt x="41" y="129"/>
                      </a:cubicBezTo>
                      <a:cubicBezTo>
                        <a:pt x="40" y="129"/>
                        <a:pt x="40" y="129"/>
                        <a:pt x="40" y="129"/>
                      </a:cubicBezTo>
                      <a:cubicBezTo>
                        <a:pt x="32" y="130"/>
                        <a:pt x="32" y="130"/>
                        <a:pt x="32" y="130"/>
                      </a:cubicBezTo>
                      <a:cubicBezTo>
                        <a:pt x="30" y="130"/>
                        <a:pt x="30" y="130"/>
                        <a:pt x="30" y="130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30" y="136"/>
                        <a:pt x="30" y="138"/>
                        <a:pt x="35" y="141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38" y="141"/>
                        <a:pt x="38" y="141"/>
                        <a:pt x="38" y="141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3" y="138"/>
                        <a:pt x="51" y="133"/>
                        <a:pt x="56" y="133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62" y="133"/>
                        <a:pt x="63" y="137"/>
                        <a:pt x="63" y="141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3" y="150"/>
                        <a:pt x="60" y="152"/>
                        <a:pt x="56" y="154"/>
                      </a:cubicBezTo>
                      <a:cubicBezTo>
                        <a:pt x="55" y="154"/>
                        <a:pt x="55" y="154"/>
                        <a:pt x="55" y="154"/>
                      </a:cubicBezTo>
                      <a:cubicBezTo>
                        <a:pt x="53" y="154"/>
                        <a:pt x="53" y="154"/>
                        <a:pt x="53" y="154"/>
                      </a:cubicBezTo>
                      <a:cubicBezTo>
                        <a:pt x="52" y="154"/>
                        <a:pt x="52" y="154"/>
                        <a:pt x="51" y="153"/>
                      </a:cubicBezTo>
                      <a:cubicBezTo>
                        <a:pt x="50" y="154"/>
                        <a:pt x="50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7" y="155"/>
                        <a:pt x="46" y="155"/>
                        <a:pt x="46" y="156"/>
                      </a:cubicBezTo>
                      <a:cubicBezTo>
                        <a:pt x="46" y="158"/>
                        <a:pt x="53" y="165"/>
                        <a:pt x="55" y="166"/>
                      </a:cubicBezTo>
                      <a:cubicBezTo>
                        <a:pt x="56" y="166"/>
                        <a:pt x="56" y="166"/>
                        <a:pt x="56" y="166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6" y="166"/>
                        <a:pt x="69" y="163"/>
                        <a:pt x="71" y="160"/>
                      </a:cubicBezTo>
                      <a:cubicBezTo>
                        <a:pt x="74" y="155"/>
                        <a:pt x="74" y="151"/>
                        <a:pt x="76" y="148"/>
                      </a:cubicBezTo>
                      <a:cubicBezTo>
                        <a:pt x="75" y="146"/>
                        <a:pt x="75" y="148"/>
                        <a:pt x="75" y="146"/>
                      </a:cubicBezTo>
                      <a:cubicBezTo>
                        <a:pt x="75" y="138"/>
                        <a:pt x="75" y="138"/>
                        <a:pt x="75" y="138"/>
                      </a:cubicBezTo>
                      <a:cubicBezTo>
                        <a:pt x="75" y="130"/>
                        <a:pt x="74" y="128"/>
                        <a:pt x="80" y="124"/>
                      </a:cubicBezTo>
                      <a:cubicBezTo>
                        <a:pt x="81" y="124"/>
                        <a:pt x="81" y="124"/>
                        <a:pt x="81" y="124"/>
                      </a:cubicBezTo>
                      <a:cubicBezTo>
                        <a:pt x="90" y="124"/>
                        <a:pt x="90" y="127"/>
                        <a:pt x="94" y="120"/>
                      </a:cubicBezTo>
                      <a:cubicBezTo>
                        <a:pt x="92" y="117"/>
                        <a:pt x="91" y="116"/>
                        <a:pt x="88" y="115"/>
                      </a:cubicBezTo>
                      <a:cubicBezTo>
                        <a:pt x="86" y="116"/>
                        <a:pt x="84" y="117"/>
                        <a:pt x="81" y="117"/>
                      </a:cubicBezTo>
                      <a:cubicBezTo>
                        <a:pt x="79" y="117"/>
                        <a:pt x="79" y="117"/>
                        <a:pt x="79" y="117"/>
                      </a:cubicBezTo>
                      <a:cubicBezTo>
                        <a:pt x="77" y="116"/>
                        <a:pt x="72" y="109"/>
                        <a:pt x="72" y="107"/>
                      </a:cubicBezTo>
                      <a:cubicBezTo>
                        <a:pt x="72" y="105"/>
                        <a:pt x="72" y="105"/>
                        <a:pt x="72" y="105"/>
                      </a:cubicBezTo>
                      <a:cubicBezTo>
                        <a:pt x="72" y="99"/>
                        <a:pt x="75" y="100"/>
                        <a:pt x="78" y="96"/>
                      </a:cubicBezTo>
                      <a:cubicBezTo>
                        <a:pt x="80" y="96"/>
                        <a:pt x="80" y="96"/>
                        <a:pt x="80" y="96"/>
                      </a:cubicBezTo>
                      <a:cubicBezTo>
                        <a:pt x="82" y="93"/>
                        <a:pt x="89" y="90"/>
                        <a:pt x="92" y="89"/>
                      </a:cubicBezTo>
                      <a:cubicBezTo>
                        <a:pt x="95" y="87"/>
                        <a:pt x="101" y="83"/>
                        <a:pt x="101" y="80"/>
                      </a:cubicBezTo>
                      <a:cubicBezTo>
                        <a:pt x="101" y="77"/>
                        <a:pt x="101" y="79"/>
                        <a:pt x="102" y="78"/>
                      </a:cubicBezTo>
                      <a:cubicBezTo>
                        <a:pt x="101" y="77"/>
                        <a:pt x="101" y="79"/>
                        <a:pt x="101" y="77"/>
                      </a:cubicBezTo>
                      <a:cubicBezTo>
                        <a:pt x="101" y="73"/>
                        <a:pt x="96" y="64"/>
                        <a:pt x="95" y="61"/>
                      </a:cubicBezTo>
                      <a:cubicBezTo>
                        <a:pt x="95" y="61"/>
                        <a:pt x="101" y="55"/>
                        <a:pt x="102" y="55"/>
                      </a:cubicBezTo>
                      <a:cubicBezTo>
                        <a:pt x="104" y="52"/>
                        <a:pt x="106" y="51"/>
                        <a:pt x="109" y="48"/>
                      </a:cubicBezTo>
                      <a:cubicBezTo>
                        <a:pt x="110" y="47"/>
                        <a:pt x="112" y="46"/>
                        <a:pt x="113" y="45"/>
                      </a:cubicBezTo>
                      <a:cubicBezTo>
                        <a:pt x="114" y="44"/>
                        <a:pt x="115" y="43"/>
                        <a:pt x="116" y="42"/>
                      </a:cubicBezTo>
                      <a:cubicBezTo>
                        <a:pt x="118" y="39"/>
                        <a:pt x="118" y="35"/>
                        <a:pt x="121" y="34"/>
                      </a:cubicBezTo>
                      <a:cubicBezTo>
                        <a:pt x="121" y="32"/>
                        <a:pt x="121" y="32"/>
                        <a:pt x="121" y="32"/>
                      </a:cubicBezTo>
                      <a:cubicBezTo>
                        <a:pt x="121" y="27"/>
                        <a:pt x="123" y="30"/>
                        <a:pt x="120" y="24"/>
                      </a:cubicBezTo>
                      <a:cubicBezTo>
                        <a:pt x="118" y="20"/>
                        <a:pt x="118" y="20"/>
                        <a:pt x="116" y="17"/>
                      </a:cubicBezTo>
                      <a:cubicBezTo>
                        <a:pt x="113" y="17"/>
                        <a:pt x="113" y="17"/>
                        <a:pt x="113" y="17"/>
                      </a:cubicBezTo>
                      <a:cubicBezTo>
                        <a:pt x="111" y="17"/>
                        <a:pt x="105" y="19"/>
                        <a:pt x="104" y="20"/>
                      </a:cubicBezTo>
                      <a:cubicBezTo>
                        <a:pt x="101" y="23"/>
                        <a:pt x="102" y="23"/>
                        <a:pt x="96" y="24"/>
                      </a:cubicBezTo>
                      <a:lnTo>
                        <a:pt x="93" y="2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1" name="ïSľíďè">
                  <a:extLst>
                    <a:ext uri="{FF2B5EF4-FFF2-40B4-BE49-F238E27FC236}">
                      <a16:creationId xmlns:a16="http://schemas.microsoft.com/office/drawing/2014/main" id="{000BC2C1-0885-43C8-BAD5-FF21035FC9F1}"/>
                    </a:ext>
                  </a:extLst>
                </p:cNvPr>
                <p:cNvSpPr/>
                <p:nvPr/>
              </p:nvSpPr>
              <p:spPr bwMode="auto">
                <a:xfrm>
                  <a:off x="5159376" y="3357563"/>
                  <a:ext cx="117475" cy="366713"/>
                </a:xfrm>
                <a:custGeom>
                  <a:avLst/>
                  <a:gdLst>
                    <a:gd name="T0" fmla="*/ 23 w 36"/>
                    <a:gd name="T1" fmla="*/ 14 h 110"/>
                    <a:gd name="T2" fmla="*/ 23 w 36"/>
                    <a:gd name="T3" fmla="*/ 12 h 110"/>
                    <a:gd name="T4" fmla="*/ 18 w 36"/>
                    <a:gd name="T5" fmla="*/ 6 h 110"/>
                    <a:gd name="T6" fmla="*/ 13 w 36"/>
                    <a:gd name="T7" fmla="*/ 0 h 110"/>
                    <a:gd name="T8" fmla="*/ 11 w 36"/>
                    <a:gd name="T9" fmla="*/ 4 h 110"/>
                    <a:gd name="T10" fmla="*/ 13 w 36"/>
                    <a:gd name="T11" fmla="*/ 16 h 110"/>
                    <a:gd name="T12" fmla="*/ 12 w 36"/>
                    <a:gd name="T13" fmla="*/ 34 h 110"/>
                    <a:gd name="T14" fmla="*/ 7 w 36"/>
                    <a:gd name="T15" fmla="*/ 65 h 110"/>
                    <a:gd name="T16" fmla="*/ 3 w 36"/>
                    <a:gd name="T17" fmla="*/ 80 h 110"/>
                    <a:gd name="T18" fmla="*/ 0 w 36"/>
                    <a:gd name="T19" fmla="*/ 95 h 110"/>
                    <a:gd name="T20" fmla="*/ 0 w 36"/>
                    <a:gd name="T21" fmla="*/ 98 h 110"/>
                    <a:gd name="T22" fmla="*/ 0 w 36"/>
                    <a:gd name="T23" fmla="*/ 100 h 110"/>
                    <a:gd name="T24" fmla="*/ 4 w 36"/>
                    <a:gd name="T25" fmla="*/ 105 h 110"/>
                    <a:gd name="T26" fmla="*/ 9 w 36"/>
                    <a:gd name="T27" fmla="*/ 110 h 110"/>
                    <a:gd name="T28" fmla="*/ 15 w 36"/>
                    <a:gd name="T29" fmla="*/ 104 h 110"/>
                    <a:gd name="T30" fmla="*/ 18 w 36"/>
                    <a:gd name="T31" fmla="*/ 96 h 110"/>
                    <a:gd name="T32" fmla="*/ 18 w 36"/>
                    <a:gd name="T33" fmla="*/ 90 h 110"/>
                    <a:gd name="T34" fmla="*/ 21 w 36"/>
                    <a:gd name="T35" fmla="*/ 71 h 110"/>
                    <a:gd name="T36" fmla="*/ 25 w 36"/>
                    <a:gd name="T37" fmla="*/ 53 h 110"/>
                    <a:gd name="T38" fmla="*/ 30 w 36"/>
                    <a:gd name="T39" fmla="*/ 36 h 110"/>
                    <a:gd name="T40" fmla="*/ 35 w 36"/>
                    <a:gd name="T41" fmla="*/ 20 h 110"/>
                    <a:gd name="T42" fmla="*/ 33 w 36"/>
                    <a:gd name="T43" fmla="*/ 20 h 110"/>
                    <a:gd name="T44" fmla="*/ 30 w 36"/>
                    <a:gd name="T45" fmla="*/ 22 h 110"/>
                    <a:gd name="T46" fmla="*/ 23 w 36"/>
                    <a:gd name="T47" fmla="*/ 17 h 110"/>
                    <a:gd name="T48" fmla="*/ 23 w 36"/>
                    <a:gd name="T49" fmla="*/ 15 h 110"/>
                    <a:gd name="T50" fmla="*/ 23 w 36"/>
                    <a:gd name="T51" fmla="*/ 1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6" h="110">
                      <a:moveTo>
                        <a:pt x="23" y="14"/>
                      </a:move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1" y="8"/>
                        <a:pt x="22" y="9"/>
                        <a:pt x="18" y="6"/>
                      </a:cubicBezTo>
                      <a:cubicBezTo>
                        <a:pt x="17" y="4"/>
                        <a:pt x="15" y="2"/>
                        <a:pt x="13" y="0"/>
                      </a:cubicBezTo>
                      <a:cubicBezTo>
                        <a:pt x="12" y="1"/>
                        <a:pt x="11" y="3"/>
                        <a:pt x="11" y="4"/>
                      </a:cubicBezTo>
                      <a:cubicBezTo>
                        <a:pt x="11" y="7"/>
                        <a:pt x="13" y="12"/>
                        <a:pt x="13" y="16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2" y="43"/>
                        <a:pt x="9" y="56"/>
                        <a:pt x="7" y="65"/>
                      </a:cubicBezTo>
                      <a:cubicBezTo>
                        <a:pt x="6" y="72"/>
                        <a:pt x="4" y="75"/>
                        <a:pt x="3" y="80"/>
                      </a:cubicBezTo>
                      <a:cubicBezTo>
                        <a:pt x="2" y="85"/>
                        <a:pt x="0" y="91"/>
                        <a:pt x="0" y="95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2" y="102"/>
                        <a:pt x="2" y="103"/>
                        <a:pt x="4" y="105"/>
                      </a:cubicBezTo>
                      <a:cubicBezTo>
                        <a:pt x="6" y="108"/>
                        <a:pt x="7" y="108"/>
                        <a:pt x="9" y="110"/>
                      </a:cubicBezTo>
                      <a:cubicBezTo>
                        <a:pt x="12" y="108"/>
                        <a:pt x="13" y="108"/>
                        <a:pt x="15" y="104"/>
                      </a:cubicBezTo>
                      <a:cubicBezTo>
                        <a:pt x="16" y="102"/>
                        <a:pt x="18" y="99"/>
                        <a:pt x="18" y="96"/>
                      </a:cubicBezTo>
                      <a:cubicBezTo>
                        <a:pt x="18" y="90"/>
                        <a:pt x="18" y="90"/>
                        <a:pt x="18" y="90"/>
                      </a:cubicBezTo>
                      <a:cubicBezTo>
                        <a:pt x="18" y="83"/>
                        <a:pt x="20" y="77"/>
                        <a:pt x="21" y="71"/>
                      </a:cubicBezTo>
                      <a:cubicBezTo>
                        <a:pt x="23" y="65"/>
                        <a:pt x="23" y="59"/>
                        <a:pt x="25" y="53"/>
                      </a:cubicBezTo>
                      <a:cubicBezTo>
                        <a:pt x="26" y="47"/>
                        <a:pt x="29" y="42"/>
                        <a:pt x="30" y="36"/>
                      </a:cubicBezTo>
                      <a:cubicBezTo>
                        <a:pt x="31" y="28"/>
                        <a:pt x="34" y="27"/>
                        <a:pt x="35" y="20"/>
                      </a:cubicBezTo>
                      <a:cubicBezTo>
                        <a:pt x="34" y="19"/>
                        <a:pt x="36" y="20"/>
                        <a:pt x="33" y="20"/>
                      </a:cubicBezTo>
                      <a:cubicBezTo>
                        <a:pt x="33" y="20"/>
                        <a:pt x="30" y="22"/>
                        <a:pt x="30" y="22"/>
                      </a:cubicBezTo>
                      <a:cubicBezTo>
                        <a:pt x="25" y="21"/>
                        <a:pt x="25" y="21"/>
                        <a:pt x="23" y="17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lnTo>
                        <a:pt x="23" y="14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5" name="ïṥliḓe">
                <a:extLst>
                  <a:ext uri="{FF2B5EF4-FFF2-40B4-BE49-F238E27FC236}">
                    <a16:creationId xmlns:a16="http://schemas.microsoft.com/office/drawing/2014/main" id="{CAB43554-091E-44D1-9362-8AE877302FD3}"/>
                  </a:ext>
                </a:extLst>
              </p:cNvPr>
              <p:cNvGrpSpPr/>
              <p:nvPr/>
            </p:nvGrpSpPr>
            <p:grpSpPr>
              <a:xfrm>
                <a:off x="4412452" y="3781425"/>
                <a:ext cx="2312689" cy="166461"/>
                <a:chOff x="6986588" y="3521075"/>
                <a:chExt cx="1654176" cy="119063"/>
              </a:xfrm>
            </p:grpSpPr>
            <p:sp>
              <p:nvSpPr>
                <p:cNvPr id="16" name="ïśļïdê">
                  <a:extLst>
                    <a:ext uri="{FF2B5EF4-FFF2-40B4-BE49-F238E27FC236}">
                      <a16:creationId xmlns:a16="http://schemas.microsoft.com/office/drawing/2014/main" id="{6B7B414A-DCD1-415E-9D59-1623FDC38881}"/>
                    </a:ext>
                  </a:extLst>
                </p:cNvPr>
                <p:cNvSpPr/>
                <p:nvPr/>
              </p:nvSpPr>
              <p:spPr bwMode="auto">
                <a:xfrm>
                  <a:off x="6986588" y="3521075"/>
                  <a:ext cx="155575" cy="119063"/>
                </a:xfrm>
                <a:custGeom>
                  <a:avLst/>
                  <a:gdLst>
                    <a:gd name="T0" fmla="*/ 84 w 98"/>
                    <a:gd name="T1" fmla="*/ 0 h 75"/>
                    <a:gd name="T2" fmla="*/ 59 w 98"/>
                    <a:gd name="T3" fmla="*/ 52 h 75"/>
                    <a:gd name="T4" fmla="*/ 57 w 98"/>
                    <a:gd name="T5" fmla="*/ 0 h 75"/>
                    <a:gd name="T6" fmla="*/ 40 w 98"/>
                    <a:gd name="T7" fmla="*/ 0 h 75"/>
                    <a:gd name="T8" fmla="*/ 15 w 98"/>
                    <a:gd name="T9" fmla="*/ 52 h 75"/>
                    <a:gd name="T10" fmla="*/ 15 w 98"/>
                    <a:gd name="T11" fmla="*/ 0 h 75"/>
                    <a:gd name="T12" fmla="*/ 0 w 98"/>
                    <a:gd name="T13" fmla="*/ 0 h 75"/>
                    <a:gd name="T14" fmla="*/ 2 w 98"/>
                    <a:gd name="T15" fmla="*/ 75 h 75"/>
                    <a:gd name="T16" fmla="*/ 19 w 98"/>
                    <a:gd name="T17" fmla="*/ 75 h 75"/>
                    <a:gd name="T18" fmla="*/ 44 w 98"/>
                    <a:gd name="T19" fmla="*/ 21 h 75"/>
                    <a:gd name="T20" fmla="*/ 46 w 98"/>
                    <a:gd name="T21" fmla="*/ 75 h 75"/>
                    <a:gd name="T22" fmla="*/ 63 w 98"/>
                    <a:gd name="T23" fmla="*/ 75 h 75"/>
                    <a:gd name="T24" fmla="*/ 98 w 98"/>
                    <a:gd name="T25" fmla="*/ 0 h 75"/>
                    <a:gd name="T26" fmla="*/ 84 w 98"/>
                    <a:gd name="T2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8" h="75">
                      <a:moveTo>
                        <a:pt x="84" y="0"/>
                      </a:moveTo>
                      <a:lnTo>
                        <a:pt x="59" y="52"/>
                      </a:lnTo>
                      <a:lnTo>
                        <a:pt x="57" y="0"/>
                      </a:lnTo>
                      <a:lnTo>
                        <a:pt x="40" y="0"/>
                      </a:lnTo>
                      <a:lnTo>
                        <a:pt x="15" y="52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2" y="75"/>
                      </a:lnTo>
                      <a:lnTo>
                        <a:pt x="19" y="75"/>
                      </a:lnTo>
                      <a:lnTo>
                        <a:pt x="44" y="21"/>
                      </a:lnTo>
                      <a:lnTo>
                        <a:pt x="46" y="75"/>
                      </a:lnTo>
                      <a:lnTo>
                        <a:pt x="63" y="75"/>
                      </a:lnTo>
                      <a:lnTo>
                        <a:pt x="98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7" name="îṥľïḍè">
                  <a:extLst>
                    <a:ext uri="{FF2B5EF4-FFF2-40B4-BE49-F238E27FC236}">
                      <a16:creationId xmlns:a16="http://schemas.microsoft.com/office/drawing/2014/main" id="{9EBFC57E-2D58-4181-8D91-7980E0CD9997}"/>
                    </a:ext>
                  </a:extLst>
                </p:cNvPr>
                <p:cNvSpPr/>
                <p:nvPr/>
              </p:nvSpPr>
              <p:spPr bwMode="auto">
                <a:xfrm>
                  <a:off x="7135813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8" name="iṡḷíḍé">
                  <a:extLst>
                    <a:ext uri="{FF2B5EF4-FFF2-40B4-BE49-F238E27FC236}">
                      <a16:creationId xmlns:a16="http://schemas.microsoft.com/office/drawing/2014/main" id="{CE1AE350-ED1A-478F-9893-E786A39B5D53}"/>
                    </a:ext>
                  </a:extLst>
                </p:cNvPr>
                <p:cNvSpPr/>
                <p:nvPr/>
              </p:nvSpPr>
              <p:spPr bwMode="auto">
                <a:xfrm>
                  <a:off x="7248526" y="3521075"/>
                  <a:ext cx="114300" cy="119063"/>
                </a:xfrm>
                <a:custGeom>
                  <a:avLst/>
                  <a:gdLst>
                    <a:gd name="T0" fmla="*/ 58 w 72"/>
                    <a:gd name="T1" fmla="*/ 0 h 75"/>
                    <a:gd name="T2" fmla="*/ 52 w 72"/>
                    <a:gd name="T3" fmla="*/ 29 h 75"/>
                    <a:gd name="T4" fmla="*/ 22 w 72"/>
                    <a:gd name="T5" fmla="*/ 29 h 75"/>
                    <a:gd name="T6" fmla="*/ 29 w 72"/>
                    <a:gd name="T7" fmla="*/ 0 h 75"/>
                    <a:gd name="T8" fmla="*/ 14 w 72"/>
                    <a:gd name="T9" fmla="*/ 0 h 75"/>
                    <a:gd name="T10" fmla="*/ 0 w 72"/>
                    <a:gd name="T11" fmla="*/ 75 h 75"/>
                    <a:gd name="T12" fmla="*/ 14 w 72"/>
                    <a:gd name="T13" fmla="*/ 75 h 75"/>
                    <a:gd name="T14" fmla="*/ 20 w 72"/>
                    <a:gd name="T15" fmla="*/ 42 h 75"/>
                    <a:gd name="T16" fmla="*/ 50 w 72"/>
                    <a:gd name="T17" fmla="*/ 42 h 75"/>
                    <a:gd name="T18" fmla="*/ 43 w 72"/>
                    <a:gd name="T19" fmla="*/ 75 h 75"/>
                    <a:gd name="T20" fmla="*/ 58 w 72"/>
                    <a:gd name="T21" fmla="*/ 75 h 75"/>
                    <a:gd name="T22" fmla="*/ 72 w 72"/>
                    <a:gd name="T23" fmla="*/ 0 h 75"/>
                    <a:gd name="T24" fmla="*/ 58 w 72"/>
                    <a:gd name="T2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75">
                      <a:moveTo>
                        <a:pt x="58" y="0"/>
                      </a:moveTo>
                      <a:lnTo>
                        <a:pt x="52" y="29"/>
                      </a:lnTo>
                      <a:lnTo>
                        <a:pt x="22" y="29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lnTo>
                        <a:pt x="14" y="75"/>
                      </a:lnTo>
                      <a:lnTo>
                        <a:pt x="20" y="42"/>
                      </a:lnTo>
                      <a:lnTo>
                        <a:pt x="50" y="42"/>
                      </a:lnTo>
                      <a:lnTo>
                        <a:pt x="43" y="75"/>
                      </a:lnTo>
                      <a:lnTo>
                        <a:pt x="58" y="75"/>
                      </a:lnTo>
                      <a:lnTo>
                        <a:pt x="72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9" name="išḻíḑè">
                  <a:extLst>
                    <a:ext uri="{FF2B5EF4-FFF2-40B4-BE49-F238E27FC236}">
                      <a16:creationId xmlns:a16="http://schemas.microsoft.com/office/drawing/2014/main" id="{FCDEE1A0-C4DC-438E-A89B-5239AD71010A}"/>
                    </a:ext>
                  </a:extLst>
                </p:cNvPr>
                <p:cNvSpPr/>
                <p:nvPr/>
              </p:nvSpPr>
              <p:spPr bwMode="auto">
                <a:xfrm>
                  <a:off x="7356476" y="3521075"/>
                  <a:ext cx="112713" cy="119063"/>
                </a:xfrm>
                <a:custGeom>
                  <a:avLst/>
                  <a:gdLst>
                    <a:gd name="T0" fmla="*/ 42 w 71"/>
                    <a:gd name="T1" fmla="*/ 0 h 75"/>
                    <a:gd name="T2" fmla="*/ 0 w 71"/>
                    <a:gd name="T3" fmla="*/ 75 h 75"/>
                    <a:gd name="T4" fmla="*/ 15 w 71"/>
                    <a:gd name="T5" fmla="*/ 75 h 75"/>
                    <a:gd name="T6" fmla="*/ 23 w 71"/>
                    <a:gd name="T7" fmla="*/ 59 h 75"/>
                    <a:gd name="T8" fmla="*/ 54 w 71"/>
                    <a:gd name="T9" fmla="*/ 59 h 75"/>
                    <a:gd name="T10" fmla="*/ 56 w 71"/>
                    <a:gd name="T11" fmla="*/ 75 h 75"/>
                    <a:gd name="T12" fmla="*/ 71 w 71"/>
                    <a:gd name="T13" fmla="*/ 75 h 75"/>
                    <a:gd name="T14" fmla="*/ 58 w 71"/>
                    <a:gd name="T15" fmla="*/ 0 h 75"/>
                    <a:gd name="T16" fmla="*/ 42 w 71"/>
                    <a:gd name="T17" fmla="*/ 0 h 75"/>
                    <a:gd name="T18" fmla="*/ 29 w 71"/>
                    <a:gd name="T19" fmla="*/ 46 h 75"/>
                    <a:gd name="T20" fmla="*/ 48 w 71"/>
                    <a:gd name="T21" fmla="*/ 17 h 75"/>
                    <a:gd name="T22" fmla="*/ 52 w 71"/>
                    <a:gd name="T23" fmla="*/ 46 h 75"/>
                    <a:gd name="T24" fmla="*/ 29 w 71"/>
                    <a:gd name="T25" fmla="*/ 4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1" h="75">
                      <a:moveTo>
                        <a:pt x="42" y="0"/>
                      </a:move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3" y="59"/>
                      </a:lnTo>
                      <a:lnTo>
                        <a:pt x="54" y="59"/>
                      </a:lnTo>
                      <a:lnTo>
                        <a:pt x="56" y="75"/>
                      </a:lnTo>
                      <a:lnTo>
                        <a:pt x="71" y="75"/>
                      </a:lnTo>
                      <a:lnTo>
                        <a:pt x="58" y="0"/>
                      </a:lnTo>
                      <a:lnTo>
                        <a:pt x="42" y="0"/>
                      </a:lnTo>
                      <a:close/>
                      <a:moveTo>
                        <a:pt x="29" y="46"/>
                      </a:moveTo>
                      <a:lnTo>
                        <a:pt x="48" y="17"/>
                      </a:lnTo>
                      <a:lnTo>
                        <a:pt x="52" y="46"/>
                      </a:lnTo>
                      <a:lnTo>
                        <a:pt x="29" y="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0" name="işḷíḋê">
                  <a:extLst>
                    <a:ext uri="{FF2B5EF4-FFF2-40B4-BE49-F238E27FC236}">
                      <a16:creationId xmlns:a16="http://schemas.microsoft.com/office/drawing/2014/main" id="{43E2D6E4-0795-4AE3-863A-7F4450EFAA85}"/>
                    </a:ext>
                  </a:extLst>
                </p:cNvPr>
                <p:cNvSpPr/>
                <p:nvPr/>
              </p:nvSpPr>
              <p:spPr bwMode="auto">
                <a:xfrm>
                  <a:off x="7481888" y="3521075"/>
                  <a:ext cx="119063" cy="119063"/>
                </a:xfrm>
                <a:custGeom>
                  <a:avLst/>
                  <a:gdLst>
                    <a:gd name="T0" fmla="*/ 50 w 75"/>
                    <a:gd name="T1" fmla="*/ 50 h 75"/>
                    <a:gd name="T2" fmla="*/ 31 w 75"/>
                    <a:gd name="T3" fmla="*/ 0 h 75"/>
                    <a:gd name="T4" fmla="*/ 17 w 75"/>
                    <a:gd name="T5" fmla="*/ 0 h 75"/>
                    <a:gd name="T6" fmla="*/ 0 w 75"/>
                    <a:gd name="T7" fmla="*/ 75 h 75"/>
                    <a:gd name="T8" fmla="*/ 15 w 75"/>
                    <a:gd name="T9" fmla="*/ 75 h 75"/>
                    <a:gd name="T10" fmla="*/ 25 w 75"/>
                    <a:gd name="T11" fmla="*/ 25 h 75"/>
                    <a:gd name="T12" fmla="*/ 46 w 75"/>
                    <a:gd name="T13" fmla="*/ 75 h 75"/>
                    <a:gd name="T14" fmla="*/ 58 w 75"/>
                    <a:gd name="T15" fmla="*/ 75 h 75"/>
                    <a:gd name="T16" fmla="*/ 75 w 75"/>
                    <a:gd name="T17" fmla="*/ 0 h 75"/>
                    <a:gd name="T18" fmla="*/ 61 w 75"/>
                    <a:gd name="T19" fmla="*/ 0 h 75"/>
                    <a:gd name="T20" fmla="*/ 50 w 75"/>
                    <a:gd name="T21" fmla="*/ 5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5" h="75">
                      <a:moveTo>
                        <a:pt x="50" y="50"/>
                      </a:moveTo>
                      <a:lnTo>
                        <a:pt x="31" y="0"/>
                      </a:lnTo>
                      <a:lnTo>
                        <a:pt x="17" y="0"/>
                      </a:ln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5" y="25"/>
                      </a:lnTo>
                      <a:lnTo>
                        <a:pt x="46" y="75"/>
                      </a:lnTo>
                      <a:lnTo>
                        <a:pt x="58" y="75"/>
                      </a:lnTo>
                      <a:lnTo>
                        <a:pt x="75" y="0"/>
                      </a:lnTo>
                      <a:lnTo>
                        <a:pt x="61" y="0"/>
                      </a:lnTo>
                      <a:lnTo>
                        <a:pt x="50" y="5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" name="ïsļîďè">
                  <a:extLst>
                    <a:ext uri="{FF2B5EF4-FFF2-40B4-BE49-F238E27FC236}">
                      <a16:creationId xmlns:a16="http://schemas.microsoft.com/office/drawing/2014/main" id="{D371D295-9797-4BC5-9032-BAC24767FCE3}"/>
                    </a:ext>
                  </a:extLst>
                </p:cNvPr>
                <p:cNvSpPr/>
                <p:nvPr/>
              </p:nvSpPr>
              <p:spPr bwMode="auto">
                <a:xfrm>
                  <a:off x="7653338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" name="ïšlídè">
                  <a:extLst>
                    <a:ext uri="{FF2B5EF4-FFF2-40B4-BE49-F238E27FC236}">
                      <a16:creationId xmlns:a16="http://schemas.microsoft.com/office/drawing/2014/main" id="{E60566A1-D4E2-448A-B354-8788E79427CE}"/>
                    </a:ext>
                  </a:extLst>
                </p:cNvPr>
                <p:cNvSpPr/>
                <p:nvPr/>
              </p:nvSpPr>
              <p:spPr bwMode="auto">
                <a:xfrm>
                  <a:off x="7766051" y="3521075"/>
                  <a:ext cx="115888" cy="119063"/>
                </a:xfrm>
                <a:custGeom>
                  <a:avLst/>
                  <a:gdLst>
                    <a:gd name="T0" fmla="*/ 58 w 73"/>
                    <a:gd name="T1" fmla="*/ 0 h 75"/>
                    <a:gd name="T2" fmla="*/ 50 w 73"/>
                    <a:gd name="T3" fmla="*/ 50 h 75"/>
                    <a:gd name="T4" fmla="*/ 29 w 73"/>
                    <a:gd name="T5" fmla="*/ 0 h 75"/>
                    <a:gd name="T6" fmla="*/ 15 w 73"/>
                    <a:gd name="T7" fmla="*/ 0 h 75"/>
                    <a:gd name="T8" fmla="*/ 0 w 73"/>
                    <a:gd name="T9" fmla="*/ 75 h 75"/>
                    <a:gd name="T10" fmla="*/ 13 w 73"/>
                    <a:gd name="T11" fmla="*/ 75 h 75"/>
                    <a:gd name="T12" fmla="*/ 23 w 73"/>
                    <a:gd name="T13" fmla="*/ 25 h 75"/>
                    <a:gd name="T14" fmla="*/ 44 w 73"/>
                    <a:gd name="T15" fmla="*/ 75 h 75"/>
                    <a:gd name="T16" fmla="*/ 58 w 73"/>
                    <a:gd name="T17" fmla="*/ 75 h 75"/>
                    <a:gd name="T18" fmla="*/ 73 w 73"/>
                    <a:gd name="T19" fmla="*/ 0 h 75"/>
                    <a:gd name="T20" fmla="*/ 58 w 73"/>
                    <a:gd name="T2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3" h="75">
                      <a:moveTo>
                        <a:pt x="58" y="0"/>
                      </a:moveTo>
                      <a:lnTo>
                        <a:pt x="50" y="50"/>
                      </a:lnTo>
                      <a:lnTo>
                        <a:pt x="29" y="0"/>
                      </a:lnTo>
                      <a:lnTo>
                        <a:pt x="15" y="0"/>
                      </a:lnTo>
                      <a:lnTo>
                        <a:pt x="0" y="75"/>
                      </a:lnTo>
                      <a:lnTo>
                        <a:pt x="13" y="75"/>
                      </a:lnTo>
                      <a:lnTo>
                        <a:pt x="23" y="25"/>
                      </a:lnTo>
                      <a:lnTo>
                        <a:pt x="44" y="75"/>
                      </a:lnTo>
                      <a:lnTo>
                        <a:pt x="58" y="75"/>
                      </a:lnTo>
                      <a:lnTo>
                        <a:pt x="73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" name="ísḻïḍé">
                  <a:extLst>
                    <a:ext uri="{FF2B5EF4-FFF2-40B4-BE49-F238E27FC236}">
                      <a16:creationId xmlns:a16="http://schemas.microsoft.com/office/drawing/2014/main" id="{2594A040-39E7-4364-9316-B2B722F0C99A}"/>
                    </a:ext>
                  </a:extLst>
                </p:cNvPr>
                <p:cNvSpPr/>
                <p:nvPr/>
              </p:nvSpPr>
              <p:spPr bwMode="auto">
                <a:xfrm>
                  <a:off x="7881938" y="3521075"/>
                  <a:ext cx="49213" cy="119063"/>
                </a:xfrm>
                <a:custGeom>
                  <a:avLst/>
                  <a:gdLst>
                    <a:gd name="T0" fmla="*/ 0 w 31"/>
                    <a:gd name="T1" fmla="*/ 75 h 75"/>
                    <a:gd name="T2" fmla="*/ 14 w 31"/>
                    <a:gd name="T3" fmla="*/ 75 h 75"/>
                    <a:gd name="T4" fmla="*/ 31 w 31"/>
                    <a:gd name="T5" fmla="*/ 0 h 75"/>
                    <a:gd name="T6" fmla="*/ 14 w 31"/>
                    <a:gd name="T7" fmla="*/ 0 h 75"/>
                    <a:gd name="T8" fmla="*/ 0 w 31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31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" name="îṣļïḋe">
                  <a:extLst>
                    <a:ext uri="{FF2B5EF4-FFF2-40B4-BE49-F238E27FC236}">
                      <a16:creationId xmlns:a16="http://schemas.microsoft.com/office/drawing/2014/main" id="{9D5B8DFC-85C2-48C3-82F0-64446E332036}"/>
                    </a:ext>
                  </a:extLst>
                </p:cNvPr>
                <p:cNvSpPr/>
                <p:nvPr/>
              </p:nvSpPr>
              <p:spPr bwMode="auto">
                <a:xfrm>
                  <a:off x="7940676" y="3521075"/>
                  <a:ext cx="109538" cy="119063"/>
                </a:xfrm>
                <a:custGeom>
                  <a:avLst/>
                  <a:gdLst>
                    <a:gd name="T0" fmla="*/ 54 w 69"/>
                    <a:gd name="T1" fmla="*/ 0 h 75"/>
                    <a:gd name="T2" fmla="*/ 23 w 69"/>
                    <a:gd name="T3" fmla="*/ 57 h 75"/>
                    <a:gd name="T4" fmla="*/ 15 w 69"/>
                    <a:gd name="T5" fmla="*/ 0 h 75"/>
                    <a:gd name="T6" fmla="*/ 0 w 69"/>
                    <a:gd name="T7" fmla="*/ 0 h 75"/>
                    <a:gd name="T8" fmla="*/ 13 w 69"/>
                    <a:gd name="T9" fmla="*/ 75 h 75"/>
                    <a:gd name="T10" fmla="*/ 29 w 69"/>
                    <a:gd name="T11" fmla="*/ 75 h 75"/>
                    <a:gd name="T12" fmla="*/ 69 w 69"/>
                    <a:gd name="T13" fmla="*/ 0 h 75"/>
                    <a:gd name="T14" fmla="*/ 54 w 69"/>
                    <a:gd name="T1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" h="75">
                      <a:moveTo>
                        <a:pt x="54" y="0"/>
                      </a:moveTo>
                      <a:lnTo>
                        <a:pt x="23" y="57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13" y="75"/>
                      </a:lnTo>
                      <a:lnTo>
                        <a:pt x="29" y="75"/>
                      </a:lnTo>
                      <a:lnTo>
                        <a:pt x="69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5" name="íṥļiḓe">
                  <a:extLst>
                    <a:ext uri="{FF2B5EF4-FFF2-40B4-BE49-F238E27FC236}">
                      <a16:creationId xmlns:a16="http://schemas.microsoft.com/office/drawing/2014/main" id="{0509DBE7-FA71-4D85-84C2-68ABF3F9BA76}"/>
                    </a:ext>
                  </a:extLst>
                </p:cNvPr>
                <p:cNvSpPr/>
                <p:nvPr/>
              </p:nvSpPr>
              <p:spPr bwMode="auto">
                <a:xfrm>
                  <a:off x="8037513" y="3521075"/>
                  <a:ext cx="111125" cy="119063"/>
                </a:xfrm>
                <a:custGeom>
                  <a:avLst/>
                  <a:gdLst>
                    <a:gd name="T0" fmla="*/ 68 w 70"/>
                    <a:gd name="T1" fmla="*/ 12 h 75"/>
                    <a:gd name="T2" fmla="*/ 70 w 70"/>
                    <a:gd name="T3" fmla="*/ 0 h 75"/>
                    <a:gd name="T4" fmla="*/ 16 w 70"/>
                    <a:gd name="T5" fmla="*/ 0 h 75"/>
                    <a:gd name="T6" fmla="*/ 0 w 70"/>
                    <a:gd name="T7" fmla="*/ 75 h 75"/>
                    <a:gd name="T8" fmla="*/ 58 w 70"/>
                    <a:gd name="T9" fmla="*/ 75 h 75"/>
                    <a:gd name="T10" fmla="*/ 60 w 70"/>
                    <a:gd name="T11" fmla="*/ 63 h 75"/>
                    <a:gd name="T12" fmla="*/ 16 w 70"/>
                    <a:gd name="T13" fmla="*/ 63 h 75"/>
                    <a:gd name="T14" fmla="*/ 22 w 70"/>
                    <a:gd name="T15" fmla="*/ 42 h 75"/>
                    <a:gd name="T16" fmla="*/ 60 w 70"/>
                    <a:gd name="T17" fmla="*/ 42 h 75"/>
                    <a:gd name="T18" fmla="*/ 62 w 70"/>
                    <a:gd name="T19" fmla="*/ 29 h 75"/>
                    <a:gd name="T20" fmla="*/ 24 w 70"/>
                    <a:gd name="T21" fmla="*/ 29 h 75"/>
                    <a:gd name="T22" fmla="*/ 29 w 70"/>
                    <a:gd name="T23" fmla="*/ 12 h 75"/>
                    <a:gd name="T24" fmla="*/ 68 w 70"/>
                    <a:gd name="T25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0" h="75">
                      <a:moveTo>
                        <a:pt x="68" y="12"/>
                      </a:moveTo>
                      <a:lnTo>
                        <a:pt x="70" y="0"/>
                      </a:lnTo>
                      <a:lnTo>
                        <a:pt x="16" y="0"/>
                      </a:lnTo>
                      <a:lnTo>
                        <a:pt x="0" y="75"/>
                      </a:lnTo>
                      <a:lnTo>
                        <a:pt x="58" y="75"/>
                      </a:lnTo>
                      <a:lnTo>
                        <a:pt x="60" y="63"/>
                      </a:lnTo>
                      <a:lnTo>
                        <a:pt x="16" y="63"/>
                      </a:lnTo>
                      <a:lnTo>
                        <a:pt x="22" y="42"/>
                      </a:lnTo>
                      <a:lnTo>
                        <a:pt x="60" y="42"/>
                      </a:lnTo>
                      <a:lnTo>
                        <a:pt x="62" y="29"/>
                      </a:lnTo>
                      <a:lnTo>
                        <a:pt x="24" y="29"/>
                      </a:lnTo>
                      <a:lnTo>
                        <a:pt x="29" y="12"/>
                      </a:lnTo>
                      <a:lnTo>
                        <a:pt x="68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6" name="i$lîḋè">
                  <a:extLst>
                    <a:ext uri="{FF2B5EF4-FFF2-40B4-BE49-F238E27FC236}">
                      <a16:creationId xmlns:a16="http://schemas.microsoft.com/office/drawing/2014/main" id="{00334667-1217-480F-818F-F0D7EA1E4FCC}"/>
                    </a:ext>
                  </a:extLst>
                </p:cNvPr>
                <p:cNvSpPr/>
                <p:nvPr/>
              </p:nvSpPr>
              <p:spPr bwMode="auto">
                <a:xfrm>
                  <a:off x="8145463" y="3521075"/>
                  <a:ext cx="115888" cy="119063"/>
                </a:xfrm>
                <a:custGeom>
                  <a:avLst/>
                  <a:gdLst>
                    <a:gd name="T0" fmla="*/ 30 w 35"/>
                    <a:gd name="T1" fmla="*/ 1 h 36"/>
                    <a:gd name="T2" fmla="*/ 24 w 35"/>
                    <a:gd name="T3" fmla="*/ 0 h 36"/>
                    <a:gd name="T4" fmla="*/ 8 w 35"/>
                    <a:gd name="T5" fmla="*/ 0 h 36"/>
                    <a:gd name="T6" fmla="*/ 0 w 35"/>
                    <a:gd name="T7" fmla="*/ 36 h 36"/>
                    <a:gd name="T8" fmla="*/ 8 w 35"/>
                    <a:gd name="T9" fmla="*/ 36 h 36"/>
                    <a:gd name="T10" fmla="*/ 11 w 35"/>
                    <a:gd name="T11" fmla="*/ 21 h 36"/>
                    <a:gd name="T12" fmla="*/ 14 w 35"/>
                    <a:gd name="T13" fmla="*/ 21 h 36"/>
                    <a:gd name="T14" fmla="*/ 17 w 35"/>
                    <a:gd name="T15" fmla="*/ 22 h 36"/>
                    <a:gd name="T16" fmla="*/ 21 w 35"/>
                    <a:gd name="T17" fmla="*/ 26 h 36"/>
                    <a:gd name="T18" fmla="*/ 24 w 35"/>
                    <a:gd name="T19" fmla="*/ 36 h 36"/>
                    <a:gd name="T20" fmla="*/ 32 w 35"/>
                    <a:gd name="T21" fmla="*/ 36 h 36"/>
                    <a:gd name="T22" fmla="*/ 27 w 35"/>
                    <a:gd name="T23" fmla="*/ 24 h 36"/>
                    <a:gd name="T24" fmla="*/ 24 w 35"/>
                    <a:gd name="T25" fmla="*/ 21 h 36"/>
                    <a:gd name="T26" fmla="*/ 32 w 35"/>
                    <a:gd name="T27" fmla="*/ 17 h 36"/>
                    <a:gd name="T28" fmla="*/ 35 w 35"/>
                    <a:gd name="T29" fmla="*/ 9 h 36"/>
                    <a:gd name="T30" fmla="*/ 34 w 35"/>
                    <a:gd name="T31" fmla="*/ 4 h 36"/>
                    <a:gd name="T32" fmla="*/ 30 w 35"/>
                    <a:gd name="T33" fmla="*/ 1 h 36"/>
                    <a:gd name="T34" fmla="*/ 27 w 35"/>
                    <a:gd name="T35" fmla="*/ 13 h 36"/>
                    <a:gd name="T36" fmla="*/ 24 w 35"/>
                    <a:gd name="T37" fmla="*/ 15 h 36"/>
                    <a:gd name="T38" fmla="*/ 16 w 35"/>
                    <a:gd name="T39" fmla="*/ 16 h 36"/>
                    <a:gd name="T40" fmla="*/ 12 w 35"/>
                    <a:gd name="T41" fmla="*/ 16 h 36"/>
                    <a:gd name="T42" fmla="*/ 14 w 35"/>
                    <a:gd name="T43" fmla="*/ 6 h 36"/>
                    <a:gd name="T44" fmla="*/ 22 w 35"/>
                    <a:gd name="T45" fmla="*/ 6 h 36"/>
                    <a:gd name="T46" fmla="*/ 26 w 35"/>
                    <a:gd name="T47" fmla="*/ 7 h 36"/>
                    <a:gd name="T48" fmla="*/ 28 w 35"/>
                    <a:gd name="T49" fmla="*/ 10 h 36"/>
                    <a:gd name="T50" fmla="*/ 27 w 35"/>
                    <a:gd name="T51" fmla="*/ 1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5" h="36">
                      <a:moveTo>
                        <a:pt x="30" y="1"/>
                      </a:move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1"/>
                        <a:pt x="17" y="21"/>
                        <a:pt x="17" y="22"/>
                      </a:cubicBezTo>
                      <a:cubicBezTo>
                        <a:pt x="18" y="22"/>
                        <a:pt x="20" y="24"/>
                        <a:pt x="21" y="26"/>
                      </a:cubicBezTo>
                      <a:cubicBezTo>
                        <a:pt x="22" y="31"/>
                        <a:pt x="24" y="34"/>
                        <a:pt x="24" y="36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1"/>
                        <a:pt x="28" y="27"/>
                        <a:pt x="27" y="24"/>
                      </a:cubicBezTo>
                      <a:cubicBezTo>
                        <a:pt x="26" y="23"/>
                        <a:pt x="25" y="21"/>
                        <a:pt x="24" y="21"/>
                      </a:cubicBezTo>
                      <a:cubicBezTo>
                        <a:pt x="28" y="20"/>
                        <a:pt x="30" y="19"/>
                        <a:pt x="32" y="17"/>
                      </a:cubicBezTo>
                      <a:cubicBezTo>
                        <a:pt x="34" y="15"/>
                        <a:pt x="35" y="13"/>
                        <a:pt x="35" y="9"/>
                      </a:cubicBezTo>
                      <a:cubicBezTo>
                        <a:pt x="35" y="7"/>
                        <a:pt x="34" y="6"/>
                        <a:pt x="34" y="4"/>
                      </a:cubicBezTo>
                      <a:cubicBezTo>
                        <a:pt x="33" y="3"/>
                        <a:pt x="31" y="2"/>
                        <a:pt x="30" y="1"/>
                      </a:cubicBezTo>
                      <a:close/>
                      <a:moveTo>
                        <a:pt x="27" y="13"/>
                      </a:moveTo>
                      <a:cubicBezTo>
                        <a:pt x="26" y="14"/>
                        <a:pt x="25" y="14"/>
                        <a:pt x="24" y="15"/>
                      </a:cubicBezTo>
                      <a:cubicBezTo>
                        <a:pt x="22" y="15"/>
                        <a:pt x="20" y="16"/>
                        <a:pt x="16" y="16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24" y="6"/>
                        <a:pt x="25" y="6"/>
                        <a:pt x="26" y="7"/>
                      </a:cubicBezTo>
                      <a:cubicBezTo>
                        <a:pt x="27" y="7"/>
                        <a:pt x="28" y="8"/>
                        <a:pt x="28" y="10"/>
                      </a:cubicBezTo>
                      <a:cubicBezTo>
                        <a:pt x="28" y="11"/>
                        <a:pt x="27" y="12"/>
                        <a:pt x="27" y="13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7" name="îṥľíḍè">
                  <a:extLst>
                    <a:ext uri="{FF2B5EF4-FFF2-40B4-BE49-F238E27FC236}">
                      <a16:creationId xmlns:a16="http://schemas.microsoft.com/office/drawing/2014/main" id="{E1A75399-C02B-47A6-AA4E-B64C079696B2}"/>
                    </a:ext>
                  </a:extLst>
                </p:cNvPr>
                <p:cNvSpPr/>
                <p:nvPr/>
              </p:nvSpPr>
              <p:spPr bwMode="auto">
                <a:xfrm>
                  <a:off x="8267701" y="3521075"/>
                  <a:ext cx="98425" cy="119063"/>
                </a:xfrm>
                <a:custGeom>
                  <a:avLst/>
                  <a:gdLst>
                    <a:gd name="T0" fmla="*/ 17 w 30"/>
                    <a:gd name="T1" fmla="*/ 5 h 36"/>
                    <a:gd name="T2" fmla="*/ 22 w 30"/>
                    <a:gd name="T3" fmla="*/ 7 h 36"/>
                    <a:gd name="T4" fmla="*/ 23 w 30"/>
                    <a:gd name="T5" fmla="*/ 11 h 36"/>
                    <a:gd name="T6" fmla="*/ 30 w 30"/>
                    <a:gd name="T7" fmla="*/ 10 h 36"/>
                    <a:gd name="T8" fmla="*/ 27 w 30"/>
                    <a:gd name="T9" fmla="*/ 3 h 36"/>
                    <a:gd name="T10" fmla="*/ 17 w 30"/>
                    <a:gd name="T11" fmla="*/ 0 h 36"/>
                    <a:gd name="T12" fmla="*/ 8 w 30"/>
                    <a:gd name="T13" fmla="*/ 3 h 36"/>
                    <a:gd name="T14" fmla="*/ 4 w 30"/>
                    <a:gd name="T15" fmla="*/ 10 h 36"/>
                    <a:gd name="T16" fmla="*/ 6 w 30"/>
                    <a:gd name="T17" fmla="*/ 14 h 36"/>
                    <a:gd name="T18" fmla="*/ 8 w 30"/>
                    <a:gd name="T19" fmla="*/ 18 h 36"/>
                    <a:gd name="T20" fmla="*/ 15 w 30"/>
                    <a:gd name="T21" fmla="*/ 21 h 36"/>
                    <a:gd name="T22" fmla="*/ 20 w 30"/>
                    <a:gd name="T23" fmla="*/ 23 h 36"/>
                    <a:gd name="T24" fmla="*/ 21 w 30"/>
                    <a:gd name="T25" fmla="*/ 26 h 36"/>
                    <a:gd name="T26" fmla="*/ 19 w 30"/>
                    <a:gd name="T27" fmla="*/ 29 h 36"/>
                    <a:gd name="T28" fmla="*/ 14 w 30"/>
                    <a:gd name="T29" fmla="*/ 30 h 36"/>
                    <a:gd name="T30" fmla="*/ 8 w 30"/>
                    <a:gd name="T31" fmla="*/ 28 h 36"/>
                    <a:gd name="T32" fmla="*/ 7 w 30"/>
                    <a:gd name="T33" fmla="*/ 24 h 36"/>
                    <a:gd name="T34" fmla="*/ 0 w 30"/>
                    <a:gd name="T35" fmla="*/ 24 h 36"/>
                    <a:gd name="T36" fmla="*/ 1 w 30"/>
                    <a:gd name="T37" fmla="*/ 30 h 36"/>
                    <a:gd name="T38" fmla="*/ 6 w 30"/>
                    <a:gd name="T39" fmla="*/ 35 h 36"/>
                    <a:gd name="T40" fmla="*/ 14 w 30"/>
                    <a:gd name="T41" fmla="*/ 36 h 36"/>
                    <a:gd name="T42" fmla="*/ 24 w 30"/>
                    <a:gd name="T43" fmla="*/ 33 h 36"/>
                    <a:gd name="T44" fmla="*/ 28 w 30"/>
                    <a:gd name="T45" fmla="*/ 25 h 36"/>
                    <a:gd name="T46" fmla="*/ 26 w 30"/>
                    <a:gd name="T47" fmla="*/ 19 h 36"/>
                    <a:gd name="T48" fmla="*/ 18 w 30"/>
                    <a:gd name="T49" fmla="*/ 14 h 36"/>
                    <a:gd name="T50" fmla="*/ 13 w 30"/>
                    <a:gd name="T51" fmla="*/ 12 h 36"/>
                    <a:gd name="T52" fmla="*/ 11 w 30"/>
                    <a:gd name="T53" fmla="*/ 9 h 36"/>
                    <a:gd name="T54" fmla="*/ 13 w 30"/>
                    <a:gd name="T55" fmla="*/ 6 h 36"/>
                    <a:gd name="T56" fmla="*/ 17 w 30"/>
                    <a:gd name="T57" fmla="*/ 5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0" h="36">
                      <a:moveTo>
                        <a:pt x="17" y="5"/>
                      </a:moveTo>
                      <a:cubicBezTo>
                        <a:pt x="19" y="5"/>
                        <a:pt x="21" y="6"/>
                        <a:pt x="22" y="7"/>
                      </a:cubicBezTo>
                      <a:cubicBezTo>
                        <a:pt x="23" y="8"/>
                        <a:pt x="23" y="9"/>
                        <a:pt x="23" y="11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7"/>
                        <a:pt x="29" y="4"/>
                        <a:pt x="27" y="3"/>
                      </a:cubicBezTo>
                      <a:cubicBezTo>
                        <a:pt x="24" y="1"/>
                        <a:pt x="21" y="0"/>
                        <a:pt x="17" y="0"/>
                      </a:cubicBezTo>
                      <a:cubicBezTo>
                        <a:pt x="13" y="0"/>
                        <a:pt x="10" y="1"/>
                        <a:pt x="8" y="3"/>
                      </a:cubicBezTo>
                      <a:cubicBezTo>
                        <a:pt x="5" y="5"/>
                        <a:pt x="4" y="7"/>
                        <a:pt x="4" y="10"/>
                      </a:cubicBezTo>
                      <a:cubicBezTo>
                        <a:pt x="4" y="12"/>
                        <a:pt x="5" y="13"/>
                        <a:pt x="6" y="14"/>
                      </a:cubicBezTo>
                      <a:cubicBezTo>
                        <a:pt x="6" y="16"/>
                        <a:pt x="7" y="17"/>
                        <a:pt x="8" y="18"/>
                      </a:cubicBezTo>
                      <a:cubicBezTo>
                        <a:pt x="10" y="18"/>
                        <a:pt x="12" y="19"/>
                        <a:pt x="15" y="21"/>
                      </a:cubicBezTo>
                      <a:cubicBezTo>
                        <a:pt x="17" y="22"/>
                        <a:pt x="19" y="23"/>
                        <a:pt x="20" y="23"/>
                      </a:cubicBezTo>
                      <a:cubicBezTo>
                        <a:pt x="20" y="24"/>
                        <a:pt x="21" y="25"/>
                        <a:pt x="21" y="26"/>
                      </a:cubicBezTo>
                      <a:cubicBezTo>
                        <a:pt x="21" y="27"/>
                        <a:pt x="20" y="28"/>
                        <a:pt x="19" y="29"/>
                      </a:cubicBezTo>
                      <a:cubicBezTo>
                        <a:pt x="18" y="30"/>
                        <a:pt x="16" y="30"/>
                        <a:pt x="14" y="30"/>
                      </a:cubicBezTo>
                      <a:cubicBezTo>
                        <a:pt x="11" y="30"/>
                        <a:pt x="9" y="30"/>
                        <a:pt x="8" y="28"/>
                      </a:cubicBezTo>
                      <a:cubicBezTo>
                        <a:pt x="8" y="28"/>
                        <a:pt x="7" y="26"/>
                        <a:pt x="7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7"/>
                        <a:pt x="0" y="29"/>
                        <a:pt x="1" y="30"/>
                      </a:cubicBezTo>
                      <a:cubicBezTo>
                        <a:pt x="2" y="32"/>
                        <a:pt x="4" y="34"/>
                        <a:pt x="6" y="35"/>
                      </a:cubicBezTo>
                      <a:cubicBezTo>
                        <a:pt x="8" y="36"/>
                        <a:pt x="11" y="36"/>
                        <a:pt x="14" y="36"/>
                      </a:cubicBezTo>
                      <a:cubicBezTo>
                        <a:pt x="18" y="36"/>
                        <a:pt x="22" y="35"/>
                        <a:pt x="24" y="33"/>
                      </a:cubicBezTo>
                      <a:cubicBezTo>
                        <a:pt x="27" y="31"/>
                        <a:pt x="28" y="28"/>
                        <a:pt x="28" y="25"/>
                      </a:cubicBezTo>
                      <a:cubicBezTo>
                        <a:pt x="28" y="22"/>
                        <a:pt x="27" y="20"/>
                        <a:pt x="26" y="19"/>
                      </a:cubicBezTo>
                      <a:cubicBezTo>
                        <a:pt x="25" y="18"/>
                        <a:pt x="22" y="16"/>
                        <a:pt x="18" y="14"/>
                      </a:cubicBezTo>
                      <a:cubicBezTo>
                        <a:pt x="15" y="13"/>
                        <a:pt x="13" y="12"/>
                        <a:pt x="13" y="12"/>
                      </a:cubicBezTo>
                      <a:cubicBezTo>
                        <a:pt x="12" y="11"/>
                        <a:pt x="11" y="10"/>
                        <a:pt x="11" y="9"/>
                      </a:cubicBezTo>
                      <a:cubicBezTo>
                        <a:pt x="11" y="8"/>
                        <a:pt x="12" y="7"/>
                        <a:pt x="13" y="6"/>
                      </a:cubicBezTo>
                      <a:cubicBezTo>
                        <a:pt x="14" y="6"/>
                        <a:pt x="15" y="5"/>
                        <a:pt x="17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8" name="íṣḷídé">
                  <a:extLst>
                    <a:ext uri="{FF2B5EF4-FFF2-40B4-BE49-F238E27FC236}">
                      <a16:creationId xmlns:a16="http://schemas.microsoft.com/office/drawing/2014/main" id="{C0230A78-7EA6-4D1D-8B73-A5A373603ABF}"/>
                    </a:ext>
                  </a:extLst>
                </p:cNvPr>
                <p:cNvSpPr/>
                <p:nvPr/>
              </p:nvSpPr>
              <p:spPr bwMode="auto">
                <a:xfrm>
                  <a:off x="8374063" y="3521075"/>
                  <a:ext cx="46038" cy="119063"/>
                </a:xfrm>
                <a:custGeom>
                  <a:avLst/>
                  <a:gdLst>
                    <a:gd name="T0" fmla="*/ 0 w 29"/>
                    <a:gd name="T1" fmla="*/ 75 h 75"/>
                    <a:gd name="T2" fmla="*/ 14 w 29"/>
                    <a:gd name="T3" fmla="*/ 75 h 75"/>
                    <a:gd name="T4" fmla="*/ 29 w 29"/>
                    <a:gd name="T5" fmla="*/ 0 h 75"/>
                    <a:gd name="T6" fmla="*/ 14 w 29"/>
                    <a:gd name="T7" fmla="*/ 0 h 75"/>
                    <a:gd name="T8" fmla="*/ 0 w 29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9" name="íśļiḑé">
                  <a:extLst>
                    <a:ext uri="{FF2B5EF4-FFF2-40B4-BE49-F238E27FC236}">
                      <a16:creationId xmlns:a16="http://schemas.microsoft.com/office/drawing/2014/main" id="{642C8260-2ADF-430E-931C-566EDA6D03EE}"/>
                    </a:ext>
                  </a:extLst>
                </p:cNvPr>
                <p:cNvSpPr/>
                <p:nvPr/>
              </p:nvSpPr>
              <p:spPr bwMode="auto">
                <a:xfrm>
                  <a:off x="8432801" y="3521075"/>
                  <a:ext cx="95250" cy="119063"/>
                </a:xfrm>
                <a:custGeom>
                  <a:avLst/>
                  <a:gdLst>
                    <a:gd name="T0" fmla="*/ 0 w 60"/>
                    <a:gd name="T1" fmla="*/ 12 h 75"/>
                    <a:gd name="T2" fmla="*/ 21 w 60"/>
                    <a:gd name="T3" fmla="*/ 12 h 75"/>
                    <a:gd name="T4" fmla="*/ 8 w 60"/>
                    <a:gd name="T5" fmla="*/ 75 h 75"/>
                    <a:gd name="T6" fmla="*/ 23 w 60"/>
                    <a:gd name="T7" fmla="*/ 75 h 75"/>
                    <a:gd name="T8" fmla="*/ 35 w 60"/>
                    <a:gd name="T9" fmla="*/ 12 h 75"/>
                    <a:gd name="T10" fmla="*/ 58 w 60"/>
                    <a:gd name="T11" fmla="*/ 12 h 75"/>
                    <a:gd name="T12" fmla="*/ 60 w 60"/>
                    <a:gd name="T13" fmla="*/ 0 h 75"/>
                    <a:gd name="T14" fmla="*/ 2 w 60"/>
                    <a:gd name="T15" fmla="*/ 0 h 75"/>
                    <a:gd name="T16" fmla="*/ 0 w 60"/>
                    <a:gd name="T17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75">
                      <a:moveTo>
                        <a:pt x="0" y="12"/>
                      </a:moveTo>
                      <a:lnTo>
                        <a:pt x="21" y="12"/>
                      </a:lnTo>
                      <a:lnTo>
                        <a:pt x="8" y="75"/>
                      </a:lnTo>
                      <a:lnTo>
                        <a:pt x="23" y="75"/>
                      </a:lnTo>
                      <a:lnTo>
                        <a:pt x="35" y="12"/>
                      </a:lnTo>
                      <a:lnTo>
                        <a:pt x="58" y="12"/>
                      </a:lnTo>
                      <a:lnTo>
                        <a:pt x="60" y="0"/>
                      </a:lnTo>
                      <a:lnTo>
                        <a:pt x="2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0" name="işḻîdè">
                  <a:extLst>
                    <a:ext uri="{FF2B5EF4-FFF2-40B4-BE49-F238E27FC236}">
                      <a16:creationId xmlns:a16="http://schemas.microsoft.com/office/drawing/2014/main" id="{300B2B1E-D9D4-4E2A-9DC7-DD644A63F38C}"/>
                    </a:ext>
                  </a:extLst>
                </p:cNvPr>
                <p:cNvSpPr/>
                <p:nvPr/>
              </p:nvSpPr>
              <p:spPr bwMode="auto">
                <a:xfrm>
                  <a:off x="8531226" y="3521075"/>
                  <a:ext cx="109538" cy="119063"/>
                </a:xfrm>
                <a:custGeom>
                  <a:avLst/>
                  <a:gdLst>
                    <a:gd name="T0" fmla="*/ 25 w 33"/>
                    <a:gd name="T1" fmla="*/ 0 h 36"/>
                    <a:gd name="T2" fmla="*/ 19 w 33"/>
                    <a:gd name="T3" fmla="*/ 7 h 36"/>
                    <a:gd name="T4" fmla="*/ 16 w 33"/>
                    <a:gd name="T5" fmla="*/ 12 h 36"/>
                    <a:gd name="T6" fmla="*/ 14 w 33"/>
                    <a:gd name="T7" fmla="*/ 15 h 36"/>
                    <a:gd name="T8" fmla="*/ 12 w 33"/>
                    <a:gd name="T9" fmla="*/ 10 h 36"/>
                    <a:gd name="T10" fmla="*/ 8 w 33"/>
                    <a:gd name="T11" fmla="*/ 0 h 36"/>
                    <a:gd name="T12" fmla="*/ 0 w 33"/>
                    <a:gd name="T13" fmla="*/ 0 h 36"/>
                    <a:gd name="T14" fmla="*/ 10 w 33"/>
                    <a:gd name="T15" fmla="*/ 22 h 36"/>
                    <a:gd name="T16" fmla="*/ 7 w 33"/>
                    <a:gd name="T17" fmla="*/ 36 h 36"/>
                    <a:gd name="T18" fmla="*/ 14 w 33"/>
                    <a:gd name="T19" fmla="*/ 36 h 36"/>
                    <a:gd name="T20" fmla="*/ 17 w 33"/>
                    <a:gd name="T21" fmla="*/ 23 h 36"/>
                    <a:gd name="T22" fmla="*/ 33 w 33"/>
                    <a:gd name="T23" fmla="*/ 0 h 36"/>
                    <a:gd name="T24" fmla="*/ 25 w 33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36">
                      <a:moveTo>
                        <a:pt x="25" y="0"/>
                      </a:move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5" y="13"/>
                        <a:pt x="15" y="14"/>
                        <a:pt x="14" y="15"/>
                      </a:cubicBezTo>
                      <a:cubicBezTo>
                        <a:pt x="14" y="14"/>
                        <a:pt x="13" y="13"/>
                        <a:pt x="12" y="1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33" y="0"/>
                        <a:pt x="33" y="0"/>
                        <a:pt x="33" y="0"/>
                      </a:cubicBez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</p:grpSp>
      <p:cxnSp>
        <p:nvCxnSpPr>
          <p:cNvPr id="112" name="直接连接符 111">
            <a:extLst>
              <a:ext uri="{FF2B5EF4-FFF2-40B4-BE49-F238E27FC236}">
                <a16:creationId xmlns:a16="http://schemas.microsoft.com/office/drawing/2014/main" id="{5E3E3ABB-B8D2-4477-A523-1838F3CE5A1F}"/>
              </a:ext>
            </a:extLst>
          </p:cNvPr>
          <p:cNvCxnSpPr>
            <a:cxnSpLocks/>
          </p:cNvCxnSpPr>
          <p:nvPr userDrawn="1"/>
        </p:nvCxnSpPr>
        <p:spPr>
          <a:xfrm>
            <a:off x="4122057" y="4957052"/>
            <a:ext cx="714600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ïŝ1iḍê">
            <a:extLst>
              <a:ext uri="{FF2B5EF4-FFF2-40B4-BE49-F238E27FC236}">
                <a16:creationId xmlns:a16="http://schemas.microsoft.com/office/drawing/2014/main" id="{AC0D3A4C-243D-44FF-B2E6-E3794E52B4F5}"/>
              </a:ext>
            </a:extLst>
          </p:cNvPr>
          <p:cNvSpPr>
            <a:spLocks/>
          </p:cNvSpPr>
          <p:nvPr userDrawn="1"/>
        </p:nvSpPr>
        <p:spPr>
          <a:xfrm flipH="1">
            <a:off x="8499914" y="1148111"/>
            <a:ext cx="2774490" cy="1589287"/>
          </a:xfrm>
          <a:custGeom>
            <a:avLst/>
            <a:gdLst>
              <a:gd name="connsiteX0" fmla="*/ 0 w 3276004"/>
              <a:gd name="connsiteY0" fmla="*/ 0 h 1589287"/>
              <a:gd name="connsiteX1" fmla="*/ 3276004 w 3276004"/>
              <a:gd name="connsiteY1" fmla="*/ 0 h 1589287"/>
              <a:gd name="connsiteX2" fmla="*/ 3276004 w 3276004"/>
              <a:gd name="connsiteY2" fmla="*/ 1306286 h 1589287"/>
              <a:gd name="connsiteX3" fmla="*/ 2786741 w 3276004"/>
              <a:gd name="connsiteY3" fmla="*/ 1306286 h 1589287"/>
              <a:gd name="connsiteX4" fmla="*/ 2786741 w 3276004"/>
              <a:gd name="connsiteY4" fmla="*/ 1589287 h 1589287"/>
              <a:gd name="connsiteX5" fmla="*/ 2232059 w 3276004"/>
              <a:gd name="connsiteY5" fmla="*/ 1306286 h 1589287"/>
              <a:gd name="connsiteX6" fmla="*/ 0 w 3276004"/>
              <a:gd name="connsiteY6" fmla="*/ 1306286 h 1589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76004" h="1589287">
                <a:moveTo>
                  <a:pt x="0" y="0"/>
                </a:moveTo>
                <a:lnTo>
                  <a:pt x="3276004" y="0"/>
                </a:lnTo>
                <a:lnTo>
                  <a:pt x="3276004" y="1306286"/>
                </a:lnTo>
                <a:lnTo>
                  <a:pt x="2786741" y="1306286"/>
                </a:lnTo>
                <a:lnTo>
                  <a:pt x="2786741" y="1589287"/>
                </a:lnTo>
                <a:lnTo>
                  <a:pt x="2232059" y="1306286"/>
                </a:lnTo>
                <a:lnTo>
                  <a:pt x="0" y="1306286"/>
                </a:lnTo>
                <a:close/>
              </a:path>
            </a:pathLst>
          </a:custGeom>
          <a:solidFill>
            <a:srgbClr val="2A282B">
              <a:lumMod val="10000"/>
              <a:lumOff val="90000"/>
            </a:srgbClr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tIns="0" bIns="28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14" name="išḻîḋê">
            <a:extLst>
              <a:ext uri="{FF2B5EF4-FFF2-40B4-BE49-F238E27FC236}">
                <a16:creationId xmlns:a16="http://schemas.microsoft.com/office/drawing/2014/main" id="{8393979B-5288-42CB-AC51-C53A5AD6A3E4}"/>
              </a:ext>
            </a:extLst>
          </p:cNvPr>
          <p:cNvSpPr>
            <a:spLocks/>
          </p:cNvSpPr>
          <p:nvPr userDrawn="1"/>
        </p:nvSpPr>
        <p:spPr>
          <a:xfrm flipH="1">
            <a:off x="8214477" y="1485211"/>
            <a:ext cx="2774490" cy="1589287"/>
          </a:xfrm>
          <a:custGeom>
            <a:avLst/>
            <a:gdLst>
              <a:gd name="connsiteX0" fmla="*/ 0 w 3276004"/>
              <a:gd name="connsiteY0" fmla="*/ 0 h 1589287"/>
              <a:gd name="connsiteX1" fmla="*/ 3276004 w 3276004"/>
              <a:gd name="connsiteY1" fmla="*/ 0 h 1589287"/>
              <a:gd name="connsiteX2" fmla="*/ 3276004 w 3276004"/>
              <a:gd name="connsiteY2" fmla="*/ 1306286 h 1589287"/>
              <a:gd name="connsiteX3" fmla="*/ 2786741 w 3276004"/>
              <a:gd name="connsiteY3" fmla="*/ 1306286 h 1589287"/>
              <a:gd name="connsiteX4" fmla="*/ 2786741 w 3276004"/>
              <a:gd name="connsiteY4" fmla="*/ 1589287 h 1589287"/>
              <a:gd name="connsiteX5" fmla="*/ 2232059 w 3276004"/>
              <a:gd name="connsiteY5" fmla="*/ 1306286 h 1589287"/>
              <a:gd name="connsiteX6" fmla="*/ 0 w 3276004"/>
              <a:gd name="connsiteY6" fmla="*/ 1306286 h 1589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76004" h="1589287">
                <a:moveTo>
                  <a:pt x="0" y="0"/>
                </a:moveTo>
                <a:lnTo>
                  <a:pt x="3276004" y="0"/>
                </a:lnTo>
                <a:lnTo>
                  <a:pt x="3276004" y="1306286"/>
                </a:lnTo>
                <a:lnTo>
                  <a:pt x="2786741" y="1306286"/>
                </a:lnTo>
                <a:lnTo>
                  <a:pt x="2786741" y="1589287"/>
                </a:lnTo>
                <a:lnTo>
                  <a:pt x="2232059" y="1306286"/>
                </a:lnTo>
                <a:lnTo>
                  <a:pt x="0" y="1306286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tIns="0" bIns="28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94699" y="1754065"/>
            <a:ext cx="2429205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altLang="zh-CN" sz="1600" b="0" dirty="0">
                <a:solidFill>
                  <a:schemeClr val="bg1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94699" y="2152493"/>
            <a:ext cx="2429205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zh-CN" altLang="en-US" sz="1600" b="0" dirty="0">
                <a:solidFill>
                  <a:schemeClr val="bg1"/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FCA5B0BE-4584-47DD-8F0C-166415608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14000"/>
          </a:blip>
          <a:srcRect r="16558" b="17670"/>
          <a:stretch/>
        </p:blipFill>
        <p:spPr>
          <a:xfrm>
            <a:off x="1" y="3123"/>
            <a:ext cx="12191998" cy="6854877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3CEB6EFB-F737-4F4D-AE09-9B1A1511D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14000"/>
          </a:blip>
          <a:srcRect r="16558" b="17670"/>
          <a:stretch/>
        </p:blipFill>
        <p:spPr>
          <a:xfrm>
            <a:off x="1" y="3123"/>
            <a:ext cx="12191998" cy="6854877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818543CB-334F-4FD2-BFA9-B1A245A883B3}"/>
              </a:ext>
            </a:extLst>
          </p:cNvPr>
          <p:cNvGrpSpPr/>
          <p:nvPr userDrawn="1"/>
        </p:nvGrpSpPr>
        <p:grpSpPr>
          <a:xfrm rot="5400000">
            <a:off x="7772004" y="2682310"/>
            <a:ext cx="1930617" cy="6420764"/>
            <a:chOff x="139302" y="193746"/>
            <a:chExt cx="1930617" cy="6420764"/>
          </a:xfrm>
        </p:grpSpPr>
        <p:sp>
          <p:nvSpPr>
            <p:cNvPr id="8" name="iś1iḍé">
              <a:extLst>
                <a:ext uri="{FF2B5EF4-FFF2-40B4-BE49-F238E27FC236}">
                  <a16:creationId xmlns:a16="http://schemas.microsoft.com/office/drawing/2014/main" id="{8B487BE1-916A-4AE4-9446-8E9B4C3C5BF8}"/>
                </a:ext>
              </a:extLst>
            </p:cNvPr>
            <p:cNvSpPr/>
            <p:nvPr userDrawn="1"/>
          </p:nvSpPr>
          <p:spPr>
            <a:xfrm>
              <a:off x="139302" y="193746"/>
              <a:ext cx="1930617" cy="6420764"/>
            </a:xfrm>
            <a:custGeom>
              <a:avLst/>
              <a:gdLst/>
              <a:ahLst/>
              <a:cxnLst/>
              <a:rect l="l" t="t" r="r" b="b"/>
              <a:pathLst>
                <a:path w="1733973" h="5766774">
                  <a:moveTo>
                    <a:pt x="456363" y="5196320"/>
                  </a:moveTo>
                  <a:cubicBezTo>
                    <a:pt x="399489" y="5196320"/>
                    <a:pt x="362486" y="5205228"/>
                    <a:pt x="345356" y="5223044"/>
                  </a:cubicBezTo>
                  <a:cubicBezTo>
                    <a:pt x="328225" y="5240860"/>
                    <a:pt x="319660" y="5277862"/>
                    <a:pt x="319660" y="5334051"/>
                  </a:cubicBezTo>
                  <a:lnTo>
                    <a:pt x="743131" y="5334051"/>
                  </a:lnTo>
                  <a:cubicBezTo>
                    <a:pt x="743817" y="5321717"/>
                    <a:pt x="744159" y="5311096"/>
                    <a:pt x="744159" y="5302188"/>
                  </a:cubicBezTo>
                  <a:cubicBezTo>
                    <a:pt x="744159" y="5262445"/>
                    <a:pt x="734395" y="5234864"/>
                    <a:pt x="714866" y="5219447"/>
                  </a:cubicBezTo>
                  <a:cubicBezTo>
                    <a:pt x="695337" y="5204029"/>
                    <a:pt x="654737" y="5196320"/>
                    <a:pt x="593066" y="5196320"/>
                  </a:cubicBezTo>
                  <a:close/>
                  <a:moveTo>
                    <a:pt x="500560" y="4834519"/>
                  </a:moveTo>
                  <a:lnTo>
                    <a:pt x="645486" y="4834519"/>
                  </a:lnTo>
                  <a:cubicBezTo>
                    <a:pt x="751697" y="4834519"/>
                    <a:pt x="829128" y="4845483"/>
                    <a:pt x="877779" y="4867410"/>
                  </a:cubicBezTo>
                  <a:cubicBezTo>
                    <a:pt x="926430" y="4889337"/>
                    <a:pt x="963775" y="4929595"/>
                    <a:pt x="989814" y="4988182"/>
                  </a:cubicBezTo>
                  <a:cubicBezTo>
                    <a:pt x="1015853" y="5046769"/>
                    <a:pt x="1028872" y="5123343"/>
                    <a:pt x="1028872" y="5217905"/>
                  </a:cubicBezTo>
                  <a:lnTo>
                    <a:pt x="1028872" y="5334051"/>
                  </a:lnTo>
                  <a:lnTo>
                    <a:pt x="1699027" y="5334051"/>
                  </a:lnTo>
                  <a:lnTo>
                    <a:pt x="1699027" y="5766774"/>
                  </a:lnTo>
                  <a:lnTo>
                    <a:pt x="34947" y="5766774"/>
                  </a:lnTo>
                  <a:lnTo>
                    <a:pt x="34947" y="5330968"/>
                  </a:lnTo>
                  <a:cubicBezTo>
                    <a:pt x="34947" y="5213108"/>
                    <a:pt x="44197" y="5122487"/>
                    <a:pt x="62699" y="5059103"/>
                  </a:cubicBezTo>
                  <a:cubicBezTo>
                    <a:pt x="81200" y="4995719"/>
                    <a:pt x="107924" y="4948096"/>
                    <a:pt x="142870" y="4916233"/>
                  </a:cubicBezTo>
                  <a:cubicBezTo>
                    <a:pt x="177817" y="4884369"/>
                    <a:pt x="220130" y="4862785"/>
                    <a:pt x="269809" y="4851478"/>
                  </a:cubicBezTo>
                  <a:cubicBezTo>
                    <a:pt x="319488" y="4840172"/>
                    <a:pt x="396405" y="4834519"/>
                    <a:pt x="500560" y="4834519"/>
                  </a:cubicBezTo>
                  <a:close/>
                  <a:moveTo>
                    <a:pt x="462530" y="4153435"/>
                  </a:moveTo>
                  <a:cubicBezTo>
                    <a:pt x="385099" y="4153435"/>
                    <a:pt x="335591" y="4157718"/>
                    <a:pt x="314006" y="4166283"/>
                  </a:cubicBezTo>
                  <a:cubicBezTo>
                    <a:pt x="292422" y="4174848"/>
                    <a:pt x="281629" y="4192493"/>
                    <a:pt x="281629" y="4219217"/>
                  </a:cubicBezTo>
                  <a:cubicBezTo>
                    <a:pt x="281629" y="4241830"/>
                    <a:pt x="290366" y="4259132"/>
                    <a:pt x="307839" y="4271123"/>
                  </a:cubicBezTo>
                  <a:cubicBezTo>
                    <a:pt x="325313" y="4283115"/>
                    <a:pt x="376876" y="4289110"/>
                    <a:pt x="462530" y="4289110"/>
                  </a:cubicBezTo>
                  <a:lnTo>
                    <a:pt x="1239580" y="4289110"/>
                  </a:lnTo>
                  <a:cubicBezTo>
                    <a:pt x="1336198" y="4289110"/>
                    <a:pt x="1395813" y="4285170"/>
                    <a:pt x="1418425" y="4277290"/>
                  </a:cubicBezTo>
                  <a:cubicBezTo>
                    <a:pt x="1441038" y="4269410"/>
                    <a:pt x="1452344" y="4251080"/>
                    <a:pt x="1452344" y="4222301"/>
                  </a:cubicBezTo>
                  <a:cubicBezTo>
                    <a:pt x="1452344" y="4192836"/>
                    <a:pt x="1439325" y="4173992"/>
                    <a:pt x="1413286" y="4165769"/>
                  </a:cubicBezTo>
                  <a:cubicBezTo>
                    <a:pt x="1387247" y="4157546"/>
                    <a:pt x="1325234" y="4153435"/>
                    <a:pt x="1227246" y="4153435"/>
                  </a:cubicBezTo>
                  <a:close/>
                  <a:moveTo>
                    <a:pt x="724630" y="3720712"/>
                  </a:moveTo>
                  <a:lnTo>
                    <a:pt x="1009343" y="3720712"/>
                  </a:lnTo>
                  <a:cubicBezTo>
                    <a:pt x="1176539" y="3720712"/>
                    <a:pt x="1294913" y="3724653"/>
                    <a:pt x="1364463" y="3732533"/>
                  </a:cubicBezTo>
                  <a:cubicBezTo>
                    <a:pt x="1434014" y="3740413"/>
                    <a:pt x="1497569" y="3765081"/>
                    <a:pt x="1555128" y="3806537"/>
                  </a:cubicBezTo>
                  <a:cubicBezTo>
                    <a:pt x="1612688" y="3847994"/>
                    <a:pt x="1656885" y="3904011"/>
                    <a:pt x="1687720" y="3974590"/>
                  </a:cubicBezTo>
                  <a:cubicBezTo>
                    <a:pt x="1718556" y="4045169"/>
                    <a:pt x="1733973" y="4127396"/>
                    <a:pt x="1733973" y="4221273"/>
                  </a:cubicBezTo>
                  <a:cubicBezTo>
                    <a:pt x="1733973" y="4310353"/>
                    <a:pt x="1719412" y="4390353"/>
                    <a:pt x="1690290" y="4461274"/>
                  </a:cubicBezTo>
                  <a:cubicBezTo>
                    <a:pt x="1661168" y="4532196"/>
                    <a:pt x="1617484" y="4589241"/>
                    <a:pt x="1559240" y="4632410"/>
                  </a:cubicBezTo>
                  <a:cubicBezTo>
                    <a:pt x="1500995" y="4675580"/>
                    <a:pt x="1437612" y="4701276"/>
                    <a:pt x="1369089" y="4709499"/>
                  </a:cubicBezTo>
                  <a:cubicBezTo>
                    <a:pt x="1300566" y="4717721"/>
                    <a:pt x="1180650" y="4721833"/>
                    <a:pt x="1009343" y="4721833"/>
                  </a:cubicBezTo>
                  <a:lnTo>
                    <a:pt x="724630" y="4721833"/>
                  </a:lnTo>
                  <a:cubicBezTo>
                    <a:pt x="557434" y="4721833"/>
                    <a:pt x="439061" y="4717893"/>
                    <a:pt x="369510" y="4710013"/>
                  </a:cubicBezTo>
                  <a:cubicBezTo>
                    <a:pt x="299959" y="4702132"/>
                    <a:pt x="236404" y="4677464"/>
                    <a:pt x="178845" y="4636008"/>
                  </a:cubicBezTo>
                  <a:cubicBezTo>
                    <a:pt x="121286" y="4594552"/>
                    <a:pt x="77088" y="4538534"/>
                    <a:pt x="46253" y="4467955"/>
                  </a:cubicBezTo>
                  <a:cubicBezTo>
                    <a:pt x="15418" y="4397377"/>
                    <a:pt x="0" y="4315149"/>
                    <a:pt x="0" y="4221273"/>
                  </a:cubicBezTo>
                  <a:cubicBezTo>
                    <a:pt x="0" y="4132193"/>
                    <a:pt x="14561" y="4052192"/>
                    <a:pt x="43683" y="3981271"/>
                  </a:cubicBezTo>
                  <a:cubicBezTo>
                    <a:pt x="72806" y="3910350"/>
                    <a:pt x="116489" y="3853304"/>
                    <a:pt x="174734" y="3810135"/>
                  </a:cubicBezTo>
                  <a:cubicBezTo>
                    <a:pt x="232978" y="3766966"/>
                    <a:pt x="296362" y="3741269"/>
                    <a:pt x="364885" y="3733047"/>
                  </a:cubicBezTo>
                  <a:cubicBezTo>
                    <a:pt x="433408" y="3724824"/>
                    <a:pt x="553323" y="3720712"/>
                    <a:pt x="724630" y="3720712"/>
                  </a:cubicBezTo>
                  <a:close/>
                  <a:moveTo>
                    <a:pt x="34947" y="1927841"/>
                  </a:moveTo>
                  <a:lnTo>
                    <a:pt x="1699027" y="2120513"/>
                  </a:lnTo>
                  <a:lnTo>
                    <a:pt x="1699027" y="2660774"/>
                  </a:lnTo>
                  <a:cubicBezTo>
                    <a:pt x="1443361" y="2710228"/>
                    <a:pt x="1152481" y="2753885"/>
                    <a:pt x="826387" y="2791744"/>
                  </a:cubicBezTo>
                  <a:cubicBezTo>
                    <a:pt x="966206" y="2809003"/>
                    <a:pt x="1257086" y="2849233"/>
                    <a:pt x="1699027" y="2912435"/>
                  </a:cubicBezTo>
                  <a:lnTo>
                    <a:pt x="1699027" y="3449612"/>
                  </a:lnTo>
                  <a:lnTo>
                    <a:pt x="34947" y="3643312"/>
                  </a:lnTo>
                  <a:lnTo>
                    <a:pt x="34947" y="3222924"/>
                  </a:lnTo>
                  <a:lnTo>
                    <a:pt x="615566" y="3177201"/>
                  </a:lnTo>
                  <a:lnTo>
                    <a:pt x="1176882" y="3132988"/>
                  </a:lnTo>
                  <a:cubicBezTo>
                    <a:pt x="886398" y="3117024"/>
                    <a:pt x="505753" y="3077142"/>
                    <a:pt x="34947" y="3013340"/>
                  </a:cubicBezTo>
                  <a:lnTo>
                    <a:pt x="34947" y="2563996"/>
                  </a:lnTo>
                  <a:cubicBezTo>
                    <a:pt x="83609" y="2558021"/>
                    <a:pt x="266565" y="2542288"/>
                    <a:pt x="583816" y="2516795"/>
                  </a:cubicBezTo>
                  <a:lnTo>
                    <a:pt x="1216968" y="2469000"/>
                  </a:lnTo>
                  <a:cubicBezTo>
                    <a:pt x="814149" y="2444386"/>
                    <a:pt x="420142" y="2404129"/>
                    <a:pt x="34947" y="2348229"/>
                  </a:cubicBezTo>
                  <a:close/>
                  <a:moveTo>
                    <a:pt x="1366005" y="1092148"/>
                  </a:moveTo>
                  <a:lnTo>
                    <a:pt x="1699027" y="1092148"/>
                  </a:lnTo>
                  <a:lnTo>
                    <a:pt x="1699027" y="1842474"/>
                  </a:lnTo>
                  <a:lnTo>
                    <a:pt x="34947" y="1842474"/>
                  </a:lnTo>
                  <a:lnTo>
                    <a:pt x="34947" y="1120927"/>
                  </a:lnTo>
                  <a:lnTo>
                    <a:pt x="367968" y="1120927"/>
                  </a:lnTo>
                  <a:lnTo>
                    <a:pt x="367968" y="1409752"/>
                  </a:lnTo>
                  <a:lnTo>
                    <a:pt x="683516" y="1409752"/>
                  </a:lnTo>
                  <a:lnTo>
                    <a:pt x="683516" y="1139429"/>
                  </a:lnTo>
                  <a:lnTo>
                    <a:pt x="1000092" y="1139429"/>
                  </a:lnTo>
                  <a:lnTo>
                    <a:pt x="1000092" y="1409752"/>
                  </a:lnTo>
                  <a:lnTo>
                    <a:pt x="1366005" y="1409752"/>
                  </a:lnTo>
                  <a:close/>
                  <a:moveTo>
                    <a:pt x="448140" y="401887"/>
                  </a:moveTo>
                  <a:cubicBezTo>
                    <a:pt x="395377" y="401887"/>
                    <a:pt x="360773" y="411309"/>
                    <a:pt x="344328" y="430153"/>
                  </a:cubicBezTo>
                  <a:cubicBezTo>
                    <a:pt x="327882" y="448997"/>
                    <a:pt x="319660" y="483429"/>
                    <a:pt x="319660" y="533451"/>
                  </a:cubicBezTo>
                  <a:lnTo>
                    <a:pt x="689684" y="533451"/>
                  </a:lnTo>
                  <a:cubicBezTo>
                    <a:pt x="689684" y="484800"/>
                    <a:pt x="683003" y="450710"/>
                    <a:pt x="669641" y="431181"/>
                  </a:cubicBezTo>
                  <a:cubicBezTo>
                    <a:pt x="656279" y="411652"/>
                    <a:pt x="612938" y="401887"/>
                    <a:pt x="539618" y="401887"/>
                  </a:cubicBezTo>
                  <a:close/>
                  <a:moveTo>
                    <a:pt x="489254" y="0"/>
                  </a:moveTo>
                  <a:cubicBezTo>
                    <a:pt x="618762" y="0"/>
                    <a:pt x="705787" y="16103"/>
                    <a:pt x="750326" y="48309"/>
                  </a:cubicBezTo>
                  <a:cubicBezTo>
                    <a:pt x="794866" y="80514"/>
                    <a:pt x="821590" y="143898"/>
                    <a:pt x="830498" y="238460"/>
                  </a:cubicBezTo>
                  <a:cubicBezTo>
                    <a:pt x="851740" y="152806"/>
                    <a:pt x="880177" y="95247"/>
                    <a:pt x="915809" y="65782"/>
                  </a:cubicBezTo>
                  <a:cubicBezTo>
                    <a:pt x="951441" y="36317"/>
                    <a:pt x="984161" y="17987"/>
                    <a:pt x="1013968" y="10792"/>
                  </a:cubicBezTo>
                  <a:cubicBezTo>
                    <a:pt x="1043776" y="3598"/>
                    <a:pt x="1125832" y="0"/>
                    <a:pt x="1260137" y="0"/>
                  </a:cubicBezTo>
                  <a:lnTo>
                    <a:pt x="1699027" y="0"/>
                  </a:lnTo>
                  <a:lnTo>
                    <a:pt x="1699027" y="401887"/>
                  </a:lnTo>
                  <a:lnTo>
                    <a:pt x="1146046" y="401887"/>
                  </a:lnTo>
                  <a:cubicBezTo>
                    <a:pt x="1056966" y="401887"/>
                    <a:pt x="1001806" y="408911"/>
                    <a:pt x="980563" y="422958"/>
                  </a:cubicBezTo>
                  <a:cubicBezTo>
                    <a:pt x="959321" y="437005"/>
                    <a:pt x="948700" y="473836"/>
                    <a:pt x="948700" y="533451"/>
                  </a:cubicBezTo>
                  <a:lnTo>
                    <a:pt x="1699027" y="533451"/>
                  </a:lnTo>
                  <a:lnTo>
                    <a:pt x="1699027" y="966174"/>
                  </a:lnTo>
                  <a:lnTo>
                    <a:pt x="34947" y="966174"/>
                  </a:lnTo>
                  <a:lnTo>
                    <a:pt x="34947" y="659876"/>
                  </a:lnTo>
                  <a:cubicBezTo>
                    <a:pt x="34947" y="455678"/>
                    <a:pt x="42827" y="317432"/>
                    <a:pt x="58587" y="245141"/>
                  </a:cubicBezTo>
                  <a:cubicBezTo>
                    <a:pt x="74348" y="172849"/>
                    <a:pt x="114605" y="113919"/>
                    <a:pt x="179359" y="68352"/>
                  </a:cubicBezTo>
                  <a:cubicBezTo>
                    <a:pt x="244113" y="22784"/>
                    <a:pt x="347411" y="0"/>
                    <a:pt x="489254" y="0"/>
                  </a:cubicBezTo>
                  <a:close/>
                </a:path>
              </a:pathLst>
            </a:custGeom>
            <a:solidFill>
              <a:schemeClr val="accent1">
                <a:alpha val="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işļiḓé">
              <a:extLst>
                <a:ext uri="{FF2B5EF4-FFF2-40B4-BE49-F238E27FC236}">
                  <a16:creationId xmlns:a16="http://schemas.microsoft.com/office/drawing/2014/main" id="{02900FDA-69C1-4C89-A0C6-E501FB9FC118}"/>
                </a:ext>
              </a:extLst>
            </p:cNvPr>
            <p:cNvSpPr txBox="1">
              <a:spLocks/>
            </p:cNvSpPr>
            <p:nvPr userDrawn="1"/>
          </p:nvSpPr>
          <p:spPr>
            <a:xfrm rot="10800000">
              <a:off x="464457" y="444347"/>
              <a:ext cx="419099" cy="2395698"/>
            </a:xfrm>
            <a:prstGeom prst="rect">
              <a:avLst/>
            </a:prstGeom>
          </p:spPr>
          <p:txBody>
            <a:bodyPr vert="eaVert" lIns="91440" tIns="45720" rIns="91440" bIns="45720" rtlCol="0" anchor="t">
              <a:normAutofit lnSpcReduction="10000"/>
            </a:bodyPr>
            <a:lstStyle>
              <a:lvl1pPr marL="0" indent="0" algn="r" defTabSz="914354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57178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indent="0" algn="ctr" defTabSz="914354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18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Wuhan university.</a:t>
              </a:r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101897" y="1492431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01897" y="3798667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1899" y="3502396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3680E0AA-EAED-411B-9BAA-49428E8DAA3F}"/>
              </a:ext>
            </a:extLst>
          </p:cNvPr>
          <p:cNvGrpSpPr/>
          <p:nvPr userDrawn="1"/>
        </p:nvGrpSpPr>
        <p:grpSpPr>
          <a:xfrm>
            <a:off x="10110130" y="532863"/>
            <a:ext cx="1410357" cy="437099"/>
            <a:chOff x="4996000" y="520587"/>
            <a:chExt cx="2264418" cy="701791"/>
          </a:xfrm>
        </p:grpSpPr>
        <p:grpSp>
          <p:nvGrpSpPr>
            <p:cNvPr id="12" name="ïşľïḍé">
              <a:extLst>
                <a:ext uri="{FF2B5EF4-FFF2-40B4-BE49-F238E27FC236}">
                  <a16:creationId xmlns:a16="http://schemas.microsoft.com/office/drawing/2014/main" id="{1F37909B-B3FD-4EE9-8545-C68A11FBCF26}"/>
                </a:ext>
              </a:extLst>
            </p:cNvPr>
            <p:cNvGrpSpPr/>
            <p:nvPr/>
          </p:nvGrpSpPr>
          <p:grpSpPr>
            <a:xfrm>
              <a:off x="4996000" y="520587"/>
              <a:ext cx="697196" cy="701791"/>
              <a:chOff x="3551238" y="3067050"/>
              <a:chExt cx="722313" cy="727075"/>
            </a:xfrm>
          </p:grpSpPr>
          <p:sp>
            <p:nvSpPr>
              <p:cNvPr id="42" name="íṡḻiḋè">
                <a:extLst>
                  <a:ext uri="{FF2B5EF4-FFF2-40B4-BE49-F238E27FC236}">
                    <a16:creationId xmlns:a16="http://schemas.microsoft.com/office/drawing/2014/main" id="{79998C10-7D4A-4DA3-AE7D-CDBA019274B7}"/>
                  </a:ext>
                </a:extLst>
              </p:cNvPr>
              <p:cNvSpPr/>
              <p:nvPr/>
            </p:nvSpPr>
            <p:spPr bwMode="auto">
              <a:xfrm>
                <a:off x="3575051" y="3087688"/>
                <a:ext cx="673100" cy="679450"/>
              </a:xfrm>
              <a:custGeom>
                <a:avLst/>
                <a:gdLst>
                  <a:gd name="T0" fmla="*/ 102 w 204"/>
                  <a:gd name="T1" fmla="*/ 0 h 204"/>
                  <a:gd name="T2" fmla="*/ 204 w 204"/>
                  <a:gd name="T3" fmla="*/ 102 h 204"/>
                  <a:gd name="T4" fmla="*/ 102 w 204"/>
                  <a:gd name="T5" fmla="*/ 204 h 204"/>
                  <a:gd name="T6" fmla="*/ 0 w 204"/>
                  <a:gd name="T7" fmla="*/ 102 h 204"/>
                  <a:gd name="T8" fmla="*/ 102 w 204"/>
                  <a:gd name="T9" fmla="*/ 0 h 204"/>
                  <a:gd name="T10" fmla="*/ 102 w 204"/>
                  <a:gd name="T11" fmla="*/ 25 h 204"/>
                  <a:gd name="T12" fmla="*/ 24 w 204"/>
                  <a:gd name="T13" fmla="*/ 103 h 204"/>
                  <a:gd name="T14" fmla="*/ 102 w 204"/>
                  <a:gd name="T15" fmla="*/ 181 h 204"/>
                  <a:gd name="T16" fmla="*/ 180 w 204"/>
                  <a:gd name="T17" fmla="*/ 103 h 204"/>
                  <a:gd name="T18" fmla="*/ 102 w 204"/>
                  <a:gd name="T19" fmla="*/ 2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0"/>
                    </a:moveTo>
                    <a:cubicBezTo>
                      <a:pt x="159" y="0"/>
                      <a:pt x="204" y="46"/>
                      <a:pt x="204" y="102"/>
                    </a:cubicBezTo>
                    <a:cubicBezTo>
                      <a:pt x="204" y="158"/>
                      <a:pt x="159" y="204"/>
                      <a:pt x="102" y="204"/>
                    </a:cubicBezTo>
                    <a:cubicBezTo>
                      <a:pt x="46" y="204"/>
                      <a:pt x="0" y="158"/>
                      <a:pt x="0" y="102"/>
                    </a:cubicBezTo>
                    <a:cubicBezTo>
                      <a:pt x="0" y="46"/>
                      <a:pt x="46" y="0"/>
                      <a:pt x="102" y="0"/>
                    </a:cubicBezTo>
                    <a:close/>
                    <a:moveTo>
                      <a:pt x="102" y="25"/>
                    </a:moveTo>
                    <a:cubicBezTo>
                      <a:pt x="59" y="25"/>
                      <a:pt x="24" y="60"/>
                      <a:pt x="24" y="103"/>
                    </a:cubicBezTo>
                    <a:cubicBezTo>
                      <a:pt x="24" y="146"/>
                      <a:pt x="59" y="181"/>
                      <a:pt x="102" y="181"/>
                    </a:cubicBezTo>
                    <a:cubicBezTo>
                      <a:pt x="145" y="181"/>
                      <a:pt x="180" y="146"/>
                      <a:pt x="180" y="103"/>
                    </a:cubicBezTo>
                    <a:cubicBezTo>
                      <a:pt x="180" y="60"/>
                      <a:pt x="145" y="25"/>
                      <a:pt x="102" y="25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ṡḻïḓè">
                <a:extLst>
                  <a:ext uri="{FF2B5EF4-FFF2-40B4-BE49-F238E27FC236}">
                    <a16:creationId xmlns:a16="http://schemas.microsoft.com/office/drawing/2014/main" id="{EFA1984D-BEF5-46DD-BAE8-91B845909FF1}"/>
                  </a:ext>
                </a:extLst>
              </p:cNvPr>
              <p:cNvSpPr/>
              <p:nvPr/>
            </p:nvSpPr>
            <p:spPr bwMode="auto">
              <a:xfrm>
                <a:off x="3621088" y="3103563"/>
                <a:ext cx="584200" cy="203200"/>
              </a:xfrm>
              <a:custGeom>
                <a:avLst/>
                <a:gdLst>
                  <a:gd name="T0" fmla="*/ 8 w 177"/>
                  <a:gd name="T1" fmla="*/ 53 h 61"/>
                  <a:gd name="T2" fmla="*/ 0 w 177"/>
                  <a:gd name="T3" fmla="*/ 56 h 61"/>
                  <a:gd name="T4" fmla="*/ 5 w 177"/>
                  <a:gd name="T5" fmla="*/ 52 h 61"/>
                  <a:gd name="T6" fmla="*/ 4 w 177"/>
                  <a:gd name="T7" fmla="*/ 50 h 61"/>
                  <a:gd name="T8" fmla="*/ 5 w 177"/>
                  <a:gd name="T9" fmla="*/ 48 h 61"/>
                  <a:gd name="T10" fmla="*/ 10 w 177"/>
                  <a:gd name="T11" fmla="*/ 41 h 61"/>
                  <a:gd name="T12" fmla="*/ 17 w 177"/>
                  <a:gd name="T13" fmla="*/ 50 h 61"/>
                  <a:gd name="T14" fmla="*/ 14 w 177"/>
                  <a:gd name="T15" fmla="*/ 35 h 61"/>
                  <a:gd name="T16" fmla="*/ 23 w 177"/>
                  <a:gd name="T17" fmla="*/ 46 h 61"/>
                  <a:gd name="T18" fmla="*/ 31 w 177"/>
                  <a:gd name="T19" fmla="*/ 38 h 61"/>
                  <a:gd name="T20" fmla="*/ 29 w 177"/>
                  <a:gd name="T21" fmla="*/ 40 h 61"/>
                  <a:gd name="T22" fmla="*/ 18 w 177"/>
                  <a:gd name="T23" fmla="*/ 32 h 61"/>
                  <a:gd name="T24" fmla="*/ 19 w 177"/>
                  <a:gd name="T25" fmla="*/ 30 h 61"/>
                  <a:gd name="T26" fmla="*/ 21 w 177"/>
                  <a:gd name="T27" fmla="*/ 27 h 61"/>
                  <a:gd name="T28" fmla="*/ 41 w 177"/>
                  <a:gd name="T29" fmla="*/ 29 h 61"/>
                  <a:gd name="T30" fmla="*/ 43 w 177"/>
                  <a:gd name="T31" fmla="*/ 29 h 61"/>
                  <a:gd name="T32" fmla="*/ 35 w 177"/>
                  <a:gd name="T33" fmla="*/ 35 h 61"/>
                  <a:gd name="T34" fmla="*/ 31 w 177"/>
                  <a:gd name="T35" fmla="*/ 21 h 61"/>
                  <a:gd name="T36" fmla="*/ 46 w 177"/>
                  <a:gd name="T37" fmla="*/ 11 h 61"/>
                  <a:gd name="T38" fmla="*/ 47 w 177"/>
                  <a:gd name="T39" fmla="*/ 11 h 61"/>
                  <a:gd name="T40" fmla="*/ 47 w 177"/>
                  <a:gd name="T41" fmla="*/ 26 h 61"/>
                  <a:gd name="T42" fmla="*/ 39 w 177"/>
                  <a:gd name="T43" fmla="*/ 15 h 61"/>
                  <a:gd name="T44" fmla="*/ 72 w 177"/>
                  <a:gd name="T45" fmla="*/ 16 h 61"/>
                  <a:gd name="T46" fmla="*/ 71 w 177"/>
                  <a:gd name="T47" fmla="*/ 2 h 61"/>
                  <a:gd name="T48" fmla="*/ 65 w 177"/>
                  <a:gd name="T49" fmla="*/ 15 h 61"/>
                  <a:gd name="T50" fmla="*/ 64 w 177"/>
                  <a:gd name="T51" fmla="*/ 4 h 61"/>
                  <a:gd name="T52" fmla="*/ 84 w 177"/>
                  <a:gd name="T53" fmla="*/ 1 h 61"/>
                  <a:gd name="T54" fmla="*/ 84 w 177"/>
                  <a:gd name="T55" fmla="*/ 1 h 61"/>
                  <a:gd name="T56" fmla="*/ 78 w 177"/>
                  <a:gd name="T57" fmla="*/ 16 h 61"/>
                  <a:gd name="T58" fmla="*/ 77 w 177"/>
                  <a:gd name="T59" fmla="*/ 15 h 61"/>
                  <a:gd name="T60" fmla="*/ 90 w 177"/>
                  <a:gd name="T61" fmla="*/ 1 h 61"/>
                  <a:gd name="T62" fmla="*/ 94 w 177"/>
                  <a:gd name="T63" fmla="*/ 15 h 61"/>
                  <a:gd name="T64" fmla="*/ 92 w 177"/>
                  <a:gd name="T65" fmla="*/ 15 h 61"/>
                  <a:gd name="T66" fmla="*/ 113 w 177"/>
                  <a:gd name="T67" fmla="*/ 3 h 61"/>
                  <a:gd name="T68" fmla="*/ 102 w 177"/>
                  <a:gd name="T69" fmla="*/ 2 h 61"/>
                  <a:gd name="T70" fmla="*/ 105 w 177"/>
                  <a:gd name="T71" fmla="*/ 14 h 61"/>
                  <a:gd name="T72" fmla="*/ 117 w 177"/>
                  <a:gd name="T73" fmla="*/ 5 h 61"/>
                  <a:gd name="T74" fmla="*/ 122 w 177"/>
                  <a:gd name="T75" fmla="*/ 19 h 61"/>
                  <a:gd name="T76" fmla="*/ 119 w 177"/>
                  <a:gd name="T77" fmla="*/ 13 h 61"/>
                  <a:gd name="T78" fmla="*/ 121 w 177"/>
                  <a:gd name="T79" fmla="*/ 12 h 61"/>
                  <a:gd name="T80" fmla="*/ 124 w 177"/>
                  <a:gd name="T81" fmla="*/ 10 h 61"/>
                  <a:gd name="T82" fmla="*/ 131 w 177"/>
                  <a:gd name="T83" fmla="*/ 26 h 61"/>
                  <a:gd name="T84" fmla="*/ 126 w 177"/>
                  <a:gd name="T85" fmla="*/ 23 h 61"/>
                  <a:gd name="T86" fmla="*/ 124 w 177"/>
                  <a:gd name="T87" fmla="*/ 23 h 61"/>
                  <a:gd name="T88" fmla="*/ 137 w 177"/>
                  <a:gd name="T89" fmla="*/ 14 h 61"/>
                  <a:gd name="T90" fmla="*/ 133 w 177"/>
                  <a:gd name="T91" fmla="*/ 11 h 61"/>
                  <a:gd name="T92" fmla="*/ 137 w 177"/>
                  <a:gd name="T93" fmla="*/ 32 h 61"/>
                  <a:gd name="T94" fmla="*/ 137 w 177"/>
                  <a:gd name="T95" fmla="*/ 32 h 61"/>
                  <a:gd name="T96" fmla="*/ 145 w 177"/>
                  <a:gd name="T97" fmla="*/ 19 h 61"/>
                  <a:gd name="T98" fmla="*/ 146 w 177"/>
                  <a:gd name="T99" fmla="*/ 19 h 61"/>
                  <a:gd name="T100" fmla="*/ 159 w 177"/>
                  <a:gd name="T101" fmla="*/ 31 h 61"/>
                  <a:gd name="T102" fmla="*/ 149 w 177"/>
                  <a:gd name="T103" fmla="*/ 42 h 61"/>
                  <a:gd name="T104" fmla="*/ 155 w 177"/>
                  <a:gd name="T105" fmla="*/ 27 h 61"/>
                  <a:gd name="T106" fmla="*/ 166 w 177"/>
                  <a:gd name="T107" fmla="*/ 40 h 61"/>
                  <a:gd name="T108" fmla="*/ 160 w 177"/>
                  <a:gd name="T109" fmla="*/ 37 h 61"/>
                  <a:gd name="T110" fmla="*/ 153 w 177"/>
                  <a:gd name="T111" fmla="*/ 46 h 61"/>
                  <a:gd name="T112" fmla="*/ 177 w 177"/>
                  <a:gd name="T113" fmla="*/ 55 h 61"/>
                  <a:gd name="T114" fmla="*/ 162 w 177"/>
                  <a:gd name="T115" fmla="*/ 60 h 61"/>
                  <a:gd name="T116" fmla="*/ 165 w 177"/>
                  <a:gd name="T117" fmla="*/ 55 h 61"/>
                  <a:gd name="T118" fmla="*/ 173 w 177"/>
                  <a:gd name="T119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7" h="61">
                    <a:moveTo>
                      <a:pt x="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6" y="47"/>
                      <a:pt x="6" y="47"/>
                      <a:pt x="6" y="4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1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6" y="48"/>
                      <a:pt x="6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6" y="46"/>
                      <a:pt x="6" y="46"/>
                      <a:pt x="6" y="46"/>
                    </a:cubicBezTo>
                    <a:close/>
                    <a:moveTo>
                      <a:pt x="22" y="48"/>
                    </a:moveTo>
                    <a:cubicBezTo>
                      <a:pt x="22" y="49"/>
                      <a:pt x="21" y="49"/>
                      <a:pt x="21" y="49"/>
                    </a:cubicBezTo>
                    <a:cubicBezTo>
                      <a:pt x="20" y="50"/>
                      <a:pt x="19" y="49"/>
                      <a:pt x="18" y="48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8" y="50"/>
                      <a:pt x="19" y="51"/>
                      <a:pt x="20" y="50"/>
                    </a:cubicBezTo>
                    <a:cubicBezTo>
                      <a:pt x="21" y="50"/>
                      <a:pt x="22" y="50"/>
                      <a:pt x="23" y="49"/>
                    </a:cubicBezTo>
                    <a:cubicBezTo>
                      <a:pt x="24" y="48"/>
                      <a:pt x="24" y="47"/>
                      <a:pt x="24" y="46"/>
                    </a:cubicBezTo>
                    <a:cubicBezTo>
                      <a:pt x="24" y="45"/>
                      <a:pt x="23" y="44"/>
                      <a:pt x="22" y="4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4" y="37"/>
                      <a:pt x="14" y="37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3" y="44"/>
                      <a:pt x="23" y="45"/>
                      <a:pt x="23" y="46"/>
                    </a:cubicBezTo>
                    <a:cubicBezTo>
                      <a:pt x="23" y="47"/>
                      <a:pt x="23" y="47"/>
                      <a:pt x="22" y="48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6"/>
                      <a:pt x="34" y="36"/>
                      <a:pt x="34" y="36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8"/>
                      <a:pt x="32" y="37"/>
                      <a:pt x="32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9" y="41"/>
                      <a:pt x="29" y="40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7" y="42"/>
                      <a:pt x="27" y="41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1"/>
                      <a:pt x="19" y="31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33" y="36"/>
                      <a:pt x="33" y="36"/>
                      <a:pt x="33" y="36"/>
                    </a:cubicBezTo>
                    <a:close/>
                    <a:moveTo>
                      <a:pt x="38" y="26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1" y="30"/>
                      <a:pt x="41" y="30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2" y="29"/>
                      <a:pt x="42" y="2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5" y="34"/>
                      <a:pt x="35" y="34"/>
                    </a:cubicBezTo>
                    <a:cubicBezTo>
                      <a:pt x="35" y="34"/>
                      <a:pt x="35" y="34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6" y="33"/>
                    </a:cubicBezTo>
                    <a:cubicBezTo>
                      <a:pt x="36" y="33"/>
                      <a:pt x="36" y="32"/>
                      <a:pt x="36" y="32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8" y="26"/>
                      <a:pt x="38" y="26"/>
                      <a:pt x="38" y="26"/>
                    </a:cubicBezTo>
                    <a:close/>
                    <a:moveTo>
                      <a:pt x="31" y="21"/>
                    </a:moveTo>
                    <a:cubicBezTo>
                      <a:pt x="31" y="21"/>
                      <a:pt x="31" y="21"/>
                      <a:pt x="31" y="21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1" y="21"/>
                      <a:pt x="31" y="21"/>
                      <a:pt x="31" y="21"/>
                    </a:cubicBezTo>
                    <a:close/>
                    <a:moveTo>
                      <a:pt x="51" y="21"/>
                    </a:moveTo>
                    <a:cubicBezTo>
                      <a:pt x="51" y="21"/>
                      <a:pt x="51" y="21"/>
                      <a:pt x="51" y="2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5" y="11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1"/>
                      <a:pt x="47" y="11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6" y="27"/>
                      <a:pt x="46" y="26"/>
                      <a:pt x="45" y="2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9" y="14"/>
                      <a:pt x="39" y="14"/>
                      <a:pt x="38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51" y="21"/>
                      <a:pt x="51" y="21"/>
                      <a:pt x="51" y="21"/>
                    </a:cubicBezTo>
                    <a:close/>
                    <a:moveTo>
                      <a:pt x="70" y="17"/>
                    </a:moveTo>
                    <a:cubicBezTo>
                      <a:pt x="70" y="17"/>
                      <a:pt x="71" y="17"/>
                      <a:pt x="72" y="16"/>
                    </a:cubicBezTo>
                    <a:cubicBezTo>
                      <a:pt x="72" y="15"/>
                      <a:pt x="72" y="14"/>
                      <a:pt x="72" y="14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69" y="3"/>
                      <a:pt x="69" y="3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0" y="2"/>
                      <a:pt x="70" y="2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5"/>
                      <a:pt x="73" y="16"/>
                      <a:pt x="72" y="16"/>
                    </a:cubicBezTo>
                    <a:cubicBezTo>
                      <a:pt x="71" y="17"/>
                      <a:pt x="71" y="18"/>
                      <a:pt x="70" y="18"/>
                    </a:cubicBezTo>
                    <a:cubicBezTo>
                      <a:pt x="68" y="18"/>
                      <a:pt x="67" y="18"/>
                      <a:pt x="66" y="18"/>
                    </a:cubicBezTo>
                    <a:cubicBezTo>
                      <a:pt x="66" y="17"/>
                      <a:pt x="65" y="17"/>
                      <a:pt x="65" y="15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2" y="5"/>
                      <a:pt x="62" y="4"/>
                      <a:pt x="62" y="4"/>
                    </a:cubicBezTo>
                    <a:cubicBezTo>
                      <a:pt x="62" y="4"/>
                      <a:pt x="62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6"/>
                      <a:pt x="67" y="17"/>
                      <a:pt x="67" y="17"/>
                    </a:cubicBezTo>
                    <a:cubicBezTo>
                      <a:pt x="68" y="18"/>
                      <a:pt x="69" y="18"/>
                      <a:pt x="70" y="17"/>
                    </a:cubicBezTo>
                    <a:close/>
                    <a:moveTo>
                      <a:pt x="84" y="12"/>
                    </a:move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4" y="1"/>
                      <a:pt x="84" y="1"/>
                      <a:pt x="83" y="1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5" y="1"/>
                      <a:pt x="85" y="1"/>
                      <a:pt x="84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7" y="15"/>
                      <a:pt x="78" y="15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6"/>
                      <a:pt x="77" y="16"/>
                      <a:pt x="77" y="16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2"/>
                      <a:pt x="76" y="2"/>
                      <a:pt x="76" y="1"/>
                    </a:cubicBezTo>
                    <a:cubicBezTo>
                      <a:pt x="76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84" y="12"/>
                      <a:pt x="84" y="12"/>
                      <a:pt x="84" y="12"/>
                    </a:cubicBezTo>
                    <a:close/>
                    <a:moveTo>
                      <a:pt x="90" y="1"/>
                    </a:moveTo>
                    <a:cubicBezTo>
                      <a:pt x="90" y="0"/>
                      <a:pt x="90" y="0"/>
                      <a:pt x="90" y="0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5" y="1"/>
                      <a:pt x="95" y="1"/>
                      <a:pt x="95" y="2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5" y="15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3" y="1"/>
                      <a:pt x="92" y="1"/>
                    </a:cubicBezTo>
                    <a:cubicBezTo>
                      <a:pt x="90" y="1"/>
                      <a:pt x="90" y="1"/>
                      <a:pt x="90" y="1"/>
                    </a:cubicBezTo>
                    <a:close/>
                    <a:moveTo>
                      <a:pt x="109" y="3"/>
                    </a:moveTo>
                    <a:cubicBezTo>
                      <a:pt x="109" y="2"/>
                      <a:pt x="109" y="2"/>
                      <a:pt x="109" y="2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2" y="3"/>
                      <a:pt x="112" y="3"/>
                      <a:pt x="11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4" y="17"/>
                      <a:pt x="104" y="17"/>
                      <a:pt x="104" y="17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3"/>
                      <a:pt x="103" y="2"/>
                      <a:pt x="103" y="2"/>
                    </a:cubicBezTo>
                    <a:cubicBezTo>
                      <a:pt x="103" y="2"/>
                      <a:pt x="103" y="2"/>
                      <a:pt x="102" y="2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102" y="1"/>
                      <a:pt x="102" y="1"/>
                      <a:pt x="102" y="1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3"/>
                      <a:pt x="105" y="3"/>
                      <a:pt x="105" y="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10" y="3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09" y="3"/>
                      <a:pt x="109" y="3"/>
                      <a:pt x="109" y="3"/>
                    </a:cubicBezTo>
                    <a:close/>
                    <a:moveTo>
                      <a:pt x="116" y="5"/>
                    </a:move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7" y="5"/>
                      <a:pt x="117" y="6"/>
                      <a:pt x="117" y="6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3" y="18"/>
                      <a:pt x="113" y="19"/>
                      <a:pt x="113" y="19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11" y="19"/>
                      <a:pt x="111" y="19"/>
                      <a:pt x="111" y="19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122" y="19"/>
                      <a:pt x="122" y="19"/>
                      <a:pt x="122" y="19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1" y="19"/>
                      <a:pt x="120" y="20"/>
                      <a:pt x="120" y="20"/>
                    </a:cubicBezTo>
                    <a:cubicBezTo>
                      <a:pt x="119" y="21"/>
                      <a:pt x="118" y="21"/>
                      <a:pt x="117" y="20"/>
                    </a:cubicBezTo>
                    <a:cubicBezTo>
                      <a:pt x="115" y="20"/>
                      <a:pt x="115" y="20"/>
                      <a:pt x="115" y="20"/>
                    </a:cubicBezTo>
                    <a:cubicBezTo>
                      <a:pt x="115" y="20"/>
                      <a:pt x="114" y="19"/>
                      <a:pt x="114" y="19"/>
                    </a:cubicBezTo>
                    <a:cubicBezTo>
                      <a:pt x="114" y="19"/>
                      <a:pt x="114" y="19"/>
                      <a:pt x="114" y="19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3"/>
                      <a:pt x="120" y="13"/>
                      <a:pt x="120" y="14"/>
                    </a:cubicBezTo>
                    <a:cubicBezTo>
                      <a:pt x="120" y="14"/>
                      <a:pt x="120" y="15"/>
                      <a:pt x="120" y="15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0" y="13"/>
                      <a:pt x="120" y="13"/>
                      <a:pt x="119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8" y="6"/>
                      <a:pt x="119" y="6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122" y="7"/>
                      <a:pt x="123" y="7"/>
                      <a:pt x="123" y="8"/>
                    </a:cubicBezTo>
                    <a:cubicBezTo>
                      <a:pt x="124" y="8"/>
                      <a:pt x="124" y="9"/>
                      <a:pt x="124" y="1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6" y="5"/>
                      <a:pt x="116" y="5"/>
                      <a:pt x="116" y="5"/>
                    </a:cubicBezTo>
                    <a:close/>
                    <a:moveTo>
                      <a:pt x="136" y="17"/>
                    </a:moveTo>
                    <a:cubicBezTo>
                      <a:pt x="136" y="18"/>
                      <a:pt x="135" y="19"/>
                      <a:pt x="134" y="19"/>
                    </a:cubicBezTo>
                    <a:cubicBezTo>
                      <a:pt x="133" y="19"/>
                      <a:pt x="133" y="19"/>
                      <a:pt x="132" y="19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1" y="26"/>
                      <a:pt x="131" y="27"/>
                      <a:pt x="131" y="27"/>
                    </a:cubicBezTo>
                    <a:cubicBezTo>
                      <a:pt x="131" y="27"/>
                      <a:pt x="131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0" y="18"/>
                      <a:pt x="130" y="18"/>
                      <a:pt x="130" y="18"/>
                    </a:cubicBezTo>
                    <a:cubicBezTo>
                      <a:pt x="129" y="17"/>
                      <a:pt x="129" y="17"/>
                      <a:pt x="129" y="17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25" y="24"/>
                      <a:pt x="125" y="24"/>
                      <a:pt x="126" y="24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3"/>
                      <a:pt x="124" y="23"/>
                    </a:cubicBezTo>
                    <a:cubicBezTo>
                      <a:pt x="124" y="23"/>
                      <a:pt x="124" y="23"/>
                      <a:pt x="124" y="23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30" y="11"/>
                      <a:pt x="130" y="11"/>
                      <a:pt x="130" y="1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2"/>
                      <a:pt x="136" y="13"/>
                      <a:pt x="137" y="14"/>
                    </a:cubicBezTo>
                    <a:cubicBezTo>
                      <a:pt x="137" y="15"/>
                      <a:pt x="137" y="16"/>
                      <a:pt x="136" y="17"/>
                    </a:cubicBezTo>
                    <a:close/>
                    <a:moveTo>
                      <a:pt x="129" y="17"/>
                    </a:move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2" y="18"/>
                      <a:pt x="133" y="18"/>
                    </a:cubicBezTo>
                    <a:cubicBezTo>
                      <a:pt x="134" y="18"/>
                      <a:pt x="134" y="17"/>
                      <a:pt x="135" y="16"/>
                    </a:cubicBezTo>
                    <a:cubicBezTo>
                      <a:pt x="135" y="15"/>
                      <a:pt x="136" y="15"/>
                      <a:pt x="135" y="14"/>
                    </a:cubicBezTo>
                    <a:cubicBezTo>
                      <a:pt x="135" y="13"/>
                      <a:pt x="135" y="12"/>
                      <a:pt x="133" y="12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32" y="11"/>
                      <a:pt x="132" y="11"/>
                      <a:pt x="132" y="12"/>
                    </a:cubicBezTo>
                    <a:cubicBezTo>
                      <a:pt x="129" y="17"/>
                      <a:pt x="129" y="17"/>
                      <a:pt x="129" y="17"/>
                    </a:cubicBezTo>
                    <a:close/>
                    <a:moveTo>
                      <a:pt x="141" y="25"/>
                    </a:moveTo>
                    <a:cubicBezTo>
                      <a:pt x="142" y="27"/>
                      <a:pt x="142" y="28"/>
                      <a:pt x="142" y="28"/>
                    </a:cubicBezTo>
                    <a:cubicBezTo>
                      <a:pt x="142" y="29"/>
                      <a:pt x="142" y="30"/>
                      <a:pt x="142" y="30"/>
                    </a:cubicBezTo>
                    <a:cubicBezTo>
                      <a:pt x="141" y="31"/>
                      <a:pt x="141" y="32"/>
                      <a:pt x="140" y="32"/>
                    </a:cubicBezTo>
                    <a:cubicBezTo>
                      <a:pt x="139" y="32"/>
                      <a:pt x="138" y="32"/>
                      <a:pt x="137" y="32"/>
                    </a:cubicBezTo>
                    <a:cubicBezTo>
                      <a:pt x="137" y="31"/>
                      <a:pt x="136" y="30"/>
                      <a:pt x="136" y="29"/>
                    </a:cubicBezTo>
                    <a:cubicBezTo>
                      <a:pt x="135" y="28"/>
                      <a:pt x="136" y="27"/>
                      <a:pt x="136" y="26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5" y="30"/>
                      <a:pt x="135" y="30"/>
                      <a:pt x="135" y="30"/>
                    </a:cubicBezTo>
                    <a:cubicBezTo>
                      <a:pt x="135" y="30"/>
                      <a:pt x="135" y="30"/>
                      <a:pt x="136" y="31"/>
                    </a:cubicBezTo>
                    <a:cubicBezTo>
                      <a:pt x="136" y="31"/>
                      <a:pt x="136" y="32"/>
                      <a:pt x="137" y="32"/>
                    </a:cubicBezTo>
                    <a:cubicBezTo>
                      <a:pt x="138" y="33"/>
                      <a:pt x="139" y="33"/>
                      <a:pt x="140" y="33"/>
                    </a:cubicBezTo>
                    <a:cubicBezTo>
                      <a:pt x="142" y="33"/>
                      <a:pt x="142" y="32"/>
                      <a:pt x="143" y="31"/>
                    </a:cubicBezTo>
                    <a:cubicBezTo>
                      <a:pt x="144" y="30"/>
                      <a:pt x="144" y="29"/>
                      <a:pt x="144" y="28"/>
                    </a:cubicBezTo>
                    <a:cubicBezTo>
                      <a:pt x="144" y="27"/>
                      <a:pt x="143" y="26"/>
                      <a:pt x="142" y="25"/>
                    </a:cubicBezTo>
                    <a:cubicBezTo>
                      <a:pt x="141" y="23"/>
                      <a:pt x="141" y="22"/>
                      <a:pt x="141" y="22"/>
                    </a:cubicBezTo>
                    <a:cubicBezTo>
                      <a:pt x="141" y="21"/>
                      <a:pt x="141" y="20"/>
                      <a:pt x="141" y="20"/>
                    </a:cubicBezTo>
                    <a:cubicBezTo>
                      <a:pt x="142" y="19"/>
                      <a:pt x="142" y="19"/>
                      <a:pt x="143" y="19"/>
                    </a:cubicBezTo>
                    <a:cubicBezTo>
                      <a:pt x="144" y="18"/>
                      <a:pt x="144" y="18"/>
                      <a:pt x="145" y="19"/>
                    </a:cubicBezTo>
                    <a:cubicBezTo>
                      <a:pt x="146" y="20"/>
                      <a:pt x="147" y="20"/>
                      <a:pt x="147" y="21"/>
                    </a:cubicBezTo>
                    <a:cubicBezTo>
                      <a:pt x="147" y="22"/>
                      <a:pt x="147" y="23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9" y="21"/>
                      <a:pt x="149" y="21"/>
                      <a:pt x="149" y="21"/>
                    </a:cubicBezTo>
                    <a:cubicBezTo>
                      <a:pt x="149" y="21"/>
                      <a:pt x="149" y="21"/>
                      <a:pt x="148" y="21"/>
                    </a:cubicBezTo>
                    <a:cubicBezTo>
                      <a:pt x="148" y="21"/>
                      <a:pt x="148" y="21"/>
                      <a:pt x="148" y="21"/>
                    </a:cubicBezTo>
                    <a:cubicBezTo>
                      <a:pt x="148" y="21"/>
                      <a:pt x="147" y="20"/>
                      <a:pt x="147" y="20"/>
                    </a:cubicBezTo>
                    <a:cubicBezTo>
                      <a:pt x="147" y="19"/>
                      <a:pt x="146" y="19"/>
                      <a:pt x="146" y="19"/>
                    </a:cubicBezTo>
                    <a:cubicBezTo>
                      <a:pt x="145" y="18"/>
                      <a:pt x="144" y="18"/>
                      <a:pt x="143" y="18"/>
                    </a:cubicBezTo>
                    <a:cubicBezTo>
                      <a:pt x="141" y="18"/>
                      <a:pt x="141" y="19"/>
                      <a:pt x="140" y="19"/>
                    </a:cubicBezTo>
                    <a:cubicBezTo>
                      <a:pt x="139" y="20"/>
                      <a:pt x="139" y="21"/>
                      <a:pt x="139" y="22"/>
                    </a:cubicBezTo>
                    <a:cubicBezTo>
                      <a:pt x="140" y="23"/>
                      <a:pt x="140" y="24"/>
                      <a:pt x="141" y="25"/>
                    </a:cubicBezTo>
                    <a:close/>
                    <a:moveTo>
                      <a:pt x="154" y="26"/>
                    </a:moveTo>
                    <a:cubicBezTo>
                      <a:pt x="154" y="26"/>
                      <a:pt x="154" y="26"/>
                      <a:pt x="154" y="26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7" y="29"/>
                      <a:pt x="157" y="29"/>
                      <a:pt x="157" y="29"/>
                    </a:cubicBezTo>
                    <a:cubicBezTo>
                      <a:pt x="157" y="29"/>
                      <a:pt x="157" y="29"/>
                      <a:pt x="156" y="3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7" y="39"/>
                      <a:pt x="147" y="40"/>
                    </a:cubicBezTo>
                    <a:cubicBezTo>
                      <a:pt x="147" y="40"/>
                      <a:pt x="147" y="40"/>
                      <a:pt x="148" y="4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4" y="37"/>
                      <a:pt x="144" y="37"/>
                      <a:pt x="144" y="37"/>
                    </a:cubicBezTo>
                    <a:cubicBezTo>
                      <a:pt x="145" y="38"/>
                      <a:pt x="145" y="38"/>
                      <a:pt x="145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55" y="29"/>
                      <a:pt x="155" y="29"/>
                      <a:pt x="155" y="29"/>
                    </a:cubicBezTo>
                    <a:cubicBezTo>
                      <a:pt x="155" y="28"/>
                      <a:pt x="156" y="28"/>
                      <a:pt x="156" y="28"/>
                    </a:cubicBezTo>
                    <a:cubicBezTo>
                      <a:pt x="156" y="28"/>
                      <a:pt x="155" y="28"/>
                      <a:pt x="155" y="27"/>
                    </a:cubicBezTo>
                    <a:cubicBezTo>
                      <a:pt x="154" y="26"/>
                      <a:pt x="154" y="26"/>
                      <a:pt x="154" y="26"/>
                    </a:cubicBezTo>
                    <a:close/>
                    <a:moveTo>
                      <a:pt x="155" y="50"/>
                    </a:moveTo>
                    <a:cubicBezTo>
                      <a:pt x="156" y="50"/>
                      <a:pt x="156" y="50"/>
                      <a:pt x="156" y="50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8"/>
                      <a:pt x="155" y="48"/>
                    </a:cubicBezTo>
                    <a:cubicBezTo>
                      <a:pt x="165" y="40"/>
                      <a:pt x="165" y="40"/>
                      <a:pt x="165" y="40"/>
                    </a:cubicBezTo>
                    <a:cubicBezTo>
                      <a:pt x="166" y="40"/>
                      <a:pt x="166" y="40"/>
                      <a:pt x="166" y="40"/>
                    </a:cubicBezTo>
                    <a:cubicBezTo>
                      <a:pt x="166" y="40"/>
                      <a:pt x="166" y="40"/>
                      <a:pt x="167" y="40"/>
                    </a:cubicBezTo>
                    <a:cubicBezTo>
                      <a:pt x="167" y="41"/>
                      <a:pt x="167" y="42"/>
                      <a:pt x="167" y="42"/>
                    </a:cubicBezTo>
                    <a:cubicBezTo>
                      <a:pt x="167" y="43"/>
                      <a:pt x="167" y="43"/>
                      <a:pt x="166" y="45"/>
                    </a:cubicBezTo>
                    <a:cubicBezTo>
                      <a:pt x="166" y="45"/>
                      <a:pt x="166" y="45"/>
                      <a:pt x="166" y="45"/>
                    </a:cubicBezTo>
                    <a:cubicBezTo>
                      <a:pt x="169" y="42"/>
                      <a:pt x="169" y="42"/>
                      <a:pt x="169" y="42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2" y="37"/>
                      <a:pt x="163" y="37"/>
                      <a:pt x="163" y="37"/>
                    </a:cubicBezTo>
                    <a:cubicBezTo>
                      <a:pt x="163" y="37"/>
                      <a:pt x="164" y="37"/>
                      <a:pt x="164" y="38"/>
                    </a:cubicBezTo>
                    <a:cubicBezTo>
                      <a:pt x="165" y="38"/>
                      <a:pt x="165" y="38"/>
                      <a:pt x="165" y="38"/>
                    </a:cubicBezTo>
                    <a:cubicBezTo>
                      <a:pt x="165" y="39"/>
                      <a:pt x="165" y="39"/>
                      <a:pt x="164" y="39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3" y="47"/>
                      <a:pt x="153" y="47"/>
                    </a:cubicBezTo>
                    <a:cubicBezTo>
                      <a:pt x="153" y="46"/>
                      <a:pt x="153" y="46"/>
                      <a:pt x="153" y="46"/>
                    </a:cubicBezTo>
                    <a:cubicBezTo>
                      <a:pt x="152" y="47"/>
                      <a:pt x="152" y="47"/>
                      <a:pt x="152" y="47"/>
                    </a:cubicBezTo>
                    <a:cubicBezTo>
                      <a:pt x="155" y="50"/>
                      <a:pt x="155" y="50"/>
                      <a:pt x="155" y="50"/>
                    </a:cubicBezTo>
                    <a:close/>
                    <a:moveTo>
                      <a:pt x="174" y="54"/>
                    </a:moveTo>
                    <a:cubicBezTo>
                      <a:pt x="174" y="54"/>
                      <a:pt x="175" y="54"/>
                      <a:pt x="175" y="53"/>
                    </a:cubicBezTo>
                    <a:cubicBezTo>
                      <a:pt x="175" y="53"/>
                      <a:pt x="175" y="53"/>
                      <a:pt x="174" y="53"/>
                    </a:cubicBezTo>
                    <a:cubicBezTo>
                      <a:pt x="174" y="52"/>
                      <a:pt x="174" y="52"/>
                      <a:pt x="174" y="52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5" y="55"/>
                    </a:cubicBezTo>
                    <a:cubicBezTo>
                      <a:pt x="175" y="55"/>
                      <a:pt x="175" y="55"/>
                      <a:pt x="174" y="55"/>
                    </a:cubicBezTo>
                    <a:cubicBezTo>
                      <a:pt x="166" y="56"/>
                      <a:pt x="166" y="56"/>
                      <a:pt x="166" y="56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62" y="59"/>
                      <a:pt x="162" y="59"/>
                      <a:pt x="162" y="59"/>
                    </a:cubicBezTo>
                    <a:cubicBezTo>
                      <a:pt x="161" y="59"/>
                      <a:pt x="162" y="59"/>
                      <a:pt x="162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59" y="56"/>
                      <a:pt x="159" y="56"/>
                      <a:pt x="159" y="56"/>
                    </a:cubicBezTo>
                    <a:cubicBezTo>
                      <a:pt x="160" y="56"/>
                      <a:pt x="160" y="56"/>
                      <a:pt x="160" y="56"/>
                    </a:cubicBezTo>
                    <a:cubicBezTo>
                      <a:pt x="160" y="57"/>
                      <a:pt x="160" y="57"/>
                      <a:pt x="160" y="57"/>
                    </a:cubicBezTo>
                    <a:cubicBezTo>
                      <a:pt x="160" y="57"/>
                      <a:pt x="160" y="57"/>
                      <a:pt x="161" y="57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71" y="48"/>
                      <a:pt x="171" y="48"/>
                      <a:pt x="171" y="48"/>
                    </a:cubicBezTo>
                    <a:cubicBezTo>
                      <a:pt x="171" y="48"/>
                      <a:pt x="171" y="48"/>
                      <a:pt x="171" y="47"/>
                    </a:cubicBezTo>
                    <a:cubicBezTo>
                      <a:pt x="171" y="47"/>
                      <a:pt x="171" y="47"/>
                      <a:pt x="171" y="47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72" y="49"/>
                      <a:pt x="172" y="49"/>
                      <a:pt x="172" y="49"/>
                    </a:cubicBezTo>
                    <a:cubicBezTo>
                      <a:pt x="172" y="49"/>
                      <a:pt x="172" y="49"/>
                      <a:pt x="171" y="49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7" y="55"/>
                      <a:pt x="167" y="55"/>
                      <a:pt x="167" y="55"/>
                    </a:cubicBezTo>
                    <a:lnTo>
                      <a:pt x="174" y="54"/>
                    </a:ln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ŝlïďè">
                <a:extLst>
                  <a:ext uri="{FF2B5EF4-FFF2-40B4-BE49-F238E27FC236}">
                    <a16:creationId xmlns:a16="http://schemas.microsoft.com/office/drawing/2014/main" id="{BD7C2E88-D457-45C0-90A6-1D1A67873021}"/>
                  </a:ext>
                </a:extLst>
              </p:cNvPr>
              <p:cNvSpPr/>
              <p:nvPr/>
            </p:nvSpPr>
            <p:spPr bwMode="auto">
              <a:xfrm>
                <a:off x="3667126" y="3184525"/>
                <a:ext cx="492125" cy="496888"/>
              </a:xfrm>
              <a:custGeom>
                <a:avLst/>
                <a:gdLst>
                  <a:gd name="T0" fmla="*/ 74 w 149"/>
                  <a:gd name="T1" fmla="*/ 0 h 149"/>
                  <a:gd name="T2" fmla="*/ 149 w 149"/>
                  <a:gd name="T3" fmla="*/ 74 h 149"/>
                  <a:gd name="T4" fmla="*/ 74 w 149"/>
                  <a:gd name="T5" fmla="*/ 149 h 149"/>
                  <a:gd name="T6" fmla="*/ 0 w 149"/>
                  <a:gd name="T7" fmla="*/ 74 h 149"/>
                  <a:gd name="T8" fmla="*/ 74 w 149"/>
                  <a:gd name="T9" fmla="*/ 0 h 149"/>
                  <a:gd name="T10" fmla="*/ 74 w 149"/>
                  <a:gd name="T11" fmla="*/ 2 h 149"/>
                  <a:gd name="T12" fmla="*/ 2 w 149"/>
                  <a:gd name="T13" fmla="*/ 74 h 149"/>
                  <a:gd name="T14" fmla="*/ 74 w 149"/>
                  <a:gd name="T15" fmla="*/ 146 h 149"/>
                  <a:gd name="T16" fmla="*/ 146 w 149"/>
                  <a:gd name="T17" fmla="*/ 74 h 149"/>
                  <a:gd name="T18" fmla="*/ 74 w 149"/>
                  <a:gd name="T1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9" h="149">
                    <a:moveTo>
                      <a:pt x="74" y="0"/>
                    </a:move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115"/>
                      <a:pt x="115" y="149"/>
                      <a:pt x="74" y="149"/>
                    </a:cubicBezTo>
                    <a:cubicBezTo>
                      <a:pt x="33" y="149"/>
                      <a:pt x="0" y="11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lose/>
                    <a:moveTo>
                      <a:pt x="74" y="2"/>
                    </a:moveTo>
                    <a:cubicBezTo>
                      <a:pt x="35" y="2"/>
                      <a:pt x="2" y="34"/>
                      <a:pt x="2" y="74"/>
                    </a:cubicBezTo>
                    <a:cubicBezTo>
                      <a:pt x="2" y="114"/>
                      <a:pt x="35" y="146"/>
                      <a:pt x="74" y="146"/>
                    </a:cubicBezTo>
                    <a:cubicBezTo>
                      <a:pt x="114" y="146"/>
                      <a:pt x="146" y="114"/>
                      <a:pt x="146" y="74"/>
                    </a:cubicBezTo>
                    <a:cubicBezTo>
                      <a:pt x="146" y="34"/>
                      <a:pt x="114" y="2"/>
                      <a:pt x="74" y="2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íśḻîďe">
                <a:extLst>
                  <a:ext uri="{FF2B5EF4-FFF2-40B4-BE49-F238E27FC236}">
                    <a16:creationId xmlns:a16="http://schemas.microsoft.com/office/drawing/2014/main" id="{77C8F6EA-77A0-423D-8CB4-EF0DCF7FD598}"/>
                  </a:ext>
                </a:extLst>
              </p:cNvPr>
              <p:cNvSpPr/>
              <p:nvPr/>
            </p:nvSpPr>
            <p:spPr bwMode="auto">
              <a:xfrm>
                <a:off x="3775076" y="3248025"/>
                <a:ext cx="274638" cy="146050"/>
              </a:xfrm>
              <a:custGeom>
                <a:avLst/>
                <a:gdLst>
                  <a:gd name="T0" fmla="*/ 10 w 83"/>
                  <a:gd name="T1" fmla="*/ 43 h 44"/>
                  <a:gd name="T2" fmla="*/ 18 w 83"/>
                  <a:gd name="T3" fmla="*/ 39 h 44"/>
                  <a:gd name="T4" fmla="*/ 67 w 83"/>
                  <a:gd name="T5" fmla="*/ 39 h 44"/>
                  <a:gd name="T6" fmla="*/ 73 w 83"/>
                  <a:gd name="T7" fmla="*/ 42 h 44"/>
                  <a:gd name="T8" fmla="*/ 76 w 83"/>
                  <a:gd name="T9" fmla="*/ 43 h 44"/>
                  <a:gd name="T10" fmla="*/ 83 w 83"/>
                  <a:gd name="T11" fmla="*/ 35 h 44"/>
                  <a:gd name="T12" fmla="*/ 76 w 83"/>
                  <a:gd name="T13" fmla="*/ 37 h 44"/>
                  <a:gd name="T14" fmla="*/ 69 w 83"/>
                  <a:gd name="T15" fmla="*/ 33 h 44"/>
                  <a:gd name="T16" fmla="*/ 70 w 83"/>
                  <a:gd name="T17" fmla="*/ 26 h 44"/>
                  <a:gd name="T18" fmla="*/ 64 w 83"/>
                  <a:gd name="T19" fmla="*/ 30 h 44"/>
                  <a:gd name="T20" fmla="*/ 59 w 83"/>
                  <a:gd name="T21" fmla="*/ 31 h 44"/>
                  <a:gd name="T22" fmla="*/ 56 w 83"/>
                  <a:gd name="T23" fmla="*/ 29 h 44"/>
                  <a:gd name="T24" fmla="*/ 56 w 83"/>
                  <a:gd name="T25" fmla="*/ 24 h 44"/>
                  <a:gd name="T26" fmla="*/ 58 w 83"/>
                  <a:gd name="T27" fmla="*/ 23 h 44"/>
                  <a:gd name="T28" fmla="*/ 58 w 83"/>
                  <a:gd name="T29" fmla="*/ 19 h 44"/>
                  <a:gd name="T30" fmla="*/ 54 w 83"/>
                  <a:gd name="T31" fmla="*/ 19 h 44"/>
                  <a:gd name="T32" fmla="*/ 53 w 83"/>
                  <a:gd name="T33" fmla="*/ 21 h 44"/>
                  <a:gd name="T34" fmla="*/ 44 w 83"/>
                  <a:gd name="T35" fmla="*/ 21 h 44"/>
                  <a:gd name="T36" fmla="*/ 43 w 83"/>
                  <a:gd name="T37" fmla="*/ 18 h 44"/>
                  <a:gd name="T38" fmla="*/ 44 w 83"/>
                  <a:gd name="T39" fmla="*/ 13 h 44"/>
                  <a:gd name="T40" fmla="*/ 43 w 83"/>
                  <a:gd name="T41" fmla="*/ 8 h 44"/>
                  <a:gd name="T42" fmla="*/ 43 w 83"/>
                  <a:gd name="T43" fmla="*/ 6 h 44"/>
                  <a:gd name="T44" fmla="*/ 43 w 83"/>
                  <a:gd name="T45" fmla="*/ 2 h 44"/>
                  <a:gd name="T46" fmla="*/ 43 w 83"/>
                  <a:gd name="T47" fmla="*/ 0 h 44"/>
                  <a:gd name="T48" fmla="*/ 40 w 83"/>
                  <a:gd name="T49" fmla="*/ 0 h 44"/>
                  <a:gd name="T50" fmla="*/ 39 w 83"/>
                  <a:gd name="T51" fmla="*/ 2 h 44"/>
                  <a:gd name="T52" fmla="*/ 39 w 83"/>
                  <a:gd name="T53" fmla="*/ 6 h 44"/>
                  <a:gd name="T54" fmla="*/ 39 w 83"/>
                  <a:gd name="T55" fmla="*/ 8 h 44"/>
                  <a:gd name="T56" fmla="*/ 38 w 83"/>
                  <a:gd name="T57" fmla="*/ 13 h 44"/>
                  <a:gd name="T58" fmla="*/ 38 w 83"/>
                  <a:gd name="T59" fmla="*/ 18 h 44"/>
                  <a:gd name="T60" fmla="*/ 38 w 83"/>
                  <a:gd name="T61" fmla="*/ 21 h 44"/>
                  <a:gd name="T62" fmla="*/ 30 w 83"/>
                  <a:gd name="T63" fmla="*/ 21 h 44"/>
                  <a:gd name="T64" fmla="*/ 29 w 83"/>
                  <a:gd name="T65" fmla="*/ 19 h 44"/>
                  <a:gd name="T66" fmla="*/ 25 w 83"/>
                  <a:gd name="T67" fmla="*/ 19 h 44"/>
                  <a:gd name="T68" fmla="*/ 25 w 83"/>
                  <a:gd name="T69" fmla="*/ 23 h 44"/>
                  <a:gd name="T70" fmla="*/ 26 w 83"/>
                  <a:gd name="T71" fmla="*/ 24 h 44"/>
                  <a:gd name="T72" fmla="*/ 27 w 83"/>
                  <a:gd name="T73" fmla="*/ 29 h 44"/>
                  <a:gd name="T74" fmla="*/ 22 w 83"/>
                  <a:gd name="T75" fmla="*/ 31 h 44"/>
                  <a:gd name="T76" fmla="*/ 13 w 83"/>
                  <a:gd name="T77" fmla="*/ 26 h 44"/>
                  <a:gd name="T78" fmla="*/ 13 w 83"/>
                  <a:gd name="T79" fmla="*/ 35 h 44"/>
                  <a:gd name="T80" fmla="*/ 7 w 83"/>
                  <a:gd name="T81" fmla="*/ 37 h 44"/>
                  <a:gd name="T82" fmla="*/ 0 w 83"/>
                  <a:gd name="T83" fmla="*/ 34 h 44"/>
                  <a:gd name="T84" fmla="*/ 5 w 83"/>
                  <a:gd name="T85" fmla="*/ 42 h 44"/>
                  <a:gd name="T86" fmla="*/ 10 w 83"/>
                  <a:gd name="T87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44">
                    <a:moveTo>
                      <a:pt x="10" y="43"/>
                    </a:moveTo>
                    <a:cubicBezTo>
                      <a:pt x="18" y="39"/>
                      <a:pt x="18" y="39"/>
                      <a:pt x="18" y="39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4" y="43"/>
                      <a:pt x="75" y="43"/>
                      <a:pt x="76" y="43"/>
                    </a:cubicBezTo>
                    <a:cubicBezTo>
                      <a:pt x="80" y="42"/>
                      <a:pt x="83" y="35"/>
                      <a:pt x="83" y="35"/>
                    </a:cubicBezTo>
                    <a:cubicBezTo>
                      <a:pt x="83" y="35"/>
                      <a:pt x="79" y="38"/>
                      <a:pt x="76" y="37"/>
                    </a:cubicBezTo>
                    <a:cubicBezTo>
                      <a:pt x="73" y="37"/>
                      <a:pt x="69" y="36"/>
                      <a:pt x="69" y="33"/>
                    </a:cubicBezTo>
                    <a:cubicBezTo>
                      <a:pt x="69" y="30"/>
                      <a:pt x="70" y="27"/>
                      <a:pt x="70" y="26"/>
                    </a:cubicBezTo>
                    <a:cubicBezTo>
                      <a:pt x="70" y="26"/>
                      <a:pt x="67" y="29"/>
                      <a:pt x="64" y="30"/>
                    </a:cubicBezTo>
                    <a:cubicBezTo>
                      <a:pt x="61" y="32"/>
                      <a:pt x="60" y="31"/>
                      <a:pt x="59" y="31"/>
                    </a:cubicBezTo>
                    <a:cubicBezTo>
                      <a:pt x="57" y="30"/>
                      <a:pt x="56" y="29"/>
                      <a:pt x="56" y="29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9"/>
                      <a:pt x="54" y="21"/>
                      <a:pt x="53" y="21"/>
                    </a:cubicBezTo>
                    <a:cubicBezTo>
                      <a:pt x="52" y="21"/>
                      <a:pt x="44" y="21"/>
                      <a:pt x="44" y="21"/>
                    </a:cubicBezTo>
                    <a:cubicBezTo>
                      <a:pt x="44" y="21"/>
                      <a:pt x="43" y="20"/>
                      <a:pt x="43" y="18"/>
                    </a:cubicBezTo>
                    <a:cubicBezTo>
                      <a:pt x="44" y="17"/>
                      <a:pt x="44" y="17"/>
                      <a:pt x="44" y="13"/>
                    </a:cubicBezTo>
                    <a:cubicBezTo>
                      <a:pt x="44" y="10"/>
                      <a:pt x="44" y="9"/>
                      <a:pt x="43" y="8"/>
                    </a:cubicBezTo>
                    <a:cubicBezTo>
                      <a:pt x="43" y="7"/>
                      <a:pt x="42" y="7"/>
                      <a:pt x="43" y="6"/>
                    </a:cubicBezTo>
                    <a:cubicBezTo>
                      <a:pt x="44" y="5"/>
                      <a:pt x="44" y="4"/>
                      <a:pt x="43" y="2"/>
                    </a:cubicBezTo>
                    <a:cubicBezTo>
                      <a:pt x="42" y="1"/>
                      <a:pt x="43" y="2"/>
                      <a:pt x="43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9" y="0"/>
                      <a:pt x="40" y="1"/>
                      <a:pt x="39" y="2"/>
                    </a:cubicBezTo>
                    <a:cubicBezTo>
                      <a:pt x="38" y="3"/>
                      <a:pt x="38" y="5"/>
                      <a:pt x="39" y="6"/>
                    </a:cubicBezTo>
                    <a:cubicBezTo>
                      <a:pt x="39" y="7"/>
                      <a:pt x="40" y="7"/>
                      <a:pt x="39" y="8"/>
                    </a:cubicBezTo>
                    <a:cubicBezTo>
                      <a:pt x="38" y="9"/>
                      <a:pt x="38" y="10"/>
                      <a:pt x="38" y="13"/>
                    </a:cubicBezTo>
                    <a:cubicBezTo>
                      <a:pt x="38" y="16"/>
                      <a:pt x="38" y="17"/>
                      <a:pt x="38" y="18"/>
                    </a:cubicBezTo>
                    <a:cubicBezTo>
                      <a:pt x="39" y="20"/>
                      <a:pt x="38" y="21"/>
                      <a:pt x="38" y="21"/>
                    </a:cubicBezTo>
                    <a:cubicBezTo>
                      <a:pt x="37" y="21"/>
                      <a:pt x="30" y="21"/>
                      <a:pt x="30" y="21"/>
                    </a:cubicBezTo>
                    <a:cubicBezTo>
                      <a:pt x="30" y="21"/>
                      <a:pt x="29" y="20"/>
                      <a:pt x="29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4" y="31"/>
                      <a:pt x="22" y="31"/>
                    </a:cubicBezTo>
                    <a:cubicBezTo>
                      <a:pt x="19" y="31"/>
                      <a:pt x="13" y="26"/>
                      <a:pt x="13" y="26"/>
                    </a:cubicBezTo>
                    <a:cubicBezTo>
                      <a:pt x="13" y="26"/>
                      <a:pt x="14" y="33"/>
                      <a:pt x="13" y="35"/>
                    </a:cubicBezTo>
                    <a:cubicBezTo>
                      <a:pt x="13" y="37"/>
                      <a:pt x="10" y="37"/>
                      <a:pt x="7" y="37"/>
                    </a:cubicBezTo>
                    <a:cubicBezTo>
                      <a:pt x="4" y="37"/>
                      <a:pt x="0" y="35"/>
                      <a:pt x="0" y="34"/>
                    </a:cubicBezTo>
                    <a:cubicBezTo>
                      <a:pt x="0" y="34"/>
                      <a:pt x="3" y="40"/>
                      <a:pt x="5" y="42"/>
                    </a:cubicBezTo>
                    <a:cubicBezTo>
                      <a:pt x="7" y="44"/>
                      <a:pt x="10" y="43"/>
                      <a:pt x="10" y="4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îṥlîḋè">
                <a:extLst>
                  <a:ext uri="{FF2B5EF4-FFF2-40B4-BE49-F238E27FC236}">
                    <a16:creationId xmlns:a16="http://schemas.microsoft.com/office/drawing/2014/main" id="{223D1757-507C-428F-8F24-09C10541D89B}"/>
                  </a:ext>
                </a:extLst>
              </p:cNvPr>
              <p:cNvSpPr/>
              <p:nvPr/>
            </p:nvSpPr>
            <p:spPr bwMode="auto">
              <a:xfrm>
                <a:off x="3614738" y="3370263"/>
                <a:ext cx="596900" cy="241300"/>
              </a:xfrm>
              <a:custGeom>
                <a:avLst/>
                <a:gdLst>
                  <a:gd name="T0" fmla="*/ 58 w 181"/>
                  <a:gd name="T1" fmla="*/ 72 h 72"/>
                  <a:gd name="T2" fmla="*/ 8 w 181"/>
                  <a:gd name="T3" fmla="*/ 72 h 72"/>
                  <a:gd name="T4" fmla="*/ 3 w 181"/>
                  <a:gd name="T5" fmla="*/ 63 h 72"/>
                  <a:gd name="T6" fmla="*/ 6 w 181"/>
                  <a:gd name="T7" fmla="*/ 63 h 72"/>
                  <a:gd name="T8" fmla="*/ 11 w 181"/>
                  <a:gd name="T9" fmla="*/ 55 h 72"/>
                  <a:gd name="T10" fmla="*/ 14 w 181"/>
                  <a:gd name="T11" fmla="*/ 55 h 72"/>
                  <a:gd name="T12" fmla="*/ 14 w 181"/>
                  <a:gd name="T13" fmla="*/ 29 h 72"/>
                  <a:gd name="T14" fmla="*/ 0 w 181"/>
                  <a:gd name="T15" fmla="*/ 4 h 72"/>
                  <a:gd name="T16" fmla="*/ 30 w 181"/>
                  <a:gd name="T17" fmla="*/ 0 h 72"/>
                  <a:gd name="T18" fmla="*/ 58 w 181"/>
                  <a:gd name="T19" fmla="*/ 8 h 72"/>
                  <a:gd name="T20" fmla="*/ 51 w 181"/>
                  <a:gd name="T21" fmla="*/ 25 h 72"/>
                  <a:gd name="T22" fmla="*/ 131 w 181"/>
                  <a:gd name="T23" fmla="*/ 25 h 72"/>
                  <a:gd name="T24" fmla="*/ 122 w 181"/>
                  <a:gd name="T25" fmla="*/ 8 h 72"/>
                  <a:gd name="T26" fmla="*/ 150 w 181"/>
                  <a:gd name="T27" fmla="*/ 0 h 72"/>
                  <a:gd name="T28" fmla="*/ 181 w 181"/>
                  <a:gd name="T29" fmla="*/ 5 h 72"/>
                  <a:gd name="T30" fmla="*/ 166 w 181"/>
                  <a:gd name="T31" fmla="*/ 28 h 72"/>
                  <a:gd name="T32" fmla="*/ 166 w 181"/>
                  <a:gd name="T33" fmla="*/ 55 h 72"/>
                  <a:gd name="T34" fmla="*/ 171 w 181"/>
                  <a:gd name="T35" fmla="*/ 55 h 72"/>
                  <a:gd name="T36" fmla="*/ 178 w 181"/>
                  <a:gd name="T37" fmla="*/ 65 h 72"/>
                  <a:gd name="T38" fmla="*/ 174 w 181"/>
                  <a:gd name="T39" fmla="*/ 72 h 72"/>
                  <a:gd name="T40" fmla="*/ 58 w 181"/>
                  <a:gd name="T4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72">
                    <a:moveTo>
                      <a:pt x="58" y="72"/>
                    </a:moveTo>
                    <a:cubicBezTo>
                      <a:pt x="8" y="72"/>
                      <a:pt x="8" y="72"/>
                      <a:pt x="8" y="7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7" y="61"/>
                      <a:pt x="10" y="57"/>
                      <a:pt x="11" y="55"/>
                    </a:cubicBezTo>
                    <a:cubicBezTo>
                      <a:pt x="12" y="55"/>
                      <a:pt x="13" y="55"/>
                      <a:pt x="14" y="55"/>
                    </a:cubicBezTo>
                    <a:cubicBezTo>
                      <a:pt x="14" y="45"/>
                      <a:pt x="14" y="39"/>
                      <a:pt x="14" y="29"/>
                    </a:cubicBezTo>
                    <a:cubicBezTo>
                      <a:pt x="6" y="25"/>
                      <a:pt x="0" y="19"/>
                      <a:pt x="0" y="4"/>
                    </a:cubicBezTo>
                    <a:cubicBezTo>
                      <a:pt x="13" y="19"/>
                      <a:pt x="25" y="20"/>
                      <a:pt x="30" y="0"/>
                    </a:cubicBezTo>
                    <a:cubicBezTo>
                      <a:pt x="40" y="22"/>
                      <a:pt x="50" y="16"/>
                      <a:pt x="58" y="8"/>
                    </a:cubicBezTo>
                    <a:cubicBezTo>
                      <a:pt x="59" y="17"/>
                      <a:pt x="51" y="24"/>
                      <a:pt x="5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8" y="21"/>
                      <a:pt x="123" y="15"/>
                      <a:pt x="122" y="8"/>
                    </a:cubicBezTo>
                    <a:cubicBezTo>
                      <a:pt x="131" y="18"/>
                      <a:pt x="141" y="23"/>
                      <a:pt x="150" y="0"/>
                    </a:cubicBezTo>
                    <a:cubicBezTo>
                      <a:pt x="160" y="23"/>
                      <a:pt x="169" y="16"/>
                      <a:pt x="181" y="5"/>
                    </a:cubicBezTo>
                    <a:cubicBezTo>
                      <a:pt x="178" y="23"/>
                      <a:pt x="174" y="23"/>
                      <a:pt x="166" y="28"/>
                    </a:cubicBezTo>
                    <a:cubicBezTo>
                      <a:pt x="166" y="38"/>
                      <a:pt x="166" y="45"/>
                      <a:pt x="166" y="55"/>
                    </a:cubicBezTo>
                    <a:cubicBezTo>
                      <a:pt x="168" y="55"/>
                      <a:pt x="169" y="55"/>
                      <a:pt x="171" y="5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4" y="72"/>
                      <a:pt x="174" y="72"/>
                      <a:pt x="174" y="72"/>
                    </a:cubicBezTo>
                    <a:lnTo>
                      <a:pt x="58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Sḻîḍê">
                <a:extLst>
                  <a:ext uri="{FF2B5EF4-FFF2-40B4-BE49-F238E27FC236}">
                    <a16:creationId xmlns:a16="http://schemas.microsoft.com/office/drawing/2014/main" id="{1A4D55C7-5C61-44AA-9E8E-70580F18BF38}"/>
                  </a:ext>
                </a:extLst>
              </p:cNvPr>
              <p:cNvSpPr/>
              <p:nvPr/>
            </p:nvSpPr>
            <p:spPr bwMode="auto">
              <a:xfrm>
                <a:off x="3624263" y="3381375"/>
                <a:ext cx="577850" cy="200025"/>
              </a:xfrm>
              <a:custGeom>
                <a:avLst/>
                <a:gdLst>
                  <a:gd name="T0" fmla="*/ 130 w 175"/>
                  <a:gd name="T1" fmla="*/ 51 h 60"/>
                  <a:gd name="T2" fmla="*/ 130 w 175"/>
                  <a:gd name="T3" fmla="*/ 50 h 60"/>
                  <a:gd name="T4" fmla="*/ 48 w 175"/>
                  <a:gd name="T5" fmla="*/ 50 h 60"/>
                  <a:gd name="T6" fmla="*/ 48 w 175"/>
                  <a:gd name="T7" fmla="*/ 51 h 60"/>
                  <a:gd name="T8" fmla="*/ 52 w 175"/>
                  <a:gd name="T9" fmla="*/ 51 h 60"/>
                  <a:gd name="T10" fmla="*/ 48 w 175"/>
                  <a:gd name="T11" fmla="*/ 60 h 60"/>
                  <a:gd name="T12" fmla="*/ 7 w 175"/>
                  <a:gd name="T13" fmla="*/ 60 h 60"/>
                  <a:gd name="T14" fmla="*/ 10 w 175"/>
                  <a:gd name="T15" fmla="*/ 54 h 60"/>
                  <a:gd name="T16" fmla="*/ 14 w 175"/>
                  <a:gd name="T17" fmla="*/ 54 h 60"/>
                  <a:gd name="T18" fmla="*/ 13 w 175"/>
                  <a:gd name="T19" fmla="*/ 25 h 60"/>
                  <a:gd name="T20" fmla="*/ 0 w 175"/>
                  <a:gd name="T21" fmla="*/ 7 h 60"/>
                  <a:gd name="T22" fmla="*/ 28 w 175"/>
                  <a:gd name="T23" fmla="*/ 0 h 60"/>
                  <a:gd name="T24" fmla="*/ 55 w 175"/>
                  <a:gd name="T25" fmla="*/ 7 h 60"/>
                  <a:gd name="T26" fmla="*/ 48 w 175"/>
                  <a:gd name="T27" fmla="*/ 22 h 60"/>
                  <a:gd name="T28" fmla="*/ 127 w 175"/>
                  <a:gd name="T29" fmla="*/ 22 h 60"/>
                  <a:gd name="T30" fmla="*/ 119 w 175"/>
                  <a:gd name="T31" fmla="*/ 7 h 60"/>
                  <a:gd name="T32" fmla="*/ 147 w 175"/>
                  <a:gd name="T33" fmla="*/ 0 h 60"/>
                  <a:gd name="T34" fmla="*/ 175 w 175"/>
                  <a:gd name="T35" fmla="*/ 7 h 60"/>
                  <a:gd name="T36" fmla="*/ 161 w 175"/>
                  <a:gd name="T37" fmla="*/ 24 h 60"/>
                  <a:gd name="T38" fmla="*/ 161 w 175"/>
                  <a:gd name="T39" fmla="*/ 53 h 60"/>
                  <a:gd name="T40" fmla="*/ 165 w 175"/>
                  <a:gd name="T41" fmla="*/ 53 h 60"/>
                  <a:gd name="T42" fmla="*/ 169 w 175"/>
                  <a:gd name="T43" fmla="*/ 60 h 60"/>
                  <a:gd name="T44" fmla="*/ 128 w 175"/>
                  <a:gd name="T45" fmla="*/ 60 h 60"/>
                  <a:gd name="T46" fmla="*/ 124 w 175"/>
                  <a:gd name="T47" fmla="*/ 51 h 60"/>
                  <a:gd name="T48" fmla="*/ 130 w 175"/>
                  <a:gd name="T49" fmla="*/ 5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5" h="60">
                    <a:moveTo>
                      <a:pt x="130" y="51"/>
                    </a:moveTo>
                    <a:cubicBezTo>
                      <a:pt x="130" y="50"/>
                      <a:pt x="130" y="50"/>
                      <a:pt x="130" y="50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34" y="60"/>
                      <a:pt x="20" y="60"/>
                      <a:pt x="7" y="60"/>
                    </a:cubicBezTo>
                    <a:cubicBezTo>
                      <a:pt x="8" y="58"/>
                      <a:pt x="9" y="56"/>
                      <a:pt x="10" y="54"/>
                    </a:cubicBezTo>
                    <a:cubicBezTo>
                      <a:pt x="11" y="54"/>
                      <a:pt x="12" y="54"/>
                      <a:pt x="14" y="54"/>
                    </a:cubicBezTo>
                    <a:cubicBezTo>
                      <a:pt x="14" y="44"/>
                      <a:pt x="13" y="34"/>
                      <a:pt x="13" y="25"/>
                    </a:cubicBezTo>
                    <a:cubicBezTo>
                      <a:pt x="5" y="20"/>
                      <a:pt x="1" y="14"/>
                      <a:pt x="0" y="7"/>
                    </a:cubicBezTo>
                    <a:cubicBezTo>
                      <a:pt x="12" y="18"/>
                      <a:pt x="22" y="17"/>
                      <a:pt x="28" y="0"/>
                    </a:cubicBezTo>
                    <a:cubicBezTo>
                      <a:pt x="37" y="22"/>
                      <a:pt x="47" y="15"/>
                      <a:pt x="55" y="7"/>
                    </a:cubicBezTo>
                    <a:cubicBezTo>
                      <a:pt x="55" y="14"/>
                      <a:pt x="50" y="17"/>
                      <a:pt x="48" y="22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5" y="18"/>
                      <a:pt x="120" y="14"/>
                      <a:pt x="119" y="7"/>
                    </a:cubicBezTo>
                    <a:cubicBezTo>
                      <a:pt x="127" y="15"/>
                      <a:pt x="137" y="22"/>
                      <a:pt x="147" y="0"/>
                    </a:cubicBezTo>
                    <a:cubicBezTo>
                      <a:pt x="153" y="17"/>
                      <a:pt x="163" y="18"/>
                      <a:pt x="175" y="7"/>
                    </a:cubicBezTo>
                    <a:cubicBezTo>
                      <a:pt x="173" y="14"/>
                      <a:pt x="169" y="19"/>
                      <a:pt x="161" y="24"/>
                    </a:cubicBezTo>
                    <a:cubicBezTo>
                      <a:pt x="161" y="34"/>
                      <a:pt x="161" y="44"/>
                      <a:pt x="161" y="53"/>
                    </a:cubicBezTo>
                    <a:cubicBezTo>
                      <a:pt x="162" y="53"/>
                      <a:pt x="164" y="53"/>
                      <a:pt x="165" y="53"/>
                    </a:cubicBezTo>
                    <a:cubicBezTo>
                      <a:pt x="166" y="55"/>
                      <a:pt x="167" y="58"/>
                      <a:pt x="169" y="60"/>
                    </a:cubicBezTo>
                    <a:cubicBezTo>
                      <a:pt x="155" y="60"/>
                      <a:pt x="142" y="60"/>
                      <a:pt x="128" y="60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30" y="51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íṧļiḑé">
                <a:extLst>
                  <a:ext uri="{FF2B5EF4-FFF2-40B4-BE49-F238E27FC236}">
                    <a16:creationId xmlns:a16="http://schemas.microsoft.com/office/drawing/2014/main" id="{790807E2-7863-440C-BFDC-0B4A3BDC7666}"/>
                  </a:ext>
                </a:extLst>
              </p:cNvPr>
              <p:cNvSpPr/>
              <p:nvPr/>
            </p:nvSpPr>
            <p:spPr bwMode="auto">
              <a:xfrm>
                <a:off x="4065588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ïś1ïďé">
                <a:extLst>
                  <a:ext uri="{FF2B5EF4-FFF2-40B4-BE49-F238E27FC236}">
                    <a16:creationId xmlns:a16="http://schemas.microsoft.com/office/drawing/2014/main" id="{E1D8BC82-A354-43B7-B470-7EC79C66A522}"/>
                  </a:ext>
                </a:extLst>
              </p:cNvPr>
              <p:cNvSpPr/>
              <p:nvPr/>
            </p:nvSpPr>
            <p:spPr bwMode="auto">
              <a:xfrm>
                <a:off x="3740151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íśḷíďe">
                <a:extLst>
                  <a:ext uri="{FF2B5EF4-FFF2-40B4-BE49-F238E27FC236}">
                    <a16:creationId xmlns:a16="http://schemas.microsoft.com/office/drawing/2014/main" id="{49946011-BE60-425D-ABC6-42A07D65C86A}"/>
                  </a:ext>
                </a:extLst>
              </p:cNvPr>
              <p:cNvSpPr/>
              <p:nvPr/>
            </p:nvSpPr>
            <p:spPr bwMode="auto">
              <a:xfrm>
                <a:off x="4125913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iṧļïḍé">
                <a:extLst>
                  <a:ext uri="{FF2B5EF4-FFF2-40B4-BE49-F238E27FC236}">
                    <a16:creationId xmlns:a16="http://schemas.microsoft.com/office/drawing/2014/main" id="{F9970362-C198-4AB4-9BEC-9D6B903AF10B}"/>
                  </a:ext>
                </a:extLst>
              </p:cNvPr>
              <p:cNvSpPr/>
              <p:nvPr/>
            </p:nvSpPr>
            <p:spPr bwMode="auto">
              <a:xfrm>
                <a:off x="3709988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iṧ1íḍê">
                <a:extLst>
                  <a:ext uri="{FF2B5EF4-FFF2-40B4-BE49-F238E27FC236}">
                    <a16:creationId xmlns:a16="http://schemas.microsoft.com/office/drawing/2014/main" id="{505C6E87-AA42-42C8-B9A4-43206DD7FA6A}"/>
                  </a:ext>
                </a:extLst>
              </p:cNvPr>
              <p:cNvSpPr/>
              <p:nvPr/>
            </p:nvSpPr>
            <p:spPr bwMode="auto">
              <a:xfrm>
                <a:off x="4095751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íslíḑe">
                <a:extLst>
                  <a:ext uri="{FF2B5EF4-FFF2-40B4-BE49-F238E27FC236}">
                    <a16:creationId xmlns:a16="http://schemas.microsoft.com/office/drawing/2014/main" id="{AE66EF6C-CC29-464E-A8C2-DA62613DA926}"/>
                  </a:ext>
                </a:extLst>
              </p:cNvPr>
              <p:cNvSpPr/>
              <p:nvPr/>
            </p:nvSpPr>
            <p:spPr bwMode="auto">
              <a:xfrm>
                <a:off x="3663951" y="3460750"/>
                <a:ext cx="495300" cy="3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ïśḷíḓé">
                <a:extLst>
                  <a:ext uri="{FF2B5EF4-FFF2-40B4-BE49-F238E27FC236}">
                    <a16:creationId xmlns:a16="http://schemas.microsoft.com/office/drawing/2014/main" id="{EE97F084-A628-40A2-A776-FCEE1E2D7E13}"/>
                  </a:ext>
                </a:extLst>
              </p:cNvPr>
              <p:cNvSpPr/>
              <p:nvPr/>
            </p:nvSpPr>
            <p:spPr bwMode="auto">
              <a:xfrm>
                <a:off x="3663951" y="3473450"/>
                <a:ext cx="11588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ïşļîḋe">
                <a:extLst>
                  <a:ext uri="{FF2B5EF4-FFF2-40B4-BE49-F238E27FC236}">
                    <a16:creationId xmlns:a16="http://schemas.microsoft.com/office/drawing/2014/main" id="{10410E1D-4DB2-4541-89D6-E3DBD2F87549}"/>
                  </a:ext>
                </a:extLst>
              </p:cNvPr>
              <p:cNvSpPr/>
              <p:nvPr/>
            </p:nvSpPr>
            <p:spPr bwMode="auto">
              <a:xfrm>
                <a:off x="3789363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îş1ïḑé">
                <a:extLst>
                  <a:ext uri="{FF2B5EF4-FFF2-40B4-BE49-F238E27FC236}">
                    <a16:creationId xmlns:a16="http://schemas.microsoft.com/office/drawing/2014/main" id="{857233A0-3F1D-472C-9A8C-6A4B792BEAC3}"/>
                  </a:ext>
                </a:extLst>
              </p:cNvPr>
              <p:cNvSpPr/>
              <p:nvPr/>
            </p:nvSpPr>
            <p:spPr bwMode="auto">
              <a:xfrm>
                <a:off x="3851276" y="3473450"/>
                <a:ext cx="571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íṡľïďê">
                <a:extLst>
                  <a:ext uri="{FF2B5EF4-FFF2-40B4-BE49-F238E27FC236}">
                    <a16:creationId xmlns:a16="http://schemas.microsoft.com/office/drawing/2014/main" id="{65EF9E49-1F92-4223-8B52-322C15825832}"/>
                  </a:ext>
                </a:extLst>
              </p:cNvPr>
              <p:cNvSpPr/>
              <p:nvPr/>
            </p:nvSpPr>
            <p:spPr bwMode="auto">
              <a:xfrm>
                <a:off x="3917951" y="3473450"/>
                <a:ext cx="555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îṡḷíḋê">
                <a:extLst>
                  <a:ext uri="{FF2B5EF4-FFF2-40B4-BE49-F238E27FC236}">
                    <a16:creationId xmlns:a16="http://schemas.microsoft.com/office/drawing/2014/main" id="{B91C03DB-41D5-411D-9112-723E3D55CCF8}"/>
                  </a:ext>
                </a:extLst>
              </p:cNvPr>
              <p:cNvSpPr/>
              <p:nvPr/>
            </p:nvSpPr>
            <p:spPr bwMode="auto">
              <a:xfrm>
                <a:off x="3994151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şḷîḑé">
                <a:extLst>
                  <a:ext uri="{FF2B5EF4-FFF2-40B4-BE49-F238E27FC236}">
                    <a16:creationId xmlns:a16="http://schemas.microsoft.com/office/drawing/2014/main" id="{1A8814D1-90D0-41A9-95F1-EF15068F7265}"/>
                  </a:ext>
                </a:extLst>
              </p:cNvPr>
              <p:cNvSpPr/>
              <p:nvPr/>
            </p:nvSpPr>
            <p:spPr bwMode="auto">
              <a:xfrm>
                <a:off x="4046538" y="3473450"/>
                <a:ext cx="11271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šḻiďè">
                <a:extLst>
                  <a:ext uri="{FF2B5EF4-FFF2-40B4-BE49-F238E27FC236}">
                    <a16:creationId xmlns:a16="http://schemas.microsoft.com/office/drawing/2014/main" id="{E8A38DB5-A10F-4379-A21E-B7CA26B6D036}"/>
                  </a:ext>
                </a:extLst>
              </p:cNvPr>
              <p:cNvSpPr/>
              <p:nvPr/>
            </p:nvSpPr>
            <p:spPr bwMode="auto">
              <a:xfrm>
                <a:off x="3979863" y="3473450"/>
                <a:ext cx="793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iṣļiḓé">
                <a:extLst>
                  <a:ext uri="{FF2B5EF4-FFF2-40B4-BE49-F238E27FC236}">
                    <a16:creationId xmlns:a16="http://schemas.microsoft.com/office/drawing/2014/main" id="{855BBCE7-8C40-4DF7-B611-C8471F685D89}"/>
                  </a:ext>
                </a:extLst>
              </p:cNvPr>
              <p:cNvSpPr/>
              <p:nvPr/>
            </p:nvSpPr>
            <p:spPr bwMode="auto">
              <a:xfrm>
                <a:off x="3838576" y="3473450"/>
                <a:ext cx="63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ŝļîde">
                <a:extLst>
                  <a:ext uri="{FF2B5EF4-FFF2-40B4-BE49-F238E27FC236}">
                    <a16:creationId xmlns:a16="http://schemas.microsoft.com/office/drawing/2014/main" id="{BB8BAC21-B57B-404C-8E03-8B73587DD0BD}"/>
                  </a:ext>
                </a:extLst>
              </p:cNvPr>
              <p:cNvSpPr/>
              <p:nvPr/>
            </p:nvSpPr>
            <p:spPr bwMode="auto">
              <a:xfrm>
                <a:off x="3851276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îšľïḓè">
                <a:extLst>
                  <a:ext uri="{FF2B5EF4-FFF2-40B4-BE49-F238E27FC236}">
                    <a16:creationId xmlns:a16="http://schemas.microsoft.com/office/drawing/2014/main" id="{DF22D933-6E64-4BD8-8E02-FEED280F0972}"/>
                  </a:ext>
                </a:extLst>
              </p:cNvPr>
              <p:cNvSpPr/>
              <p:nvPr/>
            </p:nvSpPr>
            <p:spPr bwMode="auto">
              <a:xfrm>
                <a:off x="3817938" y="3384550"/>
                <a:ext cx="26988" cy="15875"/>
              </a:xfrm>
              <a:custGeom>
                <a:avLst/>
                <a:gdLst>
                  <a:gd name="T0" fmla="*/ 7 w 8"/>
                  <a:gd name="T1" fmla="*/ 0 h 5"/>
                  <a:gd name="T2" fmla="*/ 8 w 8"/>
                  <a:gd name="T3" fmla="*/ 2 h 5"/>
                  <a:gd name="T4" fmla="*/ 1 w 8"/>
                  <a:gd name="T5" fmla="*/ 5 h 5"/>
                  <a:gd name="T6" fmla="*/ 7 w 8"/>
                  <a:gd name="T7" fmla="*/ 0 h 5"/>
                  <a:gd name="T8" fmla="*/ 7 w 8"/>
                  <a:gd name="T9" fmla="*/ 0 h 5"/>
                  <a:gd name="T10" fmla="*/ 7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7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2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ŝḷïďè">
                <a:extLst>
                  <a:ext uri="{FF2B5EF4-FFF2-40B4-BE49-F238E27FC236}">
                    <a16:creationId xmlns:a16="http://schemas.microsoft.com/office/drawing/2014/main" id="{06128F65-EC85-4A78-A5B3-E176C1AB7C63}"/>
                  </a:ext>
                </a:extLst>
              </p:cNvPr>
              <p:cNvSpPr/>
              <p:nvPr/>
            </p:nvSpPr>
            <p:spPr bwMode="auto">
              <a:xfrm>
                <a:off x="3983038" y="3384550"/>
                <a:ext cx="26988" cy="15875"/>
              </a:xfrm>
              <a:custGeom>
                <a:avLst/>
                <a:gdLst>
                  <a:gd name="T0" fmla="*/ 1 w 8"/>
                  <a:gd name="T1" fmla="*/ 0 h 5"/>
                  <a:gd name="T2" fmla="*/ 0 w 8"/>
                  <a:gd name="T3" fmla="*/ 2 h 5"/>
                  <a:gd name="T4" fmla="*/ 7 w 8"/>
                  <a:gd name="T5" fmla="*/ 5 h 5"/>
                  <a:gd name="T6" fmla="*/ 1 w 8"/>
                  <a:gd name="T7" fmla="*/ 0 h 5"/>
                  <a:gd name="T8" fmla="*/ 1 w 8"/>
                  <a:gd name="T9" fmla="*/ 0 h 5"/>
                  <a:gd name="T10" fmla="*/ 1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8" y="2"/>
                      <a:pt x="1" y="0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şlîḍé">
                <a:extLst>
                  <a:ext uri="{FF2B5EF4-FFF2-40B4-BE49-F238E27FC236}">
                    <a16:creationId xmlns:a16="http://schemas.microsoft.com/office/drawing/2014/main" id="{11B13B21-2637-4264-8990-84C64310C717}"/>
                  </a:ext>
                </a:extLst>
              </p:cNvPr>
              <p:cNvSpPr/>
              <p:nvPr/>
            </p:nvSpPr>
            <p:spPr bwMode="auto">
              <a:xfrm>
                <a:off x="3884613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ïśľïďè">
                <a:extLst>
                  <a:ext uri="{FF2B5EF4-FFF2-40B4-BE49-F238E27FC236}">
                    <a16:creationId xmlns:a16="http://schemas.microsoft.com/office/drawing/2014/main" id="{CD855027-051B-4AF7-8AF1-D601E99C2852}"/>
                  </a:ext>
                </a:extLst>
              </p:cNvPr>
              <p:cNvSpPr/>
              <p:nvPr/>
            </p:nvSpPr>
            <p:spPr bwMode="auto">
              <a:xfrm>
                <a:off x="3917951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iṥḷíḑé">
                <a:extLst>
                  <a:ext uri="{FF2B5EF4-FFF2-40B4-BE49-F238E27FC236}">
                    <a16:creationId xmlns:a16="http://schemas.microsoft.com/office/drawing/2014/main" id="{413C7B41-CF95-471C-9021-D4EC24F94615}"/>
                  </a:ext>
                </a:extLst>
              </p:cNvPr>
              <p:cNvSpPr/>
              <p:nvPr/>
            </p:nvSpPr>
            <p:spPr bwMode="auto">
              <a:xfrm>
                <a:off x="3951288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iSḷîdê">
                <a:extLst>
                  <a:ext uri="{FF2B5EF4-FFF2-40B4-BE49-F238E27FC236}">
                    <a16:creationId xmlns:a16="http://schemas.microsoft.com/office/drawing/2014/main" id="{93050161-CAEB-4010-8C7C-3CD42C9D7426}"/>
                  </a:ext>
                </a:extLst>
              </p:cNvPr>
              <p:cNvSpPr/>
              <p:nvPr/>
            </p:nvSpPr>
            <p:spPr bwMode="auto">
              <a:xfrm>
                <a:off x="3771901" y="3484563"/>
                <a:ext cx="7938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iṩ1îḋe">
                <a:extLst>
                  <a:ext uri="{FF2B5EF4-FFF2-40B4-BE49-F238E27FC236}">
                    <a16:creationId xmlns:a16="http://schemas.microsoft.com/office/drawing/2014/main" id="{52365DF2-02FF-4B11-93A1-7FB53F3F8B53}"/>
                  </a:ext>
                </a:extLst>
              </p:cNvPr>
              <p:cNvSpPr/>
              <p:nvPr/>
            </p:nvSpPr>
            <p:spPr bwMode="auto">
              <a:xfrm>
                <a:off x="3786188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20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20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î$ļíḓé">
                <a:extLst>
                  <a:ext uri="{FF2B5EF4-FFF2-40B4-BE49-F238E27FC236}">
                    <a16:creationId xmlns:a16="http://schemas.microsoft.com/office/drawing/2014/main" id="{96E96F0C-071C-4922-9BFC-1FBD066CC8A7}"/>
                  </a:ext>
                </a:extLst>
              </p:cNvPr>
              <p:cNvSpPr/>
              <p:nvPr/>
            </p:nvSpPr>
            <p:spPr bwMode="auto">
              <a:xfrm>
                <a:off x="3994151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18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18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slïḓê">
                <a:extLst>
                  <a:ext uri="{FF2B5EF4-FFF2-40B4-BE49-F238E27FC236}">
                    <a16:creationId xmlns:a16="http://schemas.microsoft.com/office/drawing/2014/main" id="{232987E2-F331-4B8B-9C5D-387652BFBA99}"/>
                  </a:ext>
                </a:extLst>
              </p:cNvPr>
              <p:cNvSpPr/>
              <p:nvPr/>
            </p:nvSpPr>
            <p:spPr bwMode="auto">
              <a:xfrm>
                <a:off x="3851276" y="3484563"/>
                <a:ext cx="122238" cy="60325"/>
              </a:xfrm>
              <a:custGeom>
                <a:avLst/>
                <a:gdLst>
                  <a:gd name="T0" fmla="*/ 9 w 77"/>
                  <a:gd name="T1" fmla="*/ 0 h 38"/>
                  <a:gd name="T2" fmla="*/ 69 w 77"/>
                  <a:gd name="T3" fmla="*/ 0 h 38"/>
                  <a:gd name="T4" fmla="*/ 77 w 77"/>
                  <a:gd name="T5" fmla="*/ 8 h 38"/>
                  <a:gd name="T6" fmla="*/ 77 w 77"/>
                  <a:gd name="T7" fmla="*/ 38 h 38"/>
                  <a:gd name="T8" fmla="*/ 0 w 77"/>
                  <a:gd name="T9" fmla="*/ 38 h 38"/>
                  <a:gd name="T10" fmla="*/ 0 w 77"/>
                  <a:gd name="T11" fmla="*/ 8 h 38"/>
                  <a:gd name="T12" fmla="*/ 9 w 77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38">
                    <a:moveTo>
                      <a:pt x="9" y="0"/>
                    </a:moveTo>
                    <a:lnTo>
                      <a:pt x="69" y="0"/>
                    </a:lnTo>
                    <a:lnTo>
                      <a:pt x="77" y="8"/>
                    </a:lnTo>
                    <a:lnTo>
                      <a:pt x="77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ŝḻiḓè">
                <a:extLst>
                  <a:ext uri="{FF2B5EF4-FFF2-40B4-BE49-F238E27FC236}">
                    <a16:creationId xmlns:a16="http://schemas.microsoft.com/office/drawing/2014/main" id="{2470897C-F892-49F6-8EE7-77FFE86AC0B9}"/>
                  </a:ext>
                </a:extLst>
              </p:cNvPr>
              <p:cNvSpPr/>
              <p:nvPr/>
            </p:nvSpPr>
            <p:spPr bwMode="auto">
              <a:xfrm>
                <a:off x="4046538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îṩ1iḑê">
                <a:extLst>
                  <a:ext uri="{FF2B5EF4-FFF2-40B4-BE49-F238E27FC236}">
                    <a16:creationId xmlns:a16="http://schemas.microsoft.com/office/drawing/2014/main" id="{397BBDF1-1D63-4173-9C1A-6D590A9803A6}"/>
                  </a:ext>
                </a:extLst>
              </p:cNvPr>
              <p:cNvSpPr/>
              <p:nvPr/>
            </p:nvSpPr>
            <p:spPr bwMode="auto">
              <a:xfrm>
                <a:off x="3838576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íṥḻíḍê">
                <a:extLst>
                  <a:ext uri="{FF2B5EF4-FFF2-40B4-BE49-F238E27FC236}">
                    <a16:creationId xmlns:a16="http://schemas.microsoft.com/office/drawing/2014/main" id="{91C06A46-3604-4AC5-8A64-A7CDD2E5B519}"/>
                  </a:ext>
                </a:extLst>
              </p:cNvPr>
              <p:cNvSpPr/>
              <p:nvPr/>
            </p:nvSpPr>
            <p:spPr bwMode="auto">
              <a:xfrm>
                <a:off x="3979863" y="3484563"/>
                <a:ext cx="3175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ś1iḋé">
                <a:extLst>
                  <a:ext uri="{FF2B5EF4-FFF2-40B4-BE49-F238E27FC236}">
                    <a16:creationId xmlns:a16="http://schemas.microsoft.com/office/drawing/2014/main" id="{026D9F62-9BC5-4695-8D73-D4FAC48BEAB6}"/>
                  </a:ext>
                </a:extLst>
              </p:cNvPr>
              <p:cNvSpPr/>
              <p:nvPr/>
            </p:nvSpPr>
            <p:spPr bwMode="auto">
              <a:xfrm>
                <a:off x="3811588" y="3551238"/>
                <a:ext cx="2047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îṧḷïdè">
                <a:extLst>
                  <a:ext uri="{FF2B5EF4-FFF2-40B4-BE49-F238E27FC236}">
                    <a16:creationId xmlns:a16="http://schemas.microsoft.com/office/drawing/2014/main" id="{02612D81-5CFE-4AA5-A760-8BBA9418F9FD}"/>
                  </a:ext>
                </a:extLst>
              </p:cNvPr>
              <p:cNvSpPr/>
              <p:nvPr/>
            </p:nvSpPr>
            <p:spPr bwMode="auto">
              <a:xfrm>
                <a:off x="3805238" y="3557588"/>
                <a:ext cx="214313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ślïďè">
                <a:extLst>
                  <a:ext uri="{FF2B5EF4-FFF2-40B4-BE49-F238E27FC236}">
                    <a16:creationId xmlns:a16="http://schemas.microsoft.com/office/drawing/2014/main" id="{7B684E7B-F3B7-4FB0-9D24-34B1C6AE8253}"/>
                  </a:ext>
                </a:extLst>
              </p:cNvPr>
              <p:cNvSpPr/>
              <p:nvPr/>
            </p:nvSpPr>
            <p:spPr bwMode="auto">
              <a:xfrm>
                <a:off x="3802063" y="3567113"/>
                <a:ext cx="220663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ïSḷïḓê">
                <a:extLst>
                  <a:ext uri="{FF2B5EF4-FFF2-40B4-BE49-F238E27FC236}">
                    <a16:creationId xmlns:a16="http://schemas.microsoft.com/office/drawing/2014/main" id="{20097A51-D747-4691-8B24-4AFA4A71D7D5}"/>
                  </a:ext>
                </a:extLst>
              </p:cNvPr>
              <p:cNvSpPr/>
              <p:nvPr/>
            </p:nvSpPr>
            <p:spPr bwMode="auto">
              <a:xfrm>
                <a:off x="3802063" y="3570288"/>
                <a:ext cx="2238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iṣļîďe">
                <a:extLst>
                  <a:ext uri="{FF2B5EF4-FFF2-40B4-BE49-F238E27FC236}">
                    <a16:creationId xmlns:a16="http://schemas.microsoft.com/office/drawing/2014/main" id="{D47415E3-27F8-43A0-A297-DD8D4013C934}"/>
                  </a:ext>
                </a:extLst>
              </p:cNvPr>
              <p:cNvSpPr/>
              <p:nvPr/>
            </p:nvSpPr>
            <p:spPr bwMode="auto">
              <a:xfrm>
                <a:off x="3795713" y="3581400"/>
                <a:ext cx="234950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ŝḷíḍè">
                <a:extLst>
                  <a:ext uri="{FF2B5EF4-FFF2-40B4-BE49-F238E27FC236}">
                    <a16:creationId xmlns:a16="http://schemas.microsoft.com/office/drawing/2014/main" id="{D77751ED-E808-4FF4-87CC-75BDE7C56F99}"/>
                  </a:ext>
                </a:extLst>
              </p:cNvPr>
              <p:cNvSpPr/>
              <p:nvPr/>
            </p:nvSpPr>
            <p:spPr bwMode="auto">
              <a:xfrm>
                <a:off x="3633788" y="3587750"/>
                <a:ext cx="560388" cy="6350"/>
              </a:xfrm>
              <a:custGeom>
                <a:avLst/>
                <a:gdLst>
                  <a:gd name="T0" fmla="*/ 0 w 353"/>
                  <a:gd name="T1" fmla="*/ 0 h 4"/>
                  <a:gd name="T2" fmla="*/ 353 w 353"/>
                  <a:gd name="T3" fmla="*/ 0 h 4"/>
                  <a:gd name="T4" fmla="*/ 351 w 353"/>
                  <a:gd name="T5" fmla="*/ 4 h 4"/>
                  <a:gd name="T6" fmla="*/ 2 w 353"/>
                  <a:gd name="T7" fmla="*/ 4 h 4"/>
                  <a:gd name="T8" fmla="*/ 0 w 35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3" h="4">
                    <a:moveTo>
                      <a:pt x="0" y="0"/>
                    </a:moveTo>
                    <a:lnTo>
                      <a:pt x="353" y="0"/>
                    </a:lnTo>
                    <a:lnTo>
                      <a:pt x="351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ïṥľíḑê">
                <a:extLst>
                  <a:ext uri="{FF2B5EF4-FFF2-40B4-BE49-F238E27FC236}">
                    <a16:creationId xmlns:a16="http://schemas.microsoft.com/office/drawing/2014/main" id="{4642BCEF-EAAA-4965-898A-D5CF4C967BB7}"/>
                  </a:ext>
                </a:extLst>
              </p:cNvPr>
              <p:cNvSpPr/>
              <p:nvPr/>
            </p:nvSpPr>
            <p:spPr bwMode="auto">
              <a:xfrm>
                <a:off x="3640138" y="3600450"/>
                <a:ext cx="547688" cy="6350"/>
              </a:xfrm>
              <a:custGeom>
                <a:avLst/>
                <a:gdLst>
                  <a:gd name="T0" fmla="*/ 0 w 345"/>
                  <a:gd name="T1" fmla="*/ 0 h 4"/>
                  <a:gd name="T2" fmla="*/ 345 w 345"/>
                  <a:gd name="T3" fmla="*/ 0 h 4"/>
                  <a:gd name="T4" fmla="*/ 343 w 345"/>
                  <a:gd name="T5" fmla="*/ 4 h 4"/>
                  <a:gd name="T6" fmla="*/ 2 w 345"/>
                  <a:gd name="T7" fmla="*/ 4 h 4"/>
                  <a:gd name="T8" fmla="*/ 0 w 34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5" h="4">
                    <a:moveTo>
                      <a:pt x="0" y="0"/>
                    </a:moveTo>
                    <a:lnTo>
                      <a:pt x="345" y="0"/>
                    </a:lnTo>
                    <a:lnTo>
                      <a:pt x="343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îṧľîḓè">
                <a:extLst>
                  <a:ext uri="{FF2B5EF4-FFF2-40B4-BE49-F238E27FC236}">
                    <a16:creationId xmlns:a16="http://schemas.microsoft.com/office/drawing/2014/main" id="{4BD659AB-A262-4033-AF0B-E3CE2EBDB956}"/>
                  </a:ext>
                </a:extLst>
              </p:cNvPr>
              <p:cNvSpPr/>
              <p:nvPr/>
            </p:nvSpPr>
            <p:spPr bwMode="auto">
              <a:xfrm>
                <a:off x="3736976" y="3406775"/>
                <a:ext cx="352425" cy="4763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ṥḷîḑè">
                <a:extLst>
                  <a:ext uri="{FF2B5EF4-FFF2-40B4-BE49-F238E27FC236}">
                    <a16:creationId xmlns:a16="http://schemas.microsoft.com/office/drawing/2014/main" id="{C6A19949-F954-480B-B809-F48FE460BBDD}"/>
                  </a:ext>
                </a:extLst>
              </p:cNvPr>
              <p:cNvSpPr/>
              <p:nvPr/>
            </p:nvSpPr>
            <p:spPr bwMode="auto">
              <a:xfrm>
                <a:off x="3746501" y="3417888"/>
                <a:ext cx="333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ŝļidé">
                <a:extLst>
                  <a:ext uri="{FF2B5EF4-FFF2-40B4-BE49-F238E27FC236}">
                    <a16:creationId xmlns:a16="http://schemas.microsoft.com/office/drawing/2014/main" id="{6F6D69B9-5C93-4079-B0E6-28612C05F76D}"/>
                  </a:ext>
                </a:extLst>
              </p:cNvPr>
              <p:cNvSpPr/>
              <p:nvPr/>
            </p:nvSpPr>
            <p:spPr bwMode="auto">
              <a:xfrm>
                <a:off x="3805238" y="3417888"/>
                <a:ext cx="211138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şḻîdè">
                <a:extLst>
                  <a:ext uri="{FF2B5EF4-FFF2-40B4-BE49-F238E27FC236}">
                    <a16:creationId xmlns:a16="http://schemas.microsoft.com/office/drawing/2014/main" id="{BB638E64-98D0-4A85-A28F-FC9F6E869E70}"/>
                  </a:ext>
                </a:extLst>
              </p:cNvPr>
              <p:cNvSpPr/>
              <p:nvPr/>
            </p:nvSpPr>
            <p:spPr bwMode="auto">
              <a:xfrm>
                <a:off x="3811588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šḻïdè">
                <a:extLst>
                  <a:ext uri="{FF2B5EF4-FFF2-40B4-BE49-F238E27FC236}">
                    <a16:creationId xmlns:a16="http://schemas.microsoft.com/office/drawing/2014/main" id="{8AE464BF-0C1C-4581-B276-8ED29151561D}"/>
                  </a:ext>
                </a:extLst>
              </p:cNvPr>
              <p:cNvSpPr/>
              <p:nvPr/>
            </p:nvSpPr>
            <p:spPr bwMode="auto">
              <a:xfrm>
                <a:off x="3802063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ṥļîḋê">
                <a:extLst>
                  <a:ext uri="{FF2B5EF4-FFF2-40B4-BE49-F238E27FC236}">
                    <a16:creationId xmlns:a16="http://schemas.microsoft.com/office/drawing/2014/main" id="{DD5F622B-16A0-4197-A679-9E16EF65E7AB}"/>
                  </a:ext>
                </a:extLst>
              </p:cNvPr>
              <p:cNvSpPr/>
              <p:nvPr/>
            </p:nvSpPr>
            <p:spPr bwMode="auto">
              <a:xfrm>
                <a:off x="3789363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ṡḻídè">
                <a:extLst>
                  <a:ext uri="{FF2B5EF4-FFF2-40B4-BE49-F238E27FC236}">
                    <a16:creationId xmlns:a16="http://schemas.microsoft.com/office/drawing/2014/main" id="{6B88A730-D7AD-455E-8CD3-DA910932FCBE}"/>
                  </a:ext>
                </a:extLst>
              </p:cNvPr>
              <p:cNvSpPr/>
              <p:nvPr/>
            </p:nvSpPr>
            <p:spPr bwMode="auto">
              <a:xfrm>
                <a:off x="3822701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îś1íḋé">
                <a:extLst>
                  <a:ext uri="{FF2B5EF4-FFF2-40B4-BE49-F238E27FC236}">
                    <a16:creationId xmlns:a16="http://schemas.microsoft.com/office/drawing/2014/main" id="{CFB35ECF-0676-40FB-BCCC-238E9DBB6080}"/>
                  </a:ext>
                </a:extLst>
              </p:cNvPr>
              <p:cNvSpPr/>
              <p:nvPr/>
            </p:nvSpPr>
            <p:spPr bwMode="auto">
              <a:xfrm>
                <a:off x="38322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ïṣľïḋé">
                <a:extLst>
                  <a:ext uri="{FF2B5EF4-FFF2-40B4-BE49-F238E27FC236}">
                    <a16:creationId xmlns:a16="http://schemas.microsoft.com/office/drawing/2014/main" id="{DDFE92BA-9B8B-4E50-9163-E9F020A18E46}"/>
                  </a:ext>
                </a:extLst>
              </p:cNvPr>
              <p:cNvSpPr/>
              <p:nvPr/>
            </p:nvSpPr>
            <p:spPr bwMode="auto">
              <a:xfrm>
                <a:off x="38449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iSḷiďê">
                <a:extLst>
                  <a:ext uri="{FF2B5EF4-FFF2-40B4-BE49-F238E27FC236}">
                    <a16:creationId xmlns:a16="http://schemas.microsoft.com/office/drawing/2014/main" id="{7503E8C4-F87B-4725-854A-39BF6D73F5F6}"/>
                  </a:ext>
                </a:extLst>
              </p:cNvPr>
              <p:cNvSpPr/>
              <p:nvPr/>
            </p:nvSpPr>
            <p:spPr bwMode="auto">
              <a:xfrm>
                <a:off x="3854451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íšľíḑe">
                <a:extLst>
                  <a:ext uri="{FF2B5EF4-FFF2-40B4-BE49-F238E27FC236}">
                    <a16:creationId xmlns:a16="http://schemas.microsoft.com/office/drawing/2014/main" id="{80327236-A81D-4AA2-B42E-AB9F0237E04F}"/>
                  </a:ext>
                </a:extLst>
              </p:cNvPr>
              <p:cNvSpPr/>
              <p:nvPr/>
            </p:nvSpPr>
            <p:spPr bwMode="auto">
              <a:xfrm>
                <a:off x="386556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ïṩľîḓé">
                <a:extLst>
                  <a:ext uri="{FF2B5EF4-FFF2-40B4-BE49-F238E27FC236}">
                    <a16:creationId xmlns:a16="http://schemas.microsoft.com/office/drawing/2014/main" id="{72EC3CD1-7BCD-4F2E-89E1-0B27E72BD63C}"/>
                  </a:ext>
                </a:extLst>
              </p:cNvPr>
              <p:cNvSpPr/>
              <p:nvPr/>
            </p:nvSpPr>
            <p:spPr bwMode="auto">
              <a:xfrm>
                <a:off x="3878263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ṧḻîďê">
                <a:extLst>
                  <a:ext uri="{FF2B5EF4-FFF2-40B4-BE49-F238E27FC236}">
                    <a16:creationId xmlns:a16="http://schemas.microsoft.com/office/drawing/2014/main" id="{6AA99438-24EB-49EB-BF7F-C981DD88A4BE}"/>
                  </a:ext>
                </a:extLst>
              </p:cNvPr>
              <p:cNvSpPr/>
              <p:nvPr/>
            </p:nvSpPr>
            <p:spPr bwMode="auto">
              <a:xfrm>
                <a:off x="38877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ṡļíďè">
                <a:extLst>
                  <a:ext uri="{FF2B5EF4-FFF2-40B4-BE49-F238E27FC236}">
                    <a16:creationId xmlns:a16="http://schemas.microsoft.com/office/drawing/2014/main" id="{86B60EAC-E1F5-412F-846F-40581F59FDDD}"/>
                  </a:ext>
                </a:extLst>
              </p:cNvPr>
              <p:cNvSpPr/>
              <p:nvPr/>
            </p:nvSpPr>
            <p:spPr bwMode="auto">
              <a:xfrm>
                <a:off x="3897313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ïşlïḓè">
                <a:extLst>
                  <a:ext uri="{FF2B5EF4-FFF2-40B4-BE49-F238E27FC236}">
                    <a16:creationId xmlns:a16="http://schemas.microsoft.com/office/drawing/2014/main" id="{C250B86B-2945-4C51-A816-E148110B8430}"/>
                  </a:ext>
                </a:extLst>
              </p:cNvPr>
              <p:cNvSpPr/>
              <p:nvPr/>
            </p:nvSpPr>
            <p:spPr bwMode="auto">
              <a:xfrm>
                <a:off x="39084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iṩľïďe">
                <a:extLst>
                  <a:ext uri="{FF2B5EF4-FFF2-40B4-BE49-F238E27FC236}">
                    <a16:creationId xmlns:a16="http://schemas.microsoft.com/office/drawing/2014/main" id="{64C36250-7EA8-480A-B32C-B666204BF493}"/>
                  </a:ext>
                </a:extLst>
              </p:cNvPr>
              <p:cNvSpPr/>
              <p:nvPr/>
            </p:nvSpPr>
            <p:spPr bwMode="auto">
              <a:xfrm>
                <a:off x="39211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ïsļïḑé">
                <a:extLst>
                  <a:ext uri="{FF2B5EF4-FFF2-40B4-BE49-F238E27FC236}">
                    <a16:creationId xmlns:a16="http://schemas.microsoft.com/office/drawing/2014/main" id="{57806A63-F62D-454A-B3CB-56EA53A7436D}"/>
                  </a:ext>
                </a:extLst>
              </p:cNvPr>
              <p:cNvSpPr/>
              <p:nvPr/>
            </p:nvSpPr>
            <p:spPr bwMode="auto">
              <a:xfrm>
                <a:off x="3930651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iṡḻîḋè">
                <a:extLst>
                  <a:ext uri="{FF2B5EF4-FFF2-40B4-BE49-F238E27FC236}">
                    <a16:creationId xmlns:a16="http://schemas.microsoft.com/office/drawing/2014/main" id="{C16F6F28-277B-409B-B0B1-93DE242F4C54}"/>
                  </a:ext>
                </a:extLst>
              </p:cNvPr>
              <p:cNvSpPr/>
              <p:nvPr/>
            </p:nvSpPr>
            <p:spPr bwMode="auto">
              <a:xfrm>
                <a:off x="3940176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îṩ1ïḓé">
                <a:extLst>
                  <a:ext uri="{FF2B5EF4-FFF2-40B4-BE49-F238E27FC236}">
                    <a16:creationId xmlns:a16="http://schemas.microsoft.com/office/drawing/2014/main" id="{77C27CD5-89A0-49E3-B5F6-EAEB3648A0F3}"/>
                  </a:ext>
                </a:extLst>
              </p:cNvPr>
              <p:cNvSpPr/>
              <p:nvPr/>
            </p:nvSpPr>
            <p:spPr bwMode="auto">
              <a:xfrm>
                <a:off x="3951288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2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íş1ïḑé">
                <a:extLst>
                  <a:ext uri="{FF2B5EF4-FFF2-40B4-BE49-F238E27FC236}">
                    <a16:creationId xmlns:a16="http://schemas.microsoft.com/office/drawing/2014/main" id="{F04ED015-494D-4445-A5A1-BD0E64AAD195}"/>
                  </a:ext>
                </a:extLst>
              </p:cNvPr>
              <p:cNvSpPr/>
              <p:nvPr/>
            </p:nvSpPr>
            <p:spPr bwMode="auto">
              <a:xfrm>
                <a:off x="39639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ïšḷiḋè">
                <a:extLst>
                  <a:ext uri="{FF2B5EF4-FFF2-40B4-BE49-F238E27FC236}">
                    <a16:creationId xmlns:a16="http://schemas.microsoft.com/office/drawing/2014/main" id="{3F9557C6-454F-4BB8-9BC6-CE8B069EA18F}"/>
                  </a:ext>
                </a:extLst>
              </p:cNvPr>
              <p:cNvSpPr/>
              <p:nvPr/>
            </p:nvSpPr>
            <p:spPr bwMode="auto">
              <a:xfrm>
                <a:off x="397351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íŝḷïḑê">
                <a:extLst>
                  <a:ext uri="{FF2B5EF4-FFF2-40B4-BE49-F238E27FC236}">
                    <a16:creationId xmlns:a16="http://schemas.microsoft.com/office/drawing/2014/main" id="{45B5591D-C90A-4697-8908-37F88406D0B9}"/>
                  </a:ext>
                </a:extLst>
              </p:cNvPr>
              <p:cNvSpPr/>
              <p:nvPr/>
            </p:nvSpPr>
            <p:spPr bwMode="auto">
              <a:xfrm>
                <a:off x="3983038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iśḷïdè">
                <a:extLst>
                  <a:ext uri="{FF2B5EF4-FFF2-40B4-BE49-F238E27FC236}">
                    <a16:creationId xmlns:a16="http://schemas.microsoft.com/office/drawing/2014/main" id="{CE3B56CB-B56D-4D61-8260-F18C2D756F65}"/>
                  </a:ext>
                </a:extLst>
              </p:cNvPr>
              <p:cNvSpPr/>
              <p:nvPr/>
            </p:nvSpPr>
            <p:spPr bwMode="auto">
              <a:xfrm>
                <a:off x="39973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sḷïḋè">
                <a:extLst>
                  <a:ext uri="{FF2B5EF4-FFF2-40B4-BE49-F238E27FC236}">
                    <a16:creationId xmlns:a16="http://schemas.microsoft.com/office/drawing/2014/main" id="{5FF47DC9-D5FB-4CA2-B6E3-157233463F4A}"/>
                  </a:ext>
                </a:extLst>
              </p:cNvPr>
              <p:cNvSpPr/>
              <p:nvPr/>
            </p:nvSpPr>
            <p:spPr bwMode="auto">
              <a:xfrm>
                <a:off x="4006851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śļïḓe">
                <a:extLst>
                  <a:ext uri="{FF2B5EF4-FFF2-40B4-BE49-F238E27FC236}">
                    <a16:creationId xmlns:a16="http://schemas.microsoft.com/office/drawing/2014/main" id="{B0FA4430-C8A4-4690-A379-97F96828F648}"/>
                  </a:ext>
                </a:extLst>
              </p:cNvPr>
              <p:cNvSpPr/>
              <p:nvPr/>
            </p:nvSpPr>
            <p:spPr bwMode="auto">
              <a:xfrm>
                <a:off x="4016376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iSļïdé">
                <a:extLst>
                  <a:ext uri="{FF2B5EF4-FFF2-40B4-BE49-F238E27FC236}">
                    <a16:creationId xmlns:a16="http://schemas.microsoft.com/office/drawing/2014/main" id="{1B0C39B0-DA76-46B6-A265-46D80EAC9EC3}"/>
                  </a:ext>
                </a:extLst>
              </p:cNvPr>
              <p:cNvSpPr/>
              <p:nvPr/>
            </p:nvSpPr>
            <p:spPr bwMode="auto">
              <a:xfrm>
                <a:off x="4025901" y="3421063"/>
                <a:ext cx="7938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ï$1îḍé">
                <a:extLst>
                  <a:ext uri="{FF2B5EF4-FFF2-40B4-BE49-F238E27FC236}">
                    <a16:creationId xmlns:a16="http://schemas.microsoft.com/office/drawing/2014/main" id="{92B32245-C835-4D46-B225-A389462BEBCB}"/>
                  </a:ext>
                </a:extLst>
              </p:cNvPr>
              <p:cNvSpPr/>
              <p:nvPr/>
            </p:nvSpPr>
            <p:spPr bwMode="auto">
              <a:xfrm>
                <a:off x="4040188" y="3417888"/>
                <a:ext cx="396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îšḷiḓè">
                <a:extLst>
                  <a:ext uri="{FF2B5EF4-FFF2-40B4-BE49-F238E27FC236}">
                    <a16:creationId xmlns:a16="http://schemas.microsoft.com/office/drawing/2014/main" id="{28D1FDA4-65FC-489D-B79B-85C7FAF7957C}"/>
                  </a:ext>
                </a:extLst>
              </p:cNvPr>
              <p:cNvSpPr/>
              <p:nvPr/>
            </p:nvSpPr>
            <p:spPr bwMode="auto">
              <a:xfrm>
                <a:off x="3679826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ïṡḻîḍè">
                <a:extLst>
                  <a:ext uri="{FF2B5EF4-FFF2-40B4-BE49-F238E27FC236}">
                    <a16:creationId xmlns:a16="http://schemas.microsoft.com/office/drawing/2014/main" id="{7DD09808-90BC-462D-9495-B9F70FEA7E41}"/>
                  </a:ext>
                </a:extLst>
              </p:cNvPr>
              <p:cNvSpPr/>
              <p:nvPr/>
            </p:nvSpPr>
            <p:spPr bwMode="auto">
              <a:xfrm>
                <a:off x="3884613" y="3490913"/>
                <a:ext cx="55563" cy="53975"/>
              </a:xfrm>
              <a:custGeom>
                <a:avLst/>
                <a:gdLst>
                  <a:gd name="T0" fmla="*/ 0 w 35"/>
                  <a:gd name="T1" fmla="*/ 0 h 34"/>
                  <a:gd name="T2" fmla="*/ 35 w 35"/>
                  <a:gd name="T3" fmla="*/ 0 h 34"/>
                  <a:gd name="T4" fmla="*/ 35 w 35"/>
                  <a:gd name="T5" fmla="*/ 34 h 34"/>
                  <a:gd name="T6" fmla="*/ 0 w 35"/>
                  <a:gd name="T7" fmla="*/ 34 h 34"/>
                  <a:gd name="T8" fmla="*/ 0 w 35"/>
                  <a:gd name="T9" fmla="*/ 0 h 34"/>
                  <a:gd name="T10" fmla="*/ 0 w 35"/>
                  <a:gd name="T11" fmla="*/ 0 h 34"/>
                  <a:gd name="T12" fmla="*/ 4 w 35"/>
                  <a:gd name="T13" fmla="*/ 8 h 34"/>
                  <a:gd name="T14" fmla="*/ 4 w 35"/>
                  <a:gd name="T15" fmla="*/ 27 h 34"/>
                  <a:gd name="T16" fmla="*/ 8 w 35"/>
                  <a:gd name="T17" fmla="*/ 27 h 34"/>
                  <a:gd name="T18" fmla="*/ 8 w 35"/>
                  <a:gd name="T19" fmla="*/ 8 h 34"/>
                  <a:gd name="T20" fmla="*/ 4 w 35"/>
                  <a:gd name="T21" fmla="*/ 8 h 34"/>
                  <a:gd name="T22" fmla="*/ 4 w 35"/>
                  <a:gd name="T23" fmla="*/ 8 h 34"/>
                  <a:gd name="T24" fmla="*/ 29 w 35"/>
                  <a:gd name="T25" fmla="*/ 8 h 34"/>
                  <a:gd name="T26" fmla="*/ 29 w 35"/>
                  <a:gd name="T27" fmla="*/ 27 h 34"/>
                  <a:gd name="T28" fmla="*/ 31 w 35"/>
                  <a:gd name="T29" fmla="*/ 27 h 34"/>
                  <a:gd name="T30" fmla="*/ 31 w 35"/>
                  <a:gd name="T31" fmla="*/ 8 h 34"/>
                  <a:gd name="T32" fmla="*/ 29 w 35"/>
                  <a:gd name="T33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4">
                    <a:moveTo>
                      <a:pt x="0" y="0"/>
                    </a:moveTo>
                    <a:lnTo>
                      <a:pt x="35" y="0"/>
                    </a:lnTo>
                    <a:lnTo>
                      <a:pt x="35" y="34"/>
                    </a:lnTo>
                    <a:lnTo>
                      <a:pt x="0" y="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8"/>
                    </a:moveTo>
                    <a:lnTo>
                      <a:pt x="4" y="27"/>
                    </a:lnTo>
                    <a:lnTo>
                      <a:pt x="8" y="27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29" y="8"/>
                    </a:moveTo>
                    <a:lnTo>
                      <a:pt x="29" y="27"/>
                    </a:lnTo>
                    <a:lnTo>
                      <a:pt x="31" y="27"/>
                    </a:lnTo>
                    <a:lnTo>
                      <a:pt x="31" y="8"/>
                    </a:lnTo>
                    <a:lnTo>
                      <a:pt x="29" y="8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iSļîḓê">
                <a:extLst>
                  <a:ext uri="{FF2B5EF4-FFF2-40B4-BE49-F238E27FC236}">
                    <a16:creationId xmlns:a16="http://schemas.microsoft.com/office/drawing/2014/main" id="{043B8C4E-E3F5-45D9-9171-6494C6F3FD66}"/>
                  </a:ext>
                </a:extLst>
              </p:cNvPr>
              <p:cNvSpPr/>
              <p:nvPr/>
            </p:nvSpPr>
            <p:spPr bwMode="auto">
              <a:xfrm>
                <a:off x="3551238" y="3067050"/>
                <a:ext cx="722313" cy="727075"/>
              </a:xfrm>
              <a:custGeom>
                <a:avLst/>
                <a:gdLst>
                  <a:gd name="T0" fmla="*/ 109 w 219"/>
                  <a:gd name="T1" fmla="*/ 0 h 218"/>
                  <a:gd name="T2" fmla="*/ 219 w 219"/>
                  <a:gd name="T3" fmla="*/ 109 h 218"/>
                  <a:gd name="T4" fmla="*/ 109 w 219"/>
                  <a:gd name="T5" fmla="*/ 218 h 218"/>
                  <a:gd name="T6" fmla="*/ 0 w 219"/>
                  <a:gd name="T7" fmla="*/ 109 h 218"/>
                  <a:gd name="T8" fmla="*/ 109 w 219"/>
                  <a:gd name="T9" fmla="*/ 0 h 218"/>
                  <a:gd name="T10" fmla="*/ 109 w 219"/>
                  <a:gd name="T11" fmla="*/ 3 h 218"/>
                  <a:gd name="T12" fmla="*/ 4 w 219"/>
                  <a:gd name="T13" fmla="*/ 109 h 218"/>
                  <a:gd name="T14" fmla="*/ 109 w 219"/>
                  <a:gd name="T15" fmla="*/ 215 h 218"/>
                  <a:gd name="T16" fmla="*/ 215 w 219"/>
                  <a:gd name="T17" fmla="*/ 109 h 218"/>
                  <a:gd name="T18" fmla="*/ 109 w 219"/>
                  <a:gd name="T19" fmla="*/ 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9" h="218">
                    <a:moveTo>
                      <a:pt x="109" y="0"/>
                    </a:moveTo>
                    <a:cubicBezTo>
                      <a:pt x="170" y="0"/>
                      <a:pt x="219" y="49"/>
                      <a:pt x="219" y="109"/>
                    </a:cubicBezTo>
                    <a:cubicBezTo>
                      <a:pt x="219" y="169"/>
                      <a:pt x="170" y="218"/>
                      <a:pt x="109" y="218"/>
                    </a:cubicBezTo>
                    <a:cubicBezTo>
                      <a:pt x="49" y="218"/>
                      <a:pt x="0" y="169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lose/>
                    <a:moveTo>
                      <a:pt x="109" y="3"/>
                    </a:moveTo>
                    <a:cubicBezTo>
                      <a:pt x="51" y="3"/>
                      <a:pt x="4" y="51"/>
                      <a:pt x="4" y="109"/>
                    </a:cubicBezTo>
                    <a:cubicBezTo>
                      <a:pt x="4" y="167"/>
                      <a:pt x="51" y="215"/>
                      <a:pt x="109" y="215"/>
                    </a:cubicBezTo>
                    <a:cubicBezTo>
                      <a:pt x="168" y="215"/>
                      <a:pt x="215" y="167"/>
                      <a:pt x="215" y="109"/>
                    </a:cubicBezTo>
                    <a:cubicBezTo>
                      <a:pt x="215" y="51"/>
                      <a:pt x="168" y="3"/>
                      <a:pt x="109" y="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3" name="ïṡlïḋè">
              <a:extLst>
                <a:ext uri="{FF2B5EF4-FFF2-40B4-BE49-F238E27FC236}">
                  <a16:creationId xmlns:a16="http://schemas.microsoft.com/office/drawing/2014/main" id="{7C8A06C5-7420-4139-8341-6134B2A822AD}"/>
                </a:ext>
              </a:extLst>
            </p:cNvPr>
            <p:cNvGrpSpPr/>
            <p:nvPr/>
          </p:nvGrpSpPr>
          <p:grpSpPr>
            <a:xfrm>
              <a:off x="5777051" y="601725"/>
              <a:ext cx="1483367" cy="539516"/>
              <a:chOff x="4412452" y="3106738"/>
              <a:chExt cx="2312689" cy="841148"/>
            </a:xfrm>
          </p:grpSpPr>
          <p:grpSp>
            <p:nvGrpSpPr>
              <p:cNvPr id="14" name="îśḻîḑê">
                <a:extLst>
                  <a:ext uri="{FF2B5EF4-FFF2-40B4-BE49-F238E27FC236}">
                    <a16:creationId xmlns:a16="http://schemas.microsoft.com/office/drawing/2014/main" id="{20F9408D-6365-4AA2-871A-96E484A9333C}"/>
                  </a:ext>
                </a:extLst>
              </p:cNvPr>
              <p:cNvGrpSpPr/>
              <p:nvPr/>
            </p:nvGrpSpPr>
            <p:grpSpPr>
              <a:xfrm>
                <a:off x="4422776" y="3106738"/>
                <a:ext cx="2293937" cy="617538"/>
                <a:chOff x="4422776" y="3106738"/>
                <a:chExt cx="2293937" cy="617538"/>
              </a:xfrm>
            </p:grpSpPr>
            <p:sp>
              <p:nvSpPr>
                <p:cNvPr id="31" name="îṡḻïḑé">
                  <a:extLst>
                    <a:ext uri="{FF2B5EF4-FFF2-40B4-BE49-F238E27FC236}">
                      <a16:creationId xmlns:a16="http://schemas.microsoft.com/office/drawing/2014/main" id="{47C6F179-E8C6-4AEE-9695-987042D4531A}"/>
                    </a:ext>
                  </a:extLst>
                </p:cNvPr>
                <p:cNvSpPr/>
                <p:nvPr/>
              </p:nvSpPr>
              <p:spPr bwMode="auto">
                <a:xfrm>
                  <a:off x="4811713" y="3200400"/>
                  <a:ext cx="49213" cy="100013"/>
                </a:xfrm>
                <a:custGeom>
                  <a:avLst/>
                  <a:gdLst>
                    <a:gd name="T0" fmla="*/ 0 w 15"/>
                    <a:gd name="T1" fmla="*/ 1 h 30"/>
                    <a:gd name="T2" fmla="*/ 1 w 15"/>
                    <a:gd name="T3" fmla="*/ 12 h 30"/>
                    <a:gd name="T4" fmla="*/ 0 w 15"/>
                    <a:gd name="T5" fmla="*/ 21 h 30"/>
                    <a:gd name="T6" fmla="*/ 2 w 15"/>
                    <a:gd name="T7" fmla="*/ 28 h 30"/>
                    <a:gd name="T8" fmla="*/ 7 w 15"/>
                    <a:gd name="T9" fmla="*/ 30 h 30"/>
                    <a:gd name="T10" fmla="*/ 12 w 15"/>
                    <a:gd name="T11" fmla="*/ 26 h 30"/>
                    <a:gd name="T12" fmla="*/ 15 w 15"/>
                    <a:gd name="T13" fmla="*/ 18 h 30"/>
                    <a:gd name="T14" fmla="*/ 3 w 15"/>
                    <a:gd name="T15" fmla="*/ 0 h 30"/>
                    <a:gd name="T16" fmla="*/ 0 w 15"/>
                    <a:gd name="T17" fmla="*/ 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30">
                      <a:moveTo>
                        <a:pt x="0" y="1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3"/>
                        <a:pt x="0" y="18"/>
                        <a:pt x="0" y="21"/>
                      </a:cubicBezTo>
                      <a:cubicBezTo>
                        <a:pt x="0" y="24"/>
                        <a:pt x="2" y="25"/>
                        <a:pt x="2" y="2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9" y="27"/>
                        <a:pt x="10" y="29"/>
                        <a:pt x="12" y="26"/>
                      </a:cubicBezTo>
                      <a:cubicBezTo>
                        <a:pt x="14" y="23"/>
                        <a:pt x="14" y="21"/>
                        <a:pt x="15" y="18"/>
                      </a:cubicBezTo>
                      <a:cubicBezTo>
                        <a:pt x="12" y="7"/>
                        <a:pt x="13" y="5"/>
                        <a:pt x="3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2" name="í$liďê">
                  <a:extLst>
                    <a:ext uri="{FF2B5EF4-FFF2-40B4-BE49-F238E27FC236}">
                      <a16:creationId xmlns:a16="http://schemas.microsoft.com/office/drawing/2014/main" id="{B971F5BA-D383-4894-BDFC-FFF96EB10467}"/>
                    </a:ext>
                  </a:extLst>
                </p:cNvPr>
                <p:cNvSpPr/>
                <p:nvPr/>
              </p:nvSpPr>
              <p:spPr bwMode="auto">
                <a:xfrm>
                  <a:off x="5221288" y="3184525"/>
                  <a:ext cx="36513" cy="122238"/>
                </a:xfrm>
                <a:custGeom>
                  <a:avLst/>
                  <a:gdLst>
                    <a:gd name="T0" fmla="*/ 0 w 11"/>
                    <a:gd name="T1" fmla="*/ 3 h 37"/>
                    <a:gd name="T2" fmla="*/ 2 w 11"/>
                    <a:gd name="T3" fmla="*/ 14 h 37"/>
                    <a:gd name="T4" fmla="*/ 0 w 11"/>
                    <a:gd name="T5" fmla="*/ 33 h 37"/>
                    <a:gd name="T6" fmla="*/ 0 w 11"/>
                    <a:gd name="T7" fmla="*/ 36 h 37"/>
                    <a:gd name="T8" fmla="*/ 2 w 11"/>
                    <a:gd name="T9" fmla="*/ 37 h 37"/>
                    <a:gd name="T10" fmla="*/ 8 w 11"/>
                    <a:gd name="T11" fmla="*/ 27 h 37"/>
                    <a:gd name="T12" fmla="*/ 11 w 11"/>
                    <a:gd name="T13" fmla="*/ 17 h 37"/>
                    <a:gd name="T14" fmla="*/ 11 w 11"/>
                    <a:gd name="T15" fmla="*/ 15 h 37"/>
                    <a:gd name="T16" fmla="*/ 7 w 11"/>
                    <a:gd name="T17" fmla="*/ 2 h 37"/>
                    <a:gd name="T18" fmla="*/ 2 w 11"/>
                    <a:gd name="T19" fmla="*/ 0 h 37"/>
                    <a:gd name="T20" fmla="*/ 0 w 11"/>
                    <a:gd name="T21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37">
                      <a:moveTo>
                        <a:pt x="0" y="3"/>
                      </a:move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2" y="19"/>
                        <a:pt x="0" y="27"/>
                        <a:pt x="0" y="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2" y="36"/>
                        <a:pt x="1" y="37"/>
                        <a:pt x="2" y="37"/>
                      </a:cubicBezTo>
                      <a:cubicBezTo>
                        <a:pt x="3" y="37"/>
                        <a:pt x="7" y="28"/>
                        <a:pt x="8" y="27"/>
                      </a:cubicBezTo>
                      <a:cubicBezTo>
                        <a:pt x="9" y="24"/>
                        <a:pt x="11" y="21"/>
                        <a:pt x="11" y="17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7"/>
                        <a:pt x="8" y="7"/>
                        <a:pt x="7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1"/>
                        <a:pt x="0" y="1"/>
                        <a:pt x="0" y="3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3" name="íSļidè">
                  <a:extLst>
                    <a:ext uri="{FF2B5EF4-FFF2-40B4-BE49-F238E27FC236}">
                      <a16:creationId xmlns:a16="http://schemas.microsoft.com/office/drawing/2014/main" id="{EC7FECCE-6584-463B-BBF9-D79C51BACCCC}"/>
                    </a:ext>
                  </a:extLst>
                </p:cNvPr>
                <p:cNvSpPr/>
                <p:nvPr/>
              </p:nvSpPr>
              <p:spPr bwMode="auto">
                <a:xfrm>
                  <a:off x="4554538" y="3251200"/>
                  <a:ext cx="119063" cy="58738"/>
                </a:xfrm>
                <a:custGeom>
                  <a:avLst/>
                  <a:gdLst>
                    <a:gd name="T0" fmla="*/ 0 w 36"/>
                    <a:gd name="T1" fmla="*/ 15 h 18"/>
                    <a:gd name="T2" fmla="*/ 2 w 36"/>
                    <a:gd name="T3" fmla="*/ 16 h 18"/>
                    <a:gd name="T4" fmla="*/ 13 w 36"/>
                    <a:gd name="T5" fmla="*/ 18 h 18"/>
                    <a:gd name="T6" fmla="*/ 16 w 36"/>
                    <a:gd name="T7" fmla="*/ 18 h 18"/>
                    <a:gd name="T8" fmla="*/ 22 w 36"/>
                    <a:gd name="T9" fmla="*/ 17 h 18"/>
                    <a:gd name="T10" fmla="*/ 23 w 36"/>
                    <a:gd name="T11" fmla="*/ 17 h 18"/>
                    <a:gd name="T12" fmla="*/ 30 w 36"/>
                    <a:gd name="T13" fmla="*/ 13 h 18"/>
                    <a:gd name="T14" fmla="*/ 36 w 36"/>
                    <a:gd name="T15" fmla="*/ 8 h 18"/>
                    <a:gd name="T16" fmla="*/ 36 w 36"/>
                    <a:gd name="T17" fmla="*/ 7 h 18"/>
                    <a:gd name="T18" fmla="*/ 36 w 36"/>
                    <a:gd name="T19" fmla="*/ 4 h 18"/>
                    <a:gd name="T20" fmla="*/ 32 w 36"/>
                    <a:gd name="T21" fmla="*/ 0 h 18"/>
                    <a:gd name="T22" fmla="*/ 24 w 36"/>
                    <a:gd name="T23" fmla="*/ 3 h 18"/>
                    <a:gd name="T24" fmla="*/ 16 w 36"/>
                    <a:gd name="T25" fmla="*/ 7 h 18"/>
                    <a:gd name="T26" fmla="*/ 0 w 36"/>
                    <a:gd name="T27" fmla="*/ 1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18">
                      <a:moveTo>
                        <a:pt x="0" y="15"/>
                      </a:moveTo>
                      <a:cubicBezTo>
                        <a:pt x="1" y="16"/>
                        <a:pt x="1" y="16"/>
                        <a:pt x="2" y="16"/>
                      </a:cubicBezTo>
                      <a:cubicBezTo>
                        <a:pt x="6" y="16"/>
                        <a:pt x="9" y="18"/>
                        <a:pt x="13" y="18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6" y="16"/>
                        <a:pt x="28" y="14"/>
                        <a:pt x="30" y="13"/>
                      </a:cubicBezTo>
                      <a:cubicBezTo>
                        <a:pt x="34" y="11"/>
                        <a:pt x="33" y="10"/>
                        <a:pt x="36" y="8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1"/>
                        <a:pt x="33" y="2"/>
                        <a:pt x="32" y="0"/>
                      </a:cubicBezTo>
                      <a:cubicBezTo>
                        <a:pt x="29" y="1"/>
                        <a:pt x="27" y="1"/>
                        <a:pt x="24" y="3"/>
                      </a:cubicBezTo>
                      <a:cubicBezTo>
                        <a:pt x="21" y="4"/>
                        <a:pt x="19" y="6"/>
                        <a:pt x="16" y="7"/>
                      </a:cubicBezTo>
                      <a:cubicBezTo>
                        <a:pt x="11" y="11"/>
                        <a:pt x="4" y="10"/>
                        <a:pt x="0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4" name="îsļidè">
                  <a:extLst>
                    <a:ext uri="{FF2B5EF4-FFF2-40B4-BE49-F238E27FC236}">
                      <a16:creationId xmlns:a16="http://schemas.microsoft.com/office/drawing/2014/main" id="{04EA7416-AD47-4738-82E6-A4D041D38236}"/>
                    </a:ext>
                  </a:extLst>
                </p:cNvPr>
                <p:cNvSpPr/>
                <p:nvPr/>
              </p:nvSpPr>
              <p:spPr bwMode="auto">
                <a:xfrm>
                  <a:off x="6359526" y="3263900"/>
                  <a:ext cx="93663" cy="139700"/>
                </a:xfrm>
                <a:custGeom>
                  <a:avLst/>
                  <a:gdLst>
                    <a:gd name="T0" fmla="*/ 15 w 28"/>
                    <a:gd name="T1" fmla="*/ 1 h 42"/>
                    <a:gd name="T2" fmla="*/ 6 w 28"/>
                    <a:gd name="T3" fmla="*/ 11 h 42"/>
                    <a:gd name="T4" fmla="*/ 6 w 28"/>
                    <a:gd name="T5" fmla="*/ 13 h 42"/>
                    <a:gd name="T6" fmla="*/ 5 w 28"/>
                    <a:gd name="T7" fmla="*/ 16 h 42"/>
                    <a:gd name="T8" fmla="*/ 6 w 28"/>
                    <a:gd name="T9" fmla="*/ 20 h 42"/>
                    <a:gd name="T10" fmla="*/ 6 w 28"/>
                    <a:gd name="T11" fmla="*/ 21 h 42"/>
                    <a:gd name="T12" fmla="*/ 0 w 28"/>
                    <a:gd name="T13" fmla="*/ 38 h 42"/>
                    <a:gd name="T14" fmla="*/ 0 w 28"/>
                    <a:gd name="T15" fmla="*/ 41 h 42"/>
                    <a:gd name="T16" fmla="*/ 3 w 28"/>
                    <a:gd name="T17" fmla="*/ 42 h 42"/>
                    <a:gd name="T18" fmla="*/ 9 w 28"/>
                    <a:gd name="T19" fmla="*/ 32 h 42"/>
                    <a:gd name="T20" fmla="*/ 12 w 28"/>
                    <a:gd name="T21" fmla="*/ 26 h 42"/>
                    <a:gd name="T22" fmla="*/ 14 w 28"/>
                    <a:gd name="T23" fmla="*/ 26 h 42"/>
                    <a:gd name="T24" fmla="*/ 20 w 28"/>
                    <a:gd name="T25" fmla="*/ 26 h 42"/>
                    <a:gd name="T26" fmla="*/ 28 w 28"/>
                    <a:gd name="T27" fmla="*/ 14 h 42"/>
                    <a:gd name="T28" fmla="*/ 28 w 28"/>
                    <a:gd name="T29" fmla="*/ 6 h 42"/>
                    <a:gd name="T30" fmla="*/ 28 w 28"/>
                    <a:gd name="T31" fmla="*/ 5 h 42"/>
                    <a:gd name="T32" fmla="*/ 27 w 28"/>
                    <a:gd name="T33" fmla="*/ 3 h 42"/>
                    <a:gd name="T34" fmla="*/ 26 w 28"/>
                    <a:gd name="T35" fmla="*/ 3 h 42"/>
                    <a:gd name="T36" fmla="*/ 24 w 28"/>
                    <a:gd name="T37" fmla="*/ 3 h 42"/>
                    <a:gd name="T38" fmla="*/ 23 w 28"/>
                    <a:gd name="T39" fmla="*/ 3 h 42"/>
                    <a:gd name="T40" fmla="*/ 20 w 28"/>
                    <a:gd name="T41" fmla="*/ 0 h 42"/>
                    <a:gd name="T42" fmla="*/ 15 w 28"/>
                    <a:gd name="T43" fmla="*/ 1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8" h="42">
                      <a:moveTo>
                        <a:pt x="15" y="1"/>
                      </a:moveTo>
                      <a:cubicBezTo>
                        <a:pt x="15" y="10"/>
                        <a:pt x="8" y="6"/>
                        <a:pt x="6" y="11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6" y="14"/>
                        <a:pt x="5" y="14"/>
                        <a:pt x="5" y="16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6" y="29"/>
                        <a:pt x="0" y="31"/>
                        <a:pt x="0" y="38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2" y="42"/>
                        <a:pt x="3" y="42"/>
                      </a:cubicBezTo>
                      <a:cubicBezTo>
                        <a:pt x="7" y="42"/>
                        <a:pt x="9" y="36"/>
                        <a:pt x="9" y="32"/>
                      </a:cubicBezTo>
                      <a:cubicBezTo>
                        <a:pt x="9" y="29"/>
                        <a:pt x="10" y="26"/>
                        <a:pt x="12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24" y="24"/>
                        <a:pt x="28" y="21"/>
                        <a:pt x="28" y="14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7" y="3"/>
                        <a:pt x="27" y="3"/>
                        <a:pt x="27" y="3"/>
                      </a:cubicBezTo>
                      <a:cubicBezTo>
                        <a:pt x="26" y="3"/>
                        <a:pt x="26" y="3"/>
                        <a:pt x="26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20" y="0"/>
                        <a:pt x="20" y="0"/>
                        <a:pt x="20" y="0"/>
                      </a:cubicBez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5" name="iṣḷiďê">
                  <a:extLst>
                    <a:ext uri="{FF2B5EF4-FFF2-40B4-BE49-F238E27FC236}">
                      <a16:creationId xmlns:a16="http://schemas.microsoft.com/office/drawing/2014/main" id="{EE90024E-DB6A-44F1-B844-BCFCF720283B}"/>
                    </a:ext>
                  </a:extLst>
                </p:cNvPr>
                <p:cNvSpPr/>
                <p:nvPr/>
              </p:nvSpPr>
              <p:spPr bwMode="auto">
                <a:xfrm>
                  <a:off x="5826126" y="3273425"/>
                  <a:ext cx="223838" cy="293688"/>
                </a:xfrm>
                <a:custGeom>
                  <a:avLst/>
                  <a:gdLst>
                    <a:gd name="T0" fmla="*/ 38 w 68"/>
                    <a:gd name="T1" fmla="*/ 16 h 88"/>
                    <a:gd name="T2" fmla="*/ 40 w 68"/>
                    <a:gd name="T3" fmla="*/ 5 h 88"/>
                    <a:gd name="T4" fmla="*/ 36 w 68"/>
                    <a:gd name="T5" fmla="*/ 1 h 88"/>
                    <a:gd name="T6" fmla="*/ 36 w 68"/>
                    <a:gd name="T7" fmla="*/ 1 h 88"/>
                    <a:gd name="T8" fmla="*/ 33 w 68"/>
                    <a:gd name="T9" fmla="*/ 0 h 88"/>
                    <a:gd name="T10" fmla="*/ 24 w 68"/>
                    <a:gd name="T11" fmla="*/ 7 h 88"/>
                    <a:gd name="T12" fmla="*/ 24 w 68"/>
                    <a:gd name="T13" fmla="*/ 8 h 88"/>
                    <a:gd name="T14" fmla="*/ 26 w 68"/>
                    <a:gd name="T15" fmla="*/ 18 h 88"/>
                    <a:gd name="T16" fmla="*/ 27 w 68"/>
                    <a:gd name="T17" fmla="*/ 28 h 88"/>
                    <a:gd name="T18" fmla="*/ 27 w 68"/>
                    <a:gd name="T19" fmla="*/ 39 h 88"/>
                    <a:gd name="T20" fmla="*/ 16 w 68"/>
                    <a:gd name="T21" fmla="*/ 48 h 88"/>
                    <a:gd name="T22" fmla="*/ 7 w 68"/>
                    <a:gd name="T23" fmla="*/ 49 h 88"/>
                    <a:gd name="T24" fmla="*/ 5 w 68"/>
                    <a:gd name="T25" fmla="*/ 49 h 88"/>
                    <a:gd name="T26" fmla="*/ 4 w 68"/>
                    <a:gd name="T27" fmla="*/ 49 h 88"/>
                    <a:gd name="T28" fmla="*/ 0 w 68"/>
                    <a:gd name="T29" fmla="*/ 54 h 88"/>
                    <a:gd name="T30" fmla="*/ 5 w 68"/>
                    <a:gd name="T31" fmla="*/ 60 h 88"/>
                    <a:gd name="T32" fmla="*/ 11 w 68"/>
                    <a:gd name="T33" fmla="*/ 60 h 88"/>
                    <a:gd name="T34" fmla="*/ 13 w 68"/>
                    <a:gd name="T35" fmla="*/ 59 h 88"/>
                    <a:gd name="T36" fmla="*/ 20 w 68"/>
                    <a:gd name="T37" fmla="*/ 66 h 88"/>
                    <a:gd name="T38" fmla="*/ 17 w 68"/>
                    <a:gd name="T39" fmla="*/ 72 h 88"/>
                    <a:gd name="T40" fmla="*/ 13 w 68"/>
                    <a:gd name="T41" fmla="*/ 76 h 88"/>
                    <a:gd name="T42" fmla="*/ 2 w 68"/>
                    <a:gd name="T43" fmla="*/ 82 h 88"/>
                    <a:gd name="T44" fmla="*/ 2 w 68"/>
                    <a:gd name="T45" fmla="*/ 83 h 88"/>
                    <a:gd name="T46" fmla="*/ 2 w 68"/>
                    <a:gd name="T47" fmla="*/ 87 h 88"/>
                    <a:gd name="T48" fmla="*/ 4 w 68"/>
                    <a:gd name="T49" fmla="*/ 88 h 88"/>
                    <a:gd name="T50" fmla="*/ 25 w 68"/>
                    <a:gd name="T51" fmla="*/ 77 h 88"/>
                    <a:gd name="T52" fmla="*/ 31 w 68"/>
                    <a:gd name="T53" fmla="*/ 69 h 88"/>
                    <a:gd name="T54" fmla="*/ 40 w 68"/>
                    <a:gd name="T55" fmla="*/ 63 h 88"/>
                    <a:gd name="T56" fmla="*/ 52 w 68"/>
                    <a:gd name="T57" fmla="*/ 70 h 88"/>
                    <a:gd name="T58" fmla="*/ 48 w 68"/>
                    <a:gd name="T59" fmla="*/ 79 h 88"/>
                    <a:gd name="T60" fmla="*/ 59 w 68"/>
                    <a:gd name="T61" fmla="*/ 81 h 88"/>
                    <a:gd name="T62" fmla="*/ 68 w 68"/>
                    <a:gd name="T63" fmla="*/ 71 h 88"/>
                    <a:gd name="T64" fmla="*/ 59 w 68"/>
                    <a:gd name="T65" fmla="*/ 62 h 88"/>
                    <a:gd name="T66" fmla="*/ 44 w 68"/>
                    <a:gd name="T67" fmla="*/ 60 h 88"/>
                    <a:gd name="T68" fmla="*/ 42 w 68"/>
                    <a:gd name="T69" fmla="*/ 60 h 88"/>
                    <a:gd name="T70" fmla="*/ 36 w 68"/>
                    <a:gd name="T71" fmla="*/ 53 h 88"/>
                    <a:gd name="T72" fmla="*/ 48 w 68"/>
                    <a:gd name="T73" fmla="*/ 42 h 88"/>
                    <a:gd name="T74" fmla="*/ 59 w 68"/>
                    <a:gd name="T75" fmla="*/ 32 h 88"/>
                    <a:gd name="T76" fmla="*/ 59 w 68"/>
                    <a:gd name="T77" fmla="*/ 30 h 88"/>
                    <a:gd name="T78" fmla="*/ 59 w 68"/>
                    <a:gd name="T79" fmla="*/ 29 h 88"/>
                    <a:gd name="T80" fmla="*/ 54 w 68"/>
                    <a:gd name="T81" fmla="*/ 26 h 88"/>
                    <a:gd name="T82" fmla="*/ 51 w 68"/>
                    <a:gd name="T83" fmla="*/ 27 h 88"/>
                    <a:gd name="T84" fmla="*/ 50 w 68"/>
                    <a:gd name="T85" fmla="*/ 27 h 88"/>
                    <a:gd name="T86" fmla="*/ 41 w 68"/>
                    <a:gd name="T87" fmla="*/ 33 h 88"/>
                    <a:gd name="T88" fmla="*/ 38 w 68"/>
                    <a:gd name="T89" fmla="*/ 28 h 88"/>
                    <a:gd name="T90" fmla="*/ 38 w 68"/>
                    <a:gd name="T91" fmla="*/ 27 h 88"/>
                    <a:gd name="T92" fmla="*/ 38 w 68"/>
                    <a:gd name="T93" fmla="*/ 1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8" h="88">
                      <a:moveTo>
                        <a:pt x="38" y="16"/>
                      </a:moveTo>
                      <a:cubicBezTo>
                        <a:pt x="39" y="11"/>
                        <a:pt x="40" y="9"/>
                        <a:pt x="40" y="5"/>
                      </a:cubicBezTo>
                      <a:cubicBezTo>
                        <a:pt x="40" y="3"/>
                        <a:pt x="38" y="1"/>
                        <a:pt x="36" y="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4" y="1"/>
                        <a:pt x="34" y="1"/>
                        <a:pt x="33" y="0"/>
                      </a:cubicBezTo>
                      <a:cubicBezTo>
                        <a:pt x="28" y="3"/>
                        <a:pt x="28" y="1"/>
                        <a:pt x="24" y="7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2"/>
                        <a:pt x="26" y="14"/>
                        <a:pt x="26" y="1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45"/>
                        <a:pt x="22" y="48"/>
                        <a:pt x="16" y="48"/>
                      </a:cubicBezTo>
                      <a:cubicBezTo>
                        <a:pt x="7" y="49"/>
                        <a:pt x="7" y="49"/>
                        <a:pt x="7" y="49"/>
                      </a:cubicBezTo>
                      <a:cubicBezTo>
                        <a:pt x="5" y="49"/>
                        <a:pt x="5" y="49"/>
                        <a:pt x="5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2" y="50"/>
                        <a:pt x="0" y="51"/>
                        <a:pt x="0" y="54"/>
                      </a:cubicBezTo>
                      <a:cubicBezTo>
                        <a:pt x="0" y="56"/>
                        <a:pt x="3" y="60"/>
                        <a:pt x="5" y="60"/>
                      </a:cubicBezTo>
                      <a:cubicBezTo>
                        <a:pt x="11" y="60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3" y="59"/>
                      </a:cubicBezTo>
                      <a:cubicBezTo>
                        <a:pt x="17" y="62"/>
                        <a:pt x="17" y="60"/>
                        <a:pt x="20" y="66"/>
                      </a:cubicBezTo>
                      <a:cubicBezTo>
                        <a:pt x="18" y="69"/>
                        <a:pt x="20" y="68"/>
                        <a:pt x="17" y="72"/>
                      </a:cubicBezTo>
                      <a:cubicBezTo>
                        <a:pt x="15" y="73"/>
                        <a:pt x="15" y="75"/>
                        <a:pt x="13" y="76"/>
                      </a:cubicBezTo>
                      <a:cubicBezTo>
                        <a:pt x="8" y="79"/>
                        <a:pt x="7" y="80"/>
                        <a:pt x="2" y="82"/>
                      </a:cubicBezTo>
                      <a:cubicBezTo>
                        <a:pt x="2" y="83"/>
                        <a:pt x="2" y="83"/>
                        <a:pt x="2" y="83"/>
                      </a:cubicBezTo>
                      <a:cubicBezTo>
                        <a:pt x="2" y="87"/>
                        <a:pt x="2" y="87"/>
                        <a:pt x="2" y="87"/>
                      </a:cubicBezTo>
                      <a:cubicBezTo>
                        <a:pt x="4" y="87"/>
                        <a:pt x="3" y="88"/>
                        <a:pt x="4" y="88"/>
                      </a:cubicBezTo>
                      <a:cubicBezTo>
                        <a:pt x="13" y="88"/>
                        <a:pt x="20" y="82"/>
                        <a:pt x="25" y="77"/>
                      </a:cubicBezTo>
                      <a:cubicBezTo>
                        <a:pt x="26" y="76"/>
                        <a:pt x="30" y="71"/>
                        <a:pt x="31" y="69"/>
                      </a:cubicBezTo>
                      <a:cubicBezTo>
                        <a:pt x="33" y="65"/>
                        <a:pt x="35" y="63"/>
                        <a:pt x="40" y="63"/>
                      </a:cubicBezTo>
                      <a:cubicBezTo>
                        <a:pt x="45" y="63"/>
                        <a:pt x="49" y="67"/>
                        <a:pt x="52" y="70"/>
                      </a:cubicBezTo>
                      <a:cubicBezTo>
                        <a:pt x="48" y="79"/>
                        <a:pt x="48" y="79"/>
                        <a:pt x="48" y="79"/>
                      </a:cubicBezTo>
                      <a:cubicBezTo>
                        <a:pt x="50" y="79"/>
                        <a:pt x="58" y="81"/>
                        <a:pt x="59" y="81"/>
                      </a:cubicBezTo>
                      <a:cubicBezTo>
                        <a:pt x="65" y="81"/>
                        <a:pt x="67" y="76"/>
                        <a:pt x="68" y="71"/>
                      </a:cubicBezTo>
                      <a:cubicBezTo>
                        <a:pt x="67" y="65"/>
                        <a:pt x="63" y="64"/>
                        <a:pt x="59" y="62"/>
                      </a:cubicBezTo>
                      <a:cubicBezTo>
                        <a:pt x="53" y="59"/>
                        <a:pt x="51" y="60"/>
                        <a:pt x="44" y="60"/>
                      </a:cubicBezTo>
                      <a:cubicBezTo>
                        <a:pt x="43" y="60"/>
                        <a:pt x="43" y="60"/>
                        <a:pt x="42" y="60"/>
                      </a:cubicBezTo>
                      <a:cubicBezTo>
                        <a:pt x="40" y="59"/>
                        <a:pt x="36" y="56"/>
                        <a:pt x="36" y="53"/>
                      </a:cubicBezTo>
                      <a:cubicBezTo>
                        <a:pt x="36" y="51"/>
                        <a:pt x="45" y="44"/>
                        <a:pt x="48" y="42"/>
                      </a:cubicBezTo>
                      <a:cubicBezTo>
                        <a:pt x="50" y="41"/>
                        <a:pt x="59" y="34"/>
                        <a:pt x="59" y="32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59" y="29"/>
                        <a:pt x="59" y="29"/>
                        <a:pt x="59" y="29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53" y="27"/>
                        <a:pt x="53" y="27"/>
                        <a:pt x="5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cubicBezTo>
                        <a:pt x="46" y="32"/>
                        <a:pt x="46" y="30"/>
                        <a:pt x="41" y="33"/>
                      </a:cubicBezTo>
                      <a:cubicBezTo>
                        <a:pt x="40" y="31"/>
                        <a:pt x="39" y="30"/>
                        <a:pt x="38" y="28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lnTo>
                        <a:pt x="38" y="16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6" name="iṡľiďe">
                  <a:extLst>
                    <a:ext uri="{FF2B5EF4-FFF2-40B4-BE49-F238E27FC236}">
                      <a16:creationId xmlns:a16="http://schemas.microsoft.com/office/drawing/2014/main" id="{6A38964A-A2A6-4455-86D3-6F914269EADE}"/>
                    </a:ext>
                  </a:extLst>
                </p:cNvPr>
                <p:cNvSpPr/>
                <p:nvPr/>
              </p:nvSpPr>
              <p:spPr bwMode="auto">
                <a:xfrm>
                  <a:off x="4518026" y="3506788"/>
                  <a:ext cx="53975" cy="71438"/>
                </a:xfrm>
                <a:custGeom>
                  <a:avLst/>
                  <a:gdLst>
                    <a:gd name="T0" fmla="*/ 14 w 16"/>
                    <a:gd name="T1" fmla="*/ 17 h 21"/>
                    <a:gd name="T2" fmla="*/ 16 w 16"/>
                    <a:gd name="T3" fmla="*/ 12 h 21"/>
                    <a:gd name="T4" fmla="*/ 11 w 16"/>
                    <a:gd name="T5" fmla="*/ 5 h 21"/>
                    <a:gd name="T6" fmla="*/ 5 w 16"/>
                    <a:gd name="T7" fmla="*/ 0 h 21"/>
                    <a:gd name="T8" fmla="*/ 2 w 16"/>
                    <a:gd name="T9" fmla="*/ 4 h 21"/>
                    <a:gd name="T10" fmla="*/ 2 w 16"/>
                    <a:gd name="T11" fmla="*/ 5 h 21"/>
                    <a:gd name="T12" fmla="*/ 2 w 16"/>
                    <a:gd name="T13" fmla="*/ 8 h 21"/>
                    <a:gd name="T14" fmla="*/ 2 w 16"/>
                    <a:gd name="T15" fmla="*/ 9 h 21"/>
                    <a:gd name="T16" fmla="*/ 0 w 16"/>
                    <a:gd name="T17" fmla="*/ 17 h 21"/>
                    <a:gd name="T18" fmla="*/ 3 w 16"/>
                    <a:gd name="T19" fmla="*/ 21 h 21"/>
                    <a:gd name="T20" fmla="*/ 4 w 16"/>
                    <a:gd name="T21" fmla="*/ 21 h 21"/>
                    <a:gd name="T22" fmla="*/ 5 w 16"/>
                    <a:gd name="T23" fmla="*/ 21 h 21"/>
                    <a:gd name="T24" fmla="*/ 14 w 16"/>
                    <a:gd name="T25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21">
                      <a:moveTo>
                        <a:pt x="14" y="17"/>
                      </a:moveTo>
                      <a:cubicBezTo>
                        <a:pt x="14" y="15"/>
                        <a:pt x="16" y="13"/>
                        <a:pt x="16" y="12"/>
                      </a:cubicBezTo>
                      <a:cubicBezTo>
                        <a:pt x="16" y="11"/>
                        <a:pt x="12" y="7"/>
                        <a:pt x="11" y="5"/>
                      </a:cubicBezTo>
                      <a:cubicBezTo>
                        <a:pt x="11" y="3"/>
                        <a:pt x="8" y="0"/>
                        <a:pt x="5" y="0"/>
                      </a:cubicBezTo>
                      <a:cubicBezTo>
                        <a:pt x="4" y="0"/>
                        <a:pt x="3" y="3"/>
                        <a:pt x="2" y="4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9"/>
                        <a:pt x="2" y="9"/>
                        <a:pt x="2" y="9"/>
                      </a:cubicBezTo>
                      <a:cubicBezTo>
                        <a:pt x="1" y="11"/>
                        <a:pt x="0" y="14"/>
                        <a:pt x="0" y="17"/>
                      </a:cubicBezTo>
                      <a:cubicBezTo>
                        <a:pt x="0" y="19"/>
                        <a:pt x="1" y="20"/>
                        <a:pt x="3" y="21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7" y="21"/>
                        <a:pt x="11" y="17"/>
                        <a:pt x="14" y="17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7" name="îşliďé">
                  <a:extLst>
                    <a:ext uri="{FF2B5EF4-FFF2-40B4-BE49-F238E27FC236}">
                      <a16:creationId xmlns:a16="http://schemas.microsoft.com/office/drawing/2014/main" id="{036F8957-C7CD-4301-B8AA-DCD56592915A}"/>
                    </a:ext>
                  </a:extLst>
                </p:cNvPr>
                <p:cNvSpPr/>
                <p:nvPr/>
              </p:nvSpPr>
              <p:spPr bwMode="auto">
                <a:xfrm>
                  <a:off x="5319713" y="3133725"/>
                  <a:ext cx="222250" cy="500063"/>
                </a:xfrm>
                <a:custGeom>
                  <a:avLst/>
                  <a:gdLst>
                    <a:gd name="T0" fmla="*/ 47 w 67"/>
                    <a:gd name="T1" fmla="*/ 96 h 150"/>
                    <a:gd name="T2" fmla="*/ 51 w 67"/>
                    <a:gd name="T3" fmla="*/ 96 h 150"/>
                    <a:gd name="T4" fmla="*/ 46 w 67"/>
                    <a:gd name="T5" fmla="*/ 114 h 150"/>
                    <a:gd name="T6" fmla="*/ 42 w 67"/>
                    <a:gd name="T7" fmla="*/ 113 h 150"/>
                    <a:gd name="T8" fmla="*/ 39 w 67"/>
                    <a:gd name="T9" fmla="*/ 108 h 150"/>
                    <a:gd name="T10" fmla="*/ 21 w 67"/>
                    <a:gd name="T11" fmla="*/ 78 h 150"/>
                    <a:gd name="T12" fmla="*/ 29 w 67"/>
                    <a:gd name="T13" fmla="*/ 73 h 150"/>
                    <a:gd name="T14" fmla="*/ 32 w 67"/>
                    <a:gd name="T15" fmla="*/ 74 h 150"/>
                    <a:gd name="T16" fmla="*/ 32 w 67"/>
                    <a:gd name="T17" fmla="*/ 77 h 150"/>
                    <a:gd name="T18" fmla="*/ 32 w 67"/>
                    <a:gd name="T19" fmla="*/ 79 h 150"/>
                    <a:gd name="T20" fmla="*/ 21 w 67"/>
                    <a:gd name="T21" fmla="*/ 78 h 150"/>
                    <a:gd name="T22" fmla="*/ 53 w 67"/>
                    <a:gd name="T23" fmla="*/ 118 h 150"/>
                    <a:gd name="T24" fmla="*/ 66 w 67"/>
                    <a:gd name="T25" fmla="*/ 108 h 150"/>
                    <a:gd name="T26" fmla="*/ 60 w 67"/>
                    <a:gd name="T27" fmla="*/ 98 h 150"/>
                    <a:gd name="T28" fmla="*/ 51 w 67"/>
                    <a:gd name="T29" fmla="*/ 82 h 150"/>
                    <a:gd name="T30" fmla="*/ 47 w 67"/>
                    <a:gd name="T31" fmla="*/ 71 h 150"/>
                    <a:gd name="T32" fmla="*/ 60 w 67"/>
                    <a:gd name="T33" fmla="*/ 58 h 150"/>
                    <a:gd name="T34" fmla="*/ 53 w 67"/>
                    <a:gd name="T35" fmla="*/ 52 h 150"/>
                    <a:gd name="T36" fmla="*/ 44 w 67"/>
                    <a:gd name="T37" fmla="*/ 50 h 150"/>
                    <a:gd name="T38" fmla="*/ 48 w 67"/>
                    <a:gd name="T39" fmla="*/ 38 h 150"/>
                    <a:gd name="T40" fmla="*/ 66 w 67"/>
                    <a:gd name="T41" fmla="*/ 17 h 150"/>
                    <a:gd name="T42" fmla="*/ 66 w 67"/>
                    <a:gd name="T43" fmla="*/ 13 h 150"/>
                    <a:gd name="T44" fmla="*/ 56 w 67"/>
                    <a:gd name="T45" fmla="*/ 1 h 150"/>
                    <a:gd name="T46" fmla="*/ 55 w 67"/>
                    <a:gd name="T47" fmla="*/ 7 h 150"/>
                    <a:gd name="T48" fmla="*/ 50 w 67"/>
                    <a:gd name="T49" fmla="*/ 18 h 150"/>
                    <a:gd name="T50" fmla="*/ 42 w 67"/>
                    <a:gd name="T51" fmla="*/ 15 h 150"/>
                    <a:gd name="T52" fmla="*/ 40 w 67"/>
                    <a:gd name="T53" fmla="*/ 15 h 150"/>
                    <a:gd name="T54" fmla="*/ 41 w 67"/>
                    <a:gd name="T55" fmla="*/ 26 h 150"/>
                    <a:gd name="T56" fmla="*/ 41 w 67"/>
                    <a:gd name="T57" fmla="*/ 30 h 150"/>
                    <a:gd name="T58" fmla="*/ 37 w 67"/>
                    <a:gd name="T59" fmla="*/ 33 h 150"/>
                    <a:gd name="T60" fmla="*/ 30 w 67"/>
                    <a:gd name="T61" fmla="*/ 29 h 150"/>
                    <a:gd name="T62" fmla="*/ 9 w 67"/>
                    <a:gd name="T63" fmla="*/ 50 h 150"/>
                    <a:gd name="T64" fmla="*/ 4 w 67"/>
                    <a:gd name="T65" fmla="*/ 59 h 150"/>
                    <a:gd name="T66" fmla="*/ 23 w 67"/>
                    <a:gd name="T67" fmla="*/ 51 h 150"/>
                    <a:gd name="T68" fmla="*/ 30 w 67"/>
                    <a:gd name="T69" fmla="*/ 58 h 150"/>
                    <a:gd name="T70" fmla="*/ 26 w 67"/>
                    <a:gd name="T71" fmla="*/ 65 h 150"/>
                    <a:gd name="T72" fmla="*/ 19 w 67"/>
                    <a:gd name="T73" fmla="*/ 64 h 150"/>
                    <a:gd name="T74" fmla="*/ 16 w 67"/>
                    <a:gd name="T75" fmla="*/ 67 h 150"/>
                    <a:gd name="T76" fmla="*/ 16 w 67"/>
                    <a:gd name="T77" fmla="*/ 72 h 150"/>
                    <a:gd name="T78" fmla="*/ 3 w 67"/>
                    <a:gd name="T79" fmla="*/ 105 h 150"/>
                    <a:gd name="T80" fmla="*/ 6 w 67"/>
                    <a:gd name="T81" fmla="*/ 110 h 150"/>
                    <a:gd name="T82" fmla="*/ 9 w 67"/>
                    <a:gd name="T83" fmla="*/ 111 h 150"/>
                    <a:gd name="T84" fmla="*/ 24 w 67"/>
                    <a:gd name="T85" fmla="*/ 89 h 150"/>
                    <a:gd name="T86" fmla="*/ 32 w 67"/>
                    <a:gd name="T87" fmla="*/ 93 h 150"/>
                    <a:gd name="T88" fmla="*/ 32 w 67"/>
                    <a:gd name="T89" fmla="*/ 96 h 150"/>
                    <a:gd name="T90" fmla="*/ 29 w 67"/>
                    <a:gd name="T91" fmla="*/ 113 h 150"/>
                    <a:gd name="T92" fmla="*/ 29 w 67"/>
                    <a:gd name="T93" fmla="*/ 115 h 150"/>
                    <a:gd name="T94" fmla="*/ 22 w 67"/>
                    <a:gd name="T95" fmla="*/ 122 h 150"/>
                    <a:gd name="T96" fmla="*/ 10 w 67"/>
                    <a:gd name="T97" fmla="*/ 124 h 150"/>
                    <a:gd name="T98" fmla="*/ 15 w 67"/>
                    <a:gd name="T99" fmla="*/ 144 h 150"/>
                    <a:gd name="T100" fmla="*/ 17 w 67"/>
                    <a:gd name="T101" fmla="*/ 150 h 150"/>
                    <a:gd name="T102" fmla="*/ 38 w 67"/>
                    <a:gd name="T103" fmla="*/ 12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7" h="150">
                      <a:moveTo>
                        <a:pt x="39" y="107"/>
                      </a:moveTo>
                      <a:cubicBezTo>
                        <a:pt x="39" y="103"/>
                        <a:pt x="44" y="96"/>
                        <a:pt x="47" y="96"/>
                      </a:cubicBez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3" y="98"/>
                        <a:pt x="55" y="101"/>
                        <a:pt x="55" y="104"/>
                      </a:cubicBezTo>
                      <a:cubicBezTo>
                        <a:pt x="55" y="108"/>
                        <a:pt x="49" y="112"/>
                        <a:pt x="46" y="114"/>
                      </a:cubicBezTo>
                      <a:cubicBezTo>
                        <a:pt x="45" y="114"/>
                        <a:pt x="45" y="113"/>
                        <a:pt x="43" y="113"/>
                      </a:cubicBezTo>
                      <a:cubicBezTo>
                        <a:pt x="42" y="113"/>
                        <a:pt x="42" y="113"/>
                        <a:pt x="42" y="113"/>
                      </a:cubicBezTo>
                      <a:cubicBezTo>
                        <a:pt x="39" y="109"/>
                        <a:pt x="39" y="109"/>
                        <a:pt x="39" y="109"/>
                      </a:cubicBezTo>
                      <a:cubicBezTo>
                        <a:pt x="39" y="108"/>
                        <a:pt x="39" y="108"/>
                        <a:pt x="39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lose/>
                      <a:moveTo>
                        <a:pt x="21" y="78"/>
                      </a:moveTo>
                      <a:cubicBezTo>
                        <a:pt x="21" y="77"/>
                        <a:pt x="25" y="73"/>
                        <a:pt x="26" y="73"/>
                      </a:cubicBezTo>
                      <a:cubicBezTo>
                        <a:pt x="27" y="73"/>
                        <a:pt x="27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4"/>
                        <a:pt x="32" y="74"/>
                        <a:pt x="32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2" y="79"/>
                        <a:pt x="32" y="79"/>
                        <a:pt x="32" y="79"/>
                      </a:cubicBezTo>
                      <a:cubicBezTo>
                        <a:pt x="31" y="82"/>
                        <a:pt x="29" y="83"/>
                        <a:pt x="25" y="83"/>
                      </a:cubicBezTo>
                      <a:cubicBezTo>
                        <a:pt x="23" y="83"/>
                        <a:pt x="21" y="81"/>
                        <a:pt x="21" y="78"/>
                      </a:cubicBezTo>
                      <a:close/>
                      <a:moveTo>
                        <a:pt x="38" y="125"/>
                      </a:moveTo>
                      <a:cubicBezTo>
                        <a:pt x="43" y="122"/>
                        <a:pt x="47" y="120"/>
                        <a:pt x="53" y="118"/>
                      </a:cubicBezTo>
                      <a:cubicBezTo>
                        <a:pt x="57" y="116"/>
                        <a:pt x="57" y="116"/>
                        <a:pt x="60" y="114"/>
                      </a:cubicBezTo>
                      <a:cubicBezTo>
                        <a:pt x="64" y="111"/>
                        <a:pt x="63" y="110"/>
                        <a:pt x="66" y="108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4" y="100"/>
                        <a:pt x="64" y="101"/>
                        <a:pt x="60" y="98"/>
                      </a:cubicBezTo>
                      <a:cubicBezTo>
                        <a:pt x="58" y="96"/>
                        <a:pt x="55" y="95"/>
                        <a:pt x="54" y="92"/>
                      </a:cubicBezTo>
                      <a:cubicBezTo>
                        <a:pt x="53" y="88"/>
                        <a:pt x="53" y="84"/>
                        <a:pt x="51" y="82"/>
                      </a:cubicBezTo>
                      <a:cubicBezTo>
                        <a:pt x="49" y="79"/>
                        <a:pt x="47" y="77"/>
                        <a:pt x="47" y="73"/>
                      </a:cubicBezTo>
                      <a:cubicBezTo>
                        <a:pt x="47" y="72"/>
                        <a:pt x="47" y="72"/>
                        <a:pt x="47" y="71"/>
                      </a:cubicBezTo>
                      <a:cubicBezTo>
                        <a:pt x="49" y="67"/>
                        <a:pt x="47" y="67"/>
                        <a:pt x="53" y="64"/>
                      </a:cubicBezTo>
                      <a:cubicBezTo>
                        <a:pt x="55" y="64"/>
                        <a:pt x="60" y="60"/>
                        <a:pt x="60" y="58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60" y="53"/>
                        <a:pt x="56" y="51"/>
                        <a:pt x="53" y="52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6" y="52"/>
                        <a:pt x="45" y="51"/>
                        <a:pt x="44" y="50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44"/>
                        <a:pt x="47" y="41"/>
                        <a:pt x="48" y="38"/>
                      </a:cubicBezTo>
                      <a:cubicBezTo>
                        <a:pt x="49" y="34"/>
                        <a:pt x="50" y="33"/>
                        <a:pt x="53" y="30"/>
                      </a:cubicBezTo>
                      <a:cubicBezTo>
                        <a:pt x="56" y="27"/>
                        <a:pt x="66" y="22"/>
                        <a:pt x="66" y="17"/>
                      </a:cubicBezTo>
                      <a:cubicBezTo>
                        <a:pt x="66" y="14"/>
                        <a:pt x="66" y="14"/>
                        <a:pt x="66" y="14"/>
                      </a:cubicBezTo>
                      <a:cubicBezTo>
                        <a:pt x="66" y="13"/>
                        <a:pt x="66" y="13"/>
                        <a:pt x="66" y="13"/>
                      </a:cubicBezTo>
                      <a:cubicBezTo>
                        <a:pt x="65" y="10"/>
                        <a:pt x="62" y="0"/>
                        <a:pt x="58" y="0"/>
                      </a:cubicBezTo>
                      <a:cubicBezTo>
                        <a:pt x="57" y="0"/>
                        <a:pt x="57" y="0"/>
                        <a:pt x="56" y="1"/>
                      </a:cubicBezTo>
                      <a:cubicBezTo>
                        <a:pt x="56" y="3"/>
                        <a:pt x="55" y="3"/>
                        <a:pt x="55" y="5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11"/>
                        <a:pt x="53" y="15"/>
                        <a:pt x="51" y="18"/>
                      </a:cubicBezTo>
                      <a:cubicBezTo>
                        <a:pt x="50" y="18"/>
                        <a:pt x="50" y="18"/>
                        <a:pt x="50" y="18"/>
                      </a:cubicBezTo>
                      <a:cubicBezTo>
                        <a:pt x="48" y="18"/>
                        <a:pt x="48" y="18"/>
                        <a:pt x="47" y="19"/>
                      </a:cubicBezTo>
                      <a:cubicBezTo>
                        <a:pt x="42" y="15"/>
                        <a:pt x="42" y="15"/>
                        <a:pt x="42" y="15"/>
                      </a:cubicBezTo>
                      <a:cubicBezTo>
                        <a:pt x="41" y="15"/>
                        <a:pt x="41" y="15"/>
                        <a:pt x="41" y="15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39" y="15"/>
                        <a:pt x="38" y="16"/>
                        <a:pt x="38" y="17"/>
                      </a:cubicBezTo>
                      <a:cubicBezTo>
                        <a:pt x="38" y="19"/>
                        <a:pt x="41" y="22"/>
                        <a:pt x="41" y="26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30"/>
                        <a:pt x="41" y="30"/>
                        <a:pt x="41" y="30"/>
                      </a:cubicBezTo>
                      <a:cubicBezTo>
                        <a:pt x="38" y="33"/>
                        <a:pt x="38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5" y="34"/>
                        <a:pt x="34" y="34"/>
                      </a:cubicBezTo>
                      <a:cubicBezTo>
                        <a:pt x="32" y="33"/>
                        <a:pt x="31" y="31"/>
                        <a:pt x="30" y="29"/>
                      </a:cubicBezTo>
                      <a:cubicBezTo>
                        <a:pt x="24" y="29"/>
                        <a:pt x="30" y="41"/>
                        <a:pt x="19" y="45"/>
                      </a:cubicBezTo>
                      <a:cubicBezTo>
                        <a:pt x="16" y="46"/>
                        <a:pt x="12" y="48"/>
                        <a:pt x="9" y="50"/>
                      </a:cubicBezTo>
                      <a:cubicBezTo>
                        <a:pt x="6" y="51"/>
                        <a:pt x="1" y="53"/>
                        <a:pt x="0" y="55"/>
                      </a:cubicBezTo>
                      <a:cubicBezTo>
                        <a:pt x="1" y="58"/>
                        <a:pt x="1" y="57"/>
                        <a:pt x="4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10" y="59"/>
                        <a:pt x="20" y="51"/>
                        <a:pt x="23" y="51"/>
                      </a:cubicBezTo>
                      <a:cubicBezTo>
                        <a:pt x="25" y="51"/>
                        <a:pt x="24" y="51"/>
                        <a:pt x="27" y="52"/>
                      </a:cubicBezTo>
                      <a:cubicBezTo>
                        <a:pt x="29" y="54"/>
                        <a:pt x="29" y="55"/>
                        <a:pt x="30" y="58"/>
                      </a:cubicBezTo>
                      <a:cubicBezTo>
                        <a:pt x="30" y="59"/>
                        <a:pt x="30" y="59"/>
                        <a:pt x="30" y="59"/>
                      </a:cubicBezTo>
                      <a:cubicBezTo>
                        <a:pt x="30" y="62"/>
                        <a:pt x="28" y="64"/>
                        <a:pt x="26" y="65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4"/>
                        <a:pt x="20" y="64"/>
                        <a:pt x="19" y="64"/>
                      </a:cubicBezTo>
                      <a:cubicBezTo>
                        <a:pt x="18" y="64"/>
                        <a:pt x="18" y="64"/>
                        <a:pt x="18" y="64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8"/>
                        <a:pt x="16" y="68"/>
                        <a:pt x="16" y="68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16" y="78"/>
                        <a:pt x="13" y="85"/>
                        <a:pt x="11" y="90"/>
                      </a:cubicBezTo>
                      <a:cubicBezTo>
                        <a:pt x="9" y="94"/>
                        <a:pt x="3" y="100"/>
                        <a:pt x="3" y="105"/>
                      </a:cubicBezTo>
                      <a:cubicBezTo>
                        <a:pt x="3" y="106"/>
                        <a:pt x="4" y="109"/>
                        <a:pt x="5" y="110"/>
                      </a:cubicBezTo>
                      <a:cubicBezTo>
                        <a:pt x="6" y="110"/>
                        <a:pt x="6" y="110"/>
                        <a:pt x="6" y="110"/>
                      </a:cubicBezTo>
                      <a:cubicBezTo>
                        <a:pt x="7" y="110"/>
                        <a:pt x="7" y="110"/>
                        <a:pt x="7" y="110"/>
                      </a:cubicBezTo>
                      <a:cubicBezTo>
                        <a:pt x="9" y="110"/>
                        <a:pt x="8" y="110"/>
                        <a:pt x="9" y="111"/>
                      </a:cubicBezTo>
                      <a:cubicBezTo>
                        <a:pt x="11" y="109"/>
                        <a:pt x="15" y="101"/>
                        <a:pt x="15" y="98"/>
                      </a:cubicBezTo>
                      <a:cubicBezTo>
                        <a:pt x="17" y="94"/>
                        <a:pt x="20" y="89"/>
                        <a:pt x="24" y="89"/>
                      </a:cubicBezTo>
                      <a:cubicBezTo>
                        <a:pt x="25" y="89"/>
                        <a:pt x="25" y="89"/>
                        <a:pt x="26" y="88"/>
                      </a:cubicBezTo>
                      <a:cubicBezTo>
                        <a:pt x="28" y="90"/>
                        <a:pt x="32" y="90"/>
                        <a:pt x="32" y="93"/>
                      </a:cubicBez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8" y="102"/>
                        <a:pt x="25" y="101"/>
                        <a:pt x="23" y="104"/>
                      </a:cubicBezTo>
                      <a:cubicBezTo>
                        <a:pt x="26" y="109"/>
                        <a:pt x="27" y="108"/>
                        <a:pt x="29" y="113"/>
                      </a:cubicBezTo>
                      <a:cubicBezTo>
                        <a:pt x="29" y="114"/>
                        <a:pt x="29" y="114"/>
                        <a:pt x="29" y="114"/>
                      </a:cubicBezTo>
                      <a:cubicBezTo>
                        <a:pt x="29" y="115"/>
                        <a:pt x="29" y="115"/>
                        <a:pt x="29" y="115"/>
                      </a:cubicBezTo>
                      <a:cubicBezTo>
                        <a:pt x="29" y="116"/>
                        <a:pt x="29" y="116"/>
                        <a:pt x="29" y="116"/>
                      </a:cubicBezTo>
                      <a:cubicBezTo>
                        <a:pt x="28" y="119"/>
                        <a:pt x="26" y="123"/>
                        <a:pt x="22" y="122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2"/>
                        <a:pt x="11" y="124"/>
                        <a:pt x="10" y="124"/>
                      </a:cubicBezTo>
                      <a:cubicBezTo>
                        <a:pt x="13" y="127"/>
                        <a:pt x="23" y="129"/>
                        <a:pt x="23" y="133"/>
                      </a:cubicBezTo>
                      <a:cubicBezTo>
                        <a:pt x="23" y="137"/>
                        <a:pt x="18" y="142"/>
                        <a:pt x="15" y="144"/>
                      </a:cubicBezTo>
                      <a:cubicBezTo>
                        <a:pt x="15" y="150"/>
                        <a:pt x="15" y="150"/>
                        <a:pt x="15" y="150"/>
                      </a:cubicBezTo>
                      <a:cubicBezTo>
                        <a:pt x="17" y="150"/>
                        <a:pt x="17" y="150"/>
                        <a:pt x="17" y="150"/>
                      </a:cubicBezTo>
                      <a:cubicBezTo>
                        <a:pt x="20" y="150"/>
                        <a:pt x="27" y="141"/>
                        <a:pt x="29" y="139"/>
                      </a:cubicBezTo>
                      <a:cubicBezTo>
                        <a:pt x="33" y="135"/>
                        <a:pt x="34" y="129"/>
                        <a:pt x="38" y="12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8" name="iṣľïḋè">
                  <a:extLst>
                    <a:ext uri="{FF2B5EF4-FFF2-40B4-BE49-F238E27FC236}">
                      <a16:creationId xmlns:a16="http://schemas.microsoft.com/office/drawing/2014/main" id="{DD2F038B-85FF-447B-9396-501F91397948}"/>
                    </a:ext>
                  </a:extLst>
                </p:cNvPr>
                <p:cNvSpPr/>
                <p:nvPr/>
              </p:nvSpPr>
              <p:spPr bwMode="auto">
                <a:xfrm>
                  <a:off x="4422776" y="3106738"/>
                  <a:ext cx="412750" cy="596900"/>
                </a:xfrm>
                <a:custGeom>
                  <a:avLst/>
                  <a:gdLst>
                    <a:gd name="T0" fmla="*/ 63 w 125"/>
                    <a:gd name="T1" fmla="*/ 83 h 179"/>
                    <a:gd name="T2" fmla="*/ 69 w 125"/>
                    <a:gd name="T3" fmla="*/ 84 h 179"/>
                    <a:gd name="T4" fmla="*/ 71 w 125"/>
                    <a:gd name="T5" fmla="*/ 95 h 179"/>
                    <a:gd name="T6" fmla="*/ 56 w 125"/>
                    <a:gd name="T7" fmla="*/ 91 h 179"/>
                    <a:gd name="T8" fmla="*/ 77 w 125"/>
                    <a:gd name="T9" fmla="*/ 77 h 179"/>
                    <a:gd name="T10" fmla="*/ 90 w 125"/>
                    <a:gd name="T11" fmla="*/ 82 h 179"/>
                    <a:gd name="T12" fmla="*/ 93 w 125"/>
                    <a:gd name="T13" fmla="*/ 96 h 179"/>
                    <a:gd name="T14" fmla="*/ 88 w 125"/>
                    <a:gd name="T15" fmla="*/ 106 h 179"/>
                    <a:gd name="T16" fmla="*/ 75 w 125"/>
                    <a:gd name="T17" fmla="*/ 89 h 179"/>
                    <a:gd name="T18" fmla="*/ 91 w 125"/>
                    <a:gd name="T19" fmla="*/ 29 h 179"/>
                    <a:gd name="T20" fmla="*/ 95 w 125"/>
                    <a:gd name="T21" fmla="*/ 4 h 179"/>
                    <a:gd name="T22" fmla="*/ 92 w 125"/>
                    <a:gd name="T23" fmla="*/ 0 h 179"/>
                    <a:gd name="T24" fmla="*/ 86 w 125"/>
                    <a:gd name="T25" fmla="*/ 0 h 179"/>
                    <a:gd name="T26" fmla="*/ 80 w 125"/>
                    <a:gd name="T27" fmla="*/ 7 h 179"/>
                    <a:gd name="T28" fmla="*/ 83 w 125"/>
                    <a:gd name="T29" fmla="*/ 30 h 179"/>
                    <a:gd name="T30" fmla="*/ 86 w 125"/>
                    <a:gd name="T31" fmla="*/ 50 h 179"/>
                    <a:gd name="T32" fmla="*/ 46 w 125"/>
                    <a:gd name="T33" fmla="*/ 84 h 179"/>
                    <a:gd name="T34" fmla="*/ 0 w 125"/>
                    <a:gd name="T35" fmla="*/ 99 h 179"/>
                    <a:gd name="T36" fmla="*/ 13 w 125"/>
                    <a:gd name="T37" fmla="*/ 108 h 179"/>
                    <a:gd name="T38" fmla="*/ 30 w 125"/>
                    <a:gd name="T39" fmla="*/ 100 h 179"/>
                    <a:gd name="T40" fmla="*/ 47 w 125"/>
                    <a:gd name="T41" fmla="*/ 92 h 179"/>
                    <a:gd name="T42" fmla="*/ 51 w 125"/>
                    <a:gd name="T43" fmla="*/ 109 h 179"/>
                    <a:gd name="T44" fmla="*/ 50 w 125"/>
                    <a:gd name="T45" fmla="*/ 118 h 179"/>
                    <a:gd name="T46" fmla="*/ 54 w 125"/>
                    <a:gd name="T47" fmla="*/ 125 h 179"/>
                    <a:gd name="T48" fmla="*/ 62 w 125"/>
                    <a:gd name="T49" fmla="*/ 119 h 179"/>
                    <a:gd name="T50" fmla="*/ 62 w 125"/>
                    <a:gd name="T51" fmla="*/ 113 h 179"/>
                    <a:gd name="T52" fmla="*/ 78 w 125"/>
                    <a:gd name="T53" fmla="*/ 111 h 179"/>
                    <a:gd name="T54" fmla="*/ 78 w 125"/>
                    <a:gd name="T55" fmla="*/ 113 h 179"/>
                    <a:gd name="T56" fmla="*/ 78 w 125"/>
                    <a:gd name="T57" fmla="*/ 118 h 179"/>
                    <a:gd name="T58" fmla="*/ 46 w 125"/>
                    <a:gd name="T59" fmla="*/ 147 h 179"/>
                    <a:gd name="T60" fmla="*/ 28 w 125"/>
                    <a:gd name="T61" fmla="*/ 158 h 179"/>
                    <a:gd name="T62" fmla="*/ 1 w 125"/>
                    <a:gd name="T63" fmla="*/ 170 h 179"/>
                    <a:gd name="T64" fmla="*/ 14 w 125"/>
                    <a:gd name="T65" fmla="*/ 178 h 179"/>
                    <a:gd name="T66" fmla="*/ 20 w 125"/>
                    <a:gd name="T67" fmla="*/ 179 h 179"/>
                    <a:gd name="T68" fmla="*/ 22 w 125"/>
                    <a:gd name="T69" fmla="*/ 179 h 179"/>
                    <a:gd name="T70" fmla="*/ 38 w 125"/>
                    <a:gd name="T71" fmla="*/ 169 h 179"/>
                    <a:gd name="T72" fmla="*/ 61 w 125"/>
                    <a:gd name="T73" fmla="*/ 150 h 179"/>
                    <a:gd name="T74" fmla="*/ 79 w 125"/>
                    <a:gd name="T75" fmla="*/ 135 h 179"/>
                    <a:gd name="T76" fmla="*/ 96 w 125"/>
                    <a:gd name="T77" fmla="*/ 119 h 179"/>
                    <a:gd name="T78" fmla="*/ 106 w 125"/>
                    <a:gd name="T79" fmla="*/ 149 h 179"/>
                    <a:gd name="T80" fmla="*/ 125 w 125"/>
                    <a:gd name="T81" fmla="*/ 152 h 179"/>
                    <a:gd name="T82" fmla="*/ 116 w 125"/>
                    <a:gd name="T83" fmla="*/ 120 h 179"/>
                    <a:gd name="T84" fmla="*/ 115 w 125"/>
                    <a:gd name="T85" fmla="*/ 125 h 179"/>
                    <a:gd name="T86" fmla="*/ 109 w 125"/>
                    <a:gd name="T87" fmla="*/ 129 h 179"/>
                    <a:gd name="T88" fmla="*/ 97 w 125"/>
                    <a:gd name="T89" fmla="*/ 92 h 179"/>
                    <a:gd name="T90" fmla="*/ 94 w 125"/>
                    <a:gd name="T91" fmla="*/ 76 h 179"/>
                    <a:gd name="T92" fmla="*/ 110 w 125"/>
                    <a:gd name="T93" fmla="*/ 60 h 179"/>
                    <a:gd name="T94" fmla="*/ 105 w 125"/>
                    <a:gd name="T95" fmla="*/ 57 h 179"/>
                    <a:gd name="T96" fmla="*/ 101 w 125"/>
                    <a:gd name="T97" fmla="*/ 59 h 179"/>
                    <a:gd name="T98" fmla="*/ 91 w 125"/>
                    <a:gd name="T99" fmla="*/ 54 h 179"/>
                    <a:gd name="T100" fmla="*/ 91 w 125"/>
                    <a:gd name="T101" fmla="*/ 29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5" h="179">
                      <a:moveTo>
                        <a:pt x="56" y="91"/>
                      </a:moveTo>
                      <a:cubicBezTo>
                        <a:pt x="56" y="87"/>
                        <a:pt x="60" y="85"/>
                        <a:pt x="63" y="83"/>
                      </a:cubicBezTo>
                      <a:cubicBezTo>
                        <a:pt x="64" y="83"/>
                        <a:pt x="64" y="83"/>
                        <a:pt x="64" y="83"/>
                      </a:cubicBezTo>
                      <a:cubicBezTo>
                        <a:pt x="67" y="83"/>
                        <a:pt x="67" y="84"/>
                        <a:pt x="69" y="84"/>
                      </a:cubicBezTo>
                      <a:cubicBezTo>
                        <a:pt x="71" y="94"/>
                        <a:pt x="71" y="94"/>
                        <a:pt x="71" y="94"/>
                      </a:cubicBez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68" y="100"/>
                        <a:pt x="68" y="99"/>
                        <a:pt x="63" y="101"/>
                      </a:cubicBezTo>
                      <a:cubicBezTo>
                        <a:pt x="61" y="99"/>
                        <a:pt x="56" y="95"/>
                        <a:pt x="56" y="91"/>
                      </a:cubicBezTo>
                      <a:close/>
                      <a:moveTo>
                        <a:pt x="72" y="83"/>
                      </a:moveTo>
                      <a:cubicBezTo>
                        <a:pt x="74" y="79"/>
                        <a:pt x="73" y="79"/>
                        <a:pt x="77" y="77"/>
                      </a:cubicBezTo>
                      <a:cubicBezTo>
                        <a:pt x="79" y="75"/>
                        <a:pt x="82" y="75"/>
                        <a:pt x="83" y="73"/>
                      </a:cubicBezTo>
                      <a:cubicBezTo>
                        <a:pt x="88" y="76"/>
                        <a:pt x="89" y="76"/>
                        <a:pt x="90" y="82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93" y="96"/>
                        <a:pt x="93" y="96"/>
                        <a:pt x="93" y="96"/>
                      </a:cubicBezTo>
                      <a:cubicBezTo>
                        <a:pt x="94" y="99"/>
                        <a:pt x="94" y="99"/>
                        <a:pt x="94" y="99"/>
                      </a:cubicBezTo>
                      <a:cubicBezTo>
                        <a:pt x="91" y="105"/>
                        <a:pt x="93" y="103"/>
                        <a:pt x="88" y="106"/>
                      </a:cubicBezTo>
                      <a:cubicBezTo>
                        <a:pt x="83" y="101"/>
                        <a:pt x="82" y="101"/>
                        <a:pt x="79" y="95"/>
                      </a:cubicBezTo>
                      <a:cubicBezTo>
                        <a:pt x="77" y="93"/>
                        <a:pt x="77" y="91"/>
                        <a:pt x="75" y="89"/>
                      </a:cubicBezTo>
                      <a:cubicBezTo>
                        <a:pt x="73" y="87"/>
                        <a:pt x="73" y="86"/>
                        <a:pt x="72" y="83"/>
                      </a:cubicBezTo>
                      <a:close/>
                      <a:moveTo>
                        <a:pt x="91" y="29"/>
                      </a:moveTo>
                      <a:cubicBezTo>
                        <a:pt x="91" y="22"/>
                        <a:pt x="95" y="12"/>
                        <a:pt x="95" y="4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95" y="3"/>
                        <a:pt x="95" y="3"/>
                        <a:pt x="95" y="3"/>
                      </a:cubicBezTo>
                      <a:cubicBezTo>
                        <a:pt x="93" y="0"/>
                        <a:pt x="95" y="1"/>
                        <a:pt x="92" y="0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2" y="1"/>
                        <a:pt x="80" y="4"/>
                        <a:pt x="80" y="7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8"/>
                        <a:pt x="86" y="44"/>
                        <a:pt x="86" y="49"/>
                      </a:cubicBezTo>
                      <a:cubicBezTo>
                        <a:pt x="86" y="50"/>
                        <a:pt x="86" y="50"/>
                        <a:pt x="86" y="50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7" y="68"/>
                        <a:pt x="52" y="81"/>
                        <a:pt x="46" y="84"/>
                      </a:cubicBezTo>
                      <a:cubicBezTo>
                        <a:pt x="39" y="87"/>
                        <a:pt x="31" y="89"/>
                        <a:pt x="23" y="92"/>
                      </a:cubicBezTo>
                      <a:cubicBezTo>
                        <a:pt x="20" y="94"/>
                        <a:pt x="0" y="96"/>
                        <a:pt x="0" y="99"/>
                      </a:cubicBezTo>
                      <a:cubicBezTo>
                        <a:pt x="0" y="101"/>
                        <a:pt x="9" y="108"/>
                        <a:pt x="11" y="108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4" y="108"/>
                        <a:pt x="14" y="108"/>
                        <a:pt x="14" y="108"/>
                      </a:cubicBezTo>
                      <a:cubicBezTo>
                        <a:pt x="20" y="105"/>
                        <a:pt x="24" y="103"/>
                        <a:pt x="30" y="100"/>
                      </a:cubicBezTo>
                      <a:cubicBezTo>
                        <a:pt x="34" y="98"/>
                        <a:pt x="41" y="93"/>
                        <a:pt x="45" y="93"/>
                      </a:cubicBezTo>
                      <a:cubicBezTo>
                        <a:pt x="46" y="93"/>
                        <a:pt x="46" y="93"/>
                        <a:pt x="47" y="92"/>
                      </a:cubicBezTo>
                      <a:cubicBezTo>
                        <a:pt x="49" y="94"/>
                        <a:pt x="52" y="96"/>
                        <a:pt x="51" y="101"/>
                      </a:cubicBezTo>
                      <a:cubicBezTo>
                        <a:pt x="51" y="109"/>
                        <a:pt x="51" y="109"/>
                        <a:pt x="51" y="109"/>
                      </a:cubicBezTo>
                      <a:cubicBezTo>
                        <a:pt x="51" y="110"/>
                        <a:pt x="51" y="110"/>
                        <a:pt x="51" y="110"/>
                      </a:cubicBezTo>
                      <a:cubicBezTo>
                        <a:pt x="50" y="118"/>
                        <a:pt x="50" y="118"/>
                        <a:pt x="50" y="118"/>
                      </a:cubicBezTo>
                      <a:cubicBezTo>
                        <a:pt x="50" y="119"/>
                        <a:pt x="50" y="119"/>
                        <a:pt x="50" y="120"/>
                      </a:cubicBezTo>
                      <a:cubicBezTo>
                        <a:pt x="51" y="123"/>
                        <a:pt x="51" y="123"/>
                        <a:pt x="54" y="125"/>
                      </a:cubicBezTo>
                      <a:cubicBezTo>
                        <a:pt x="56" y="125"/>
                        <a:pt x="56" y="125"/>
                        <a:pt x="56" y="125"/>
                      </a:cubicBezTo>
                      <a:cubicBezTo>
                        <a:pt x="59" y="125"/>
                        <a:pt x="60" y="121"/>
                        <a:pt x="62" y="119"/>
                      </a:cubicBezTo>
                      <a:cubicBezTo>
                        <a:pt x="62" y="118"/>
                        <a:pt x="62" y="118"/>
                        <a:pt x="62" y="118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63" y="110"/>
                        <a:pt x="68" y="106"/>
                        <a:pt x="71" y="106"/>
                      </a:cubicBezTo>
                      <a:cubicBezTo>
                        <a:pt x="75" y="106"/>
                        <a:pt x="77" y="109"/>
                        <a:pt x="78" y="111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78" y="113"/>
                        <a:pt x="78" y="113"/>
                        <a:pt x="78" y="113"/>
                      </a:cubicBezTo>
                      <a:cubicBezTo>
                        <a:pt x="78" y="115"/>
                        <a:pt x="78" y="115"/>
                        <a:pt x="79" y="116"/>
                      </a:cubicBezTo>
                      <a:cubicBezTo>
                        <a:pt x="78" y="117"/>
                        <a:pt x="78" y="117"/>
                        <a:pt x="78" y="118"/>
                      </a:cubicBezTo>
                      <a:cubicBezTo>
                        <a:pt x="78" y="119"/>
                        <a:pt x="78" y="119"/>
                        <a:pt x="78" y="119"/>
                      </a:cubicBezTo>
                      <a:cubicBezTo>
                        <a:pt x="72" y="130"/>
                        <a:pt x="57" y="140"/>
                        <a:pt x="46" y="147"/>
                      </a:cubicBezTo>
                      <a:cubicBezTo>
                        <a:pt x="44" y="148"/>
                        <a:pt x="40" y="151"/>
                        <a:pt x="37" y="152"/>
                      </a:cubicBezTo>
                      <a:cubicBezTo>
                        <a:pt x="35" y="153"/>
                        <a:pt x="29" y="157"/>
                        <a:pt x="28" y="158"/>
                      </a:cubicBezTo>
                      <a:cubicBezTo>
                        <a:pt x="25" y="161"/>
                        <a:pt x="12" y="165"/>
                        <a:pt x="6" y="165"/>
                      </a:cubicBezTo>
                      <a:cubicBezTo>
                        <a:pt x="4" y="165"/>
                        <a:pt x="2" y="168"/>
                        <a:pt x="1" y="170"/>
                      </a:cubicBezTo>
                      <a:cubicBezTo>
                        <a:pt x="4" y="171"/>
                        <a:pt x="4" y="173"/>
                        <a:pt x="7" y="175"/>
                      </a:cubicBezTo>
                      <a:cubicBezTo>
                        <a:pt x="10" y="176"/>
                        <a:pt x="12" y="176"/>
                        <a:pt x="14" y="178"/>
                      </a:cubicBezTo>
                      <a:cubicBezTo>
                        <a:pt x="18" y="179"/>
                        <a:pt x="18" y="179"/>
                        <a:pt x="18" y="179"/>
                      </a:cubicBezTo>
                      <a:cubicBezTo>
                        <a:pt x="20" y="179"/>
                        <a:pt x="18" y="179"/>
                        <a:pt x="20" y="179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6" y="177"/>
                        <a:pt x="30" y="175"/>
                        <a:pt x="33" y="173"/>
                      </a:cubicBezTo>
                      <a:cubicBezTo>
                        <a:pt x="35" y="171"/>
                        <a:pt x="36" y="170"/>
                        <a:pt x="38" y="169"/>
                      </a:cubicBezTo>
                      <a:cubicBezTo>
                        <a:pt x="39" y="168"/>
                        <a:pt x="43" y="166"/>
                        <a:pt x="43" y="166"/>
                      </a:cubicBezTo>
                      <a:cubicBezTo>
                        <a:pt x="49" y="160"/>
                        <a:pt x="55" y="156"/>
                        <a:pt x="61" y="150"/>
                      </a:cubicBezTo>
                      <a:cubicBezTo>
                        <a:pt x="64" y="148"/>
                        <a:pt x="67" y="145"/>
                        <a:pt x="70" y="143"/>
                      </a:cubicBezTo>
                      <a:cubicBezTo>
                        <a:pt x="73" y="140"/>
                        <a:pt x="76" y="137"/>
                        <a:pt x="79" y="135"/>
                      </a:cubicBezTo>
                      <a:cubicBezTo>
                        <a:pt x="82" y="132"/>
                        <a:pt x="85" y="130"/>
                        <a:pt x="87" y="127"/>
                      </a:cubicBezTo>
                      <a:cubicBezTo>
                        <a:pt x="90" y="124"/>
                        <a:pt x="91" y="119"/>
                        <a:pt x="96" y="119"/>
                      </a:cubicBezTo>
                      <a:cubicBezTo>
                        <a:pt x="98" y="119"/>
                        <a:pt x="100" y="126"/>
                        <a:pt x="100" y="128"/>
                      </a:cubicBezTo>
                      <a:cubicBezTo>
                        <a:pt x="100" y="132"/>
                        <a:pt x="105" y="145"/>
                        <a:pt x="106" y="149"/>
                      </a:cubicBezTo>
                      <a:cubicBezTo>
                        <a:pt x="108" y="155"/>
                        <a:pt x="111" y="165"/>
                        <a:pt x="118" y="165"/>
                      </a:cubicBezTo>
                      <a:cubicBezTo>
                        <a:pt x="119" y="163"/>
                        <a:pt x="125" y="161"/>
                        <a:pt x="125" y="152"/>
                      </a:cubicBezTo>
                      <a:cubicBezTo>
                        <a:pt x="125" y="143"/>
                        <a:pt x="120" y="120"/>
                        <a:pt x="117" y="116"/>
                      </a:cubicBezTo>
                      <a:cubicBezTo>
                        <a:pt x="117" y="118"/>
                        <a:pt x="116" y="118"/>
                        <a:pt x="116" y="120"/>
                      </a:cubicBezTo>
                      <a:cubicBezTo>
                        <a:pt x="116" y="123"/>
                        <a:pt x="115" y="121"/>
                        <a:pt x="115" y="124"/>
                      </a:cubicBezTo>
                      <a:cubicBezTo>
                        <a:pt x="115" y="125"/>
                        <a:pt x="115" y="125"/>
                        <a:pt x="115" y="125"/>
                      </a:cubicBezTo>
                      <a:cubicBezTo>
                        <a:pt x="115" y="126"/>
                        <a:pt x="114" y="129"/>
                        <a:pt x="112" y="129"/>
                      </a:cubicBezTo>
                      <a:cubicBezTo>
                        <a:pt x="109" y="129"/>
                        <a:pt x="109" y="129"/>
                        <a:pt x="109" y="129"/>
                      </a:cubicBezTo>
                      <a:cubicBezTo>
                        <a:pt x="105" y="129"/>
                        <a:pt x="102" y="110"/>
                        <a:pt x="100" y="105"/>
                      </a:cubicBezTo>
                      <a:cubicBezTo>
                        <a:pt x="98" y="101"/>
                        <a:pt x="98" y="97"/>
                        <a:pt x="97" y="92"/>
                      </a:cubicBezTo>
                      <a:cubicBezTo>
                        <a:pt x="96" y="87"/>
                        <a:pt x="94" y="86"/>
                        <a:pt x="94" y="79"/>
                      </a:cubicBezTo>
                      <a:cubicBezTo>
                        <a:pt x="94" y="76"/>
                        <a:pt x="94" y="76"/>
                        <a:pt x="94" y="76"/>
                      </a:cubicBezTo>
                      <a:cubicBezTo>
                        <a:pt x="94" y="65"/>
                        <a:pt x="110" y="67"/>
                        <a:pt x="110" y="61"/>
                      </a:cubicBezTo>
                      <a:cubicBezTo>
                        <a:pt x="110" y="60"/>
                        <a:pt x="110" y="60"/>
                        <a:pt x="110" y="60"/>
                      </a:cubicBezTo>
                      <a:cubicBezTo>
                        <a:pt x="110" y="58"/>
                        <a:pt x="109" y="57"/>
                        <a:pt x="108" y="57"/>
                      </a:cubicBezTo>
                      <a:cubicBezTo>
                        <a:pt x="105" y="57"/>
                        <a:pt x="105" y="57"/>
                        <a:pt x="105" y="57"/>
                      </a:cubicBezTo>
                      <a:cubicBezTo>
                        <a:pt x="104" y="57"/>
                        <a:pt x="104" y="57"/>
                        <a:pt x="104" y="57"/>
                      </a:cubicBezTo>
                      <a:cubicBezTo>
                        <a:pt x="103" y="58"/>
                        <a:pt x="102" y="59"/>
                        <a:pt x="101" y="59"/>
                      </a:cubicBezTo>
                      <a:cubicBezTo>
                        <a:pt x="99" y="60"/>
                        <a:pt x="99" y="59"/>
                        <a:pt x="97" y="60"/>
                      </a:cubicBezTo>
                      <a:cubicBezTo>
                        <a:pt x="95" y="59"/>
                        <a:pt x="91" y="56"/>
                        <a:pt x="91" y="54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lnTo>
                        <a:pt x="91" y="29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9" name="ïşḻidé">
                  <a:extLst>
                    <a:ext uri="{FF2B5EF4-FFF2-40B4-BE49-F238E27FC236}">
                      <a16:creationId xmlns:a16="http://schemas.microsoft.com/office/drawing/2014/main" id="{D7DBA7E9-CF27-4E7F-8E7D-27AFAA5C707C}"/>
                    </a:ext>
                  </a:extLst>
                </p:cNvPr>
                <p:cNvSpPr/>
                <p:nvPr/>
              </p:nvSpPr>
              <p:spPr bwMode="auto">
                <a:xfrm>
                  <a:off x="5478463" y="3581400"/>
                  <a:ext cx="46038" cy="76200"/>
                </a:xfrm>
                <a:custGeom>
                  <a:avLst/>
                  <a:gdLst>
                    <a:gd name="T0" fmla="*/ 14 w 14"/>
                    <a:gd name="T1" fmla="*/ 15 h 23"/>
                    <a:gd name="T2" fmla="*/ 10 w 14"/>
                    <a:gd name="T3" fmla="*/ 6 h 23"/>
                    <a:gd name="T4" fmla="*/ 3 w 14"/>
                    <a:gd name="T5" fmla="*/ 0 h 23"/>
                    <a:gd name="T6" fmla="*/ 0 w 14"/>
                    <a:gd name="T7" fmla="*/ 3 h 23"/>
                    <a:gd name="T8" fmla="*/ 5 w 14"/>
                    <a:gd name="T9" fmla="*/ 11 h 23"/>
                    <a:gd name="T10" fmla="*/ 5 w 14"/>
                    <a:gd name="T11" fmla="*/ 12 h 23"/>
                    <a:gd name="T12" fmla="*/ 5 w 14"/>
                    <a:gd name="T13" fmla="*/ 14 h 23"/>
                    <a:gd name="T14" fmla="*/ 5 w 14"/>
                    <a:gd name="T15" fmla="*/ 15 h 23"/>
                    <a:gd name="T16" fmla="*/ 2 w 14"/>
                    <a:gd name="T17" fmla="*/ 19 h 23"/>
                    <a:gd name="T18" fmla="*/ 2 w 14"/>
                    <a:gd name="T19" fmla="*/ 22 h 23"/>
                    <a:gd name="T20" fmla="*/ 5 w 14"/>
                    <a:gd name="T21" fmla="*/ 23 h 23"/>
                    <a:gd name="T22" fmla="*/ 6 w 14"/>
                    <a:gd name="T23" fmla="*/ 23 h 23"/>
                    <a:gd name="T24" fmla="*/ 11 w 14"/>
                    <a:gd name="T25" fmla="*/ 20 h 23"/>
                    <a:gd name="T26" fmla="*/ 14 w 14"/>
                    <a:gd name="T27" fmla="*/ 1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23">
                      <a:moveTo>
                        <a:pt x="14" y="15"/>
                      </a:moveTo>
                      <a:cubicBezTo>
                        <a:pt x="14" y="11"/>
                        <a:pt x="12" y="9"/>
                        <a:pt x="10" y="6"/>
                      </a:cubicBezTo>
                      <a:cubicBezTo>
                        <a:pt x="8" y="5"/>
                        <a:pt x="3" y="1"/>
                        <a:pt x="3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7" y="23"/>
                        <a:pt x="11" y="21"/>
                        <a:pt x="11" y="20"/>
                      </a:cubicBezTo>
                      <a:cubicBezTo>
                        <a:pt x="13" y="19"/>
                        <a:pt x="13" y="17"/>
                        <a:pt x="14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0" name="íṩlîḑê">
                  <a:extLst>
                    <a:ext uri="{FF2B5EF4-FFF2-40B4-BE49-F238E27FC236}">
                      <a16:creationId xmlns:a16="http://schemas.microsoft.com/office/drawing/2014/main" id="{27DA1609-E411-4169-BF9C-50654B6A7612}"/>
                    </a:ext>
                  </a:extLst>
                </p:cNvPr>
                <p:cNvSpPr/>
                <p:nvPr/>
              </p:nvSpPr>
              <p:spPr bwMode="auto">
                <a:xfrm>
                  <a:off x="6310313" y="3136900"/>
                  <a:ext cx="406400" cy="554038"/>
                </a:xfrm>
                <a:custGeom>
                  <a:avLst/>
                  <a:gdLst>
                    <a:gd name="T0" fmla="*/ 101 w 123"/>
                    <a:gd name="T1" fmla="*/ 9 h 166"/>
                    <a:gd name="T2" fmla="*/ 96 w 123"/>
                    <a:gd name="T3" fmla="*/ 0 h 166"/>
                    <a:gd name="T4" fmla="*/ 76 w 123"/>
                    <a:gd name="T5" fmla="*/ 23 h 166"/>
                    <a:gd name="T6" fmla="*/ 66 w 123"/>
                    <a:gd name="T7" fmla="*/ 20 h 166"/>
                    <a:gd name="T8" fmla="*/ 69 w 123"/>
                    <a:gd name="T9" fmla="*/ 29 h 166"/>
                    <a:gd name="T10" fmla="*/ 64 w 123"/>
                    <a:gd name="T11" fmla="*/ 38 h 166"/>
                    <a:gd name="T12" fmla="*/ 71 w 123"/>
                    <a:gd name="T13" fmla="*/ 37 h 166"/>
                    <a:gd name="T14" fmla="*/ 78 w 123"/>
                    <a:gd name="T15" fmla="*/ 38 h 166"/>
                    <a:gd name="T16" fmla="*/ 104 w 123"/>
                    <a:gd name="T17" fmla="*/ 37 h 166"/>
                    <a:gd name="T18" fmla="*/ 97 w 123"/>
                    <a:gd name="T19" fmla="*/ 43 h 166"/>
                    <a:gd name="T20" fmla="*/ 85 w 123"/>
                    <a:gd name="T21" fmla="*/ 56 h 166"/>
                    <a:gd name="T22" fmla="*/ 78 w 123"/>
                    <a:gd name="T23" fmla="*/ 67 h 166"/>
                    <a:gd name="T24" fmla="*/ 72 w 123"/>
                    <a:gd name="T25" fmla="*/ 62 h 166"/>
                    <a:gd name="T26" fmla="*/ 72 w 123"/>
                    <a:gd name="T27" fmla="*/ 48 h 166"/>
                    <a:gd name="T28" fmla="*/ 63 w 123"/>
                    <a:gd name="T29" fmla="*/ 57 h 166"/>
                    <a:gd name="T30" fmla="*/ 56 w 123"/>
                    <a:gd name="T31" fmla="*/ 57 h 166"/>
                    <a:gd name="T32" fmla="*/ 61 w 123"/>
                    <a:gd name="T33" fmla="*/ 66 h 166"/>
                    <a:gd name="T34" fmla="*/ 59 w 123"/>
                    <a:gd name="T35" fmla="*/ 70 h 166"/>
                    <a:gd name="T36" fmla="*/ 68 w 123"/>
                    <a:gd name="T37" fmla="*/ 74 h 166"/>
                    <a:gd name="T38" fmla="*/ 68 w 123"/>
                    <a:gd name="T39" fmla="*/ 78 h 166"/>
                    <a:gd name="T40" fmla="*/ 40 w 123"/>
                    <a:gd name="T41" fmla="*/ 92 h 166"/>
                    <a:gd name="T42" fmla="*/ 24 w 123"/>
                    <a:gd name="T43" fmla="*/ 99 h 166"/>
                    <a:gd name="T44" fmla="*/ 3 w 123"/>
                    <a:gd name="T45" fmla="*/ 105 h 166"/>
                    <a:gd name="T46" fmla="*/ 2 w 123"/>
                    <a:gd name="T47" fmla="*/ 112 h 166"/>
                    <a:gd name="T48" fmla="*/ 14 w 123"/>
                    <a:gd name="T49" fmla="*/ 120 h 166"/>
                    <a:gd name="T50" fmla="*/ 32 w 123"/>
                    <a:gd name="T51" fmla="*/ 108 h 166"/>
                    <a:gd name="T52" fmla="*/ 55 w 123"/>
                    <a:gd name="T53" fmla="*/ 93 h 166"/>
                    <a:gd name="T54" fmla="*/ 63 w 123"/>
                    <a:gd name="T55" fmla="*/ 89 h 166"/>
                    <a:gd name="T56" fmla="*/ 82 w 123"/>
                    <a:gd name="T57" fmla="*/ 83 h 166"/>
                    <a:gd name="T58" fmla="*/ 82 w 123"/>
                    <a:gd name="T59" fmla="*/ 86 h 166"/>
                    <a:gd name="T60" fmla="*/ 74 w 123"/>
                    <a:gd name="T61" fmla="*/ 97 h 166"/>
                    <a:gd name="T62" fmla="*/ 61 w 123"/>
                    <a:gd name="T63" fmla="*/ 107 h 166"/>
                    <a:gd name="T64" fmla="*/ 64 w 123"/>
                    <a:gd name="T65" fmla="*/ 118 h 166"/>
                    <a:gd name="T66" fmla="*/ 55 w 123"/>
                    <a:gd name="T67" fmla="*/ 126 h 166"/>
                    <a:gd name="T68" fmla="*/ 40 w 123"/>
                    <a:gd name="T69" fmla="*/ 129 h 166"/>
                    <a:gd name="T70" fmla="*/ 30 w 123"/>
                    <a:gd name="T71" fmla="*/ 130 h 166"/>
                    <a:gd name="T72" fmla="*/ 35 w 123"/>
                    <a:gd name="T73" fmla="*/ 141 h 166"/>
                    <a:gd name="T74" fmla="*/ 38 w 123"/>
                    <a:gd name="T75" fmla="*/ 141 h 166"/>
                    <a:gd name="T76" fmla="*/ 56 w 123"/>
                    <a:gd name="T77" fmla="*/ 133 h 166"/>
                    <a:gd name="T78" fmla="*/ 63 w 123"/>
                    <a:gd name="T79" fmla="*/ 141 h 166"/>
                    <a:gd name="T80" fmla="*/ 56 w 123"/>
                    <a:gd name="T81" fmla="*/ 154 h 166"/>
                    <a:gd name="T82" fmla="*/ 53 w 123"/>
                    <a:gd name="T83" fmla="*/ 154 h 166"/>
                    <a:gd name="T84" fmla="*/ 49 w 123"/>
                    <a:gd name="T85" fmla="*/ 154 h 166"/>
                    <a:gd name="T86" fmla="*/ 46 w 123"/>
                    <a:gd name="T87" fmla="*/ 156 h 166"/>
                    <a:gd name="T88" fmla="*/ 56 w 123"/>
                    <a:gd name="T89" fmla="*/ 166 h 166"/>
                    <a:gd name="T90" fmla="*/ 71 w 123"/>
                    <a:gd name="T91" fmla="*/ 160 h 166"/>
                    <a:gd name="T92" fmla="*/ 75 w 123"/>
                    <a:gd name="T93" fmla="*/ 146 h 166"/>
                    <a:gd name="T94" fmla="*/ 80 w 123"/>
                    <a:gd name="T95" fmla="*/ 124 h 166"/>
                    <a:gd name="T96" fmla="*/ 94 w 123"/>
                    <a:gd name="T97" fmla="*/ 120 h 166"/>
                    <a:gd name="T98" fmla="*/ 81 w 123"/>
                    <a:gd name="T99" fmla="*/ 117 h 166"/>
                    <a:gd name="T100" fmla="*/ 72 w 123"/>
                    <a:gd name="T101" fmla="*/ 107 h 166"/>
                    <a:gd name="T102" fmla="*/ 78 w 123"/>
                    <a:gd name="T103" fmla="*/ 96 h 166"/>
                    <a:gd name="T104" fmla="*/ 92 w 123"/>
                    <a:gd name="T105" fmla="*/ 89 h 166"/>
                    <a:gd name="T106" fmla="*/ 102 w 123"/>
                    <a:gd name="T107" fmla="*/ 78 h 166"/>
                    <a:gd name="T108" fmla="*/ 95 w 123"/>
                    <a:gd name="T109" fmla="*/ 61 h 166"/>
                    <a:gd name="T110" fmla="*/ 109 w 123"/>
                    <a:gd name="T111" fmla="*/ 48 h 166"/>
                    <a:gd name="T112" fmla="*/ 116 w 123"/>
                    <a:gd name="T113" fmla="*/ 42 h 166"/>
                    <a:gd name="T114" fmla="*/ 121 w 123"/>
                    <a:gd name="T115" fmla="*/ 32 h 166"/>
                    <a:gd name="T116" fmla="*/ 116 w 123"/>
                    <a:gd name="T117" fmla="*/ 17 h 166"/>
                    <a:gd name="T118" fmla="*/ 104 w 123"/>
                    <a:gd name="T119" fmla="*/ 20 h 166"/>
                    <a:gd name="T120" fmla="*/ 93 w 123"/>
                    <a:gd name="T121" fmla="*/ 21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3" h="166">
                      <a:moveTo>
                        <a:pt x="93" y="21"/>
                      </a:moveTo>
                      <a:cubicBezTo>
                        <a:pt x="94" y="14"/>
                        <a:pt x="98" y="14"/>
                        <a:pt x="101" y="9"/>
                      </a:cubicBezTo>
                      <a:cubicBezTo>
                        <a:pt x="101" y="8"/>
                        <a:pt x="101" y="8"/>
                        <a:pt x="101" y="8"/>
                      </a:cubicBezTo>
                      <a:cubicBezTo>
                        <a:pt x="101" y="5"/>
                        <a:pt x="97" y="1"/>
                        <a:pt x="96" y="0"/>
                      </a:cubicBezTo>
                      <a:cubicBezTo>
                        <a:pt x="89" y="3"/>
                        <a:pt x="91" y="6"/>
                        <a:pt x="88" y="13"/>
                      </a:cubicBezTo>
                      <a:cubicBezTo>
                        <a:pt x="85" y="17"/>
                        <a:pt x="82" y="23"/>
                        <a:pt x="76" y="23"/>
                      </a:cubicBezTo>
                      <a:cubicBezTo>
                        <a:pt x="75" y="23"/>
                        <a:pt x="70" y="18"/>
                        <a:pt x="67" y="17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7" y="23"/>
                        <a:pt x="69" y="24"/>
                        <a:pt x="69" y="28"/>
                      </a:cubicBezTo>
                      <a:cubicBezTo>
                        <a:pt x="69" y="29"/>
                        <a:pt x="69" y="29"/>
                        <a:pt x="69" y="29"/>
                      </a:cubicBezTo>
                      <a:cubicBezTo>
                        <a:pt x="69" y="29"/>
                        <a:pt x="63" y="36"/>
                        <a:pt x="62" y="37"/>
                      </a:cubicBezTo>
                      <a:cubicBezTo>
                        <a:pt x="63" y="38"/>
                        <a:pt x="61" y="38"/>
                        <a:pt x="64" y="38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74" y="37"/>
                        <a:pt x="74" y="38"/>
                        <a:pt x="78" y="38"/>
                      </a:cubicBezTo>
                      <a:cubicBezTo>
                        <a:pt x="78" y="38"/>
                        <a:pt x="78" y="38"/>
                        <a:pt x="78" y="38"/>
                      </a:cubicBezTo>
                      <a:cubicBezTo>
                        <a:pt x="79" y="38"/>
                        <a:pt x="84" y="33"/>
                        <a:pt x="91" y="32"/>
                      </a:cubicBezTo>
                      <a:cubicBezTo>
                        <a:pt x="96" y="31"/>
                        <a:pt x="104" y="30"/>
                        <a:pt x="104" y="37"/>
                      </a:cubicBezTo>
                      <a:cubicBezTo>
                        <a:pt x="104" y="39"/>
                        <a:pt x="102" y="41"/>
                        <a:pt x="101" y="43"/>
                      </a:cubicBezTo>
                      <a:cubicBezTo>
                        <a:pt x="98" y="43"/>
                        <a:pt x="99" y="43"/>
                        <a:pt x="97" y="43"/>
                      </a:cubicBezTo>
                      <a:cubicBezTo>
                        <a:pt x="96" y="43"/>
                        <a:pt x="93" y="42"/>
                        <a:pt x="92" y="41"/>
                      </a:cubicBezTo>
                      <a:cubicBezTo>
                        <a:pt x="85" y="46"/>
                        <a:pt x="88" y="49"/>
                        <a:pt x="85" y="56"/>
                      </a:cubicBezTo>
                      <a:cubicBezTo>
                        <a:pt x="84" y="57"/>
                        <a:pt x="81" y="64"/>
                        <a:pt x="81" y="64"/>
                      </a:cubicBezTo>
                      <a:cubicBezTo>
                        <a:pt x="80" y="66"/>
                        <a:pt x="80" y="64"/>
                        <a:pt x="78" y="67"/>
                      </a:cubicBezTo>
                      <a:cubicBezTo>
                        <a:pt x="77" y="70"/>
                        <a:pt x="78" y="68"/>
                        <a:pt x="76" y="70"/>
                      </a:cubicBezTo>
                      <a:cubicBezTo>
                        <a:pt x="74" y="67"/>
                        <a:pt x="72" y="66"/>
                        <a:pt x="72" y="62"/>
                      </a:cubicBezTo>
                      <a:cubicBezTo>
                        <a:pt x="72" y="61"/>
                        <a:pt x="75" y="55"/>
                        <a:pt x="76" y="54"/>
                      </a:cubicBezTo>
                      <a:cubicBezTo>
                        <a:pt x="75" y="51"/>
                        <a:pt x="75" y="48"/>
                        <a:pt x="72" y="48"/>
                      </a:cubicBezTo>
                      <a:cubicBezTo>
                        <a:pt x="71" y="48"/>
                        <a:pt x="70" y="49"/>
                        <a:pt x="70" y="49"/>
                      </a:cubicBezTo>
                      <a:cubicBezTo>
                        <a:pt x="70" y="55"/>
                        <a:pt x="67" y="55"/>
                        <a:pt x="63" y="57"/>
                      </a:cubicBezTo>
                      <a:cubicBezTo>
                        <a:pt x="62" y="56"/>
                        <a:pt x="60" y="55"/>
                        <a:pt x="59" y="55"/>
                      </a:cubicBezTo>
                      <a:cubicBezTo>
                        <a:pt x="58" y="55"/>
                        <a:pt x="56" y="57"/>
                        <a:pt x="56" y="57"/>
                      </a:cubicBezTo>
                      <a:cubicBezTo>
                        <a:pt x="58" y="60"/>
                        <a:pt x="59" y="60"/>
                        <a:pt x="61" y="64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1" y="67"/>
                        <a:pt x="61" y="67"/>
                        <a:pt x="61" y="67"/>
                      </a:cubicBezTo>
                      <a:cubicBezTo>
                        <a:pt x="59" y="70"/>
                        <a:pt x="59" y="70"/>
                        <a:pt x="59" y="70"/>
                      </a:cubicBezTo>
                      <a:cubicBezTo>
                        <a:pt x="60" y="71"/>
                        <a:pt x="58" y="71"/>
                        <a:pt x="61" y="71"/>
                      </a:cubicBezTo>
                      <a:cubicBezTo>
                        <a:pt x="64" y="71"/>
                        <a:pt x="66" y="72"/>
                        <a:pt x="68" y="74"/>
                      </a:cubicBezTo>
                      <a:cubicBezTo>
                        <a:pt x="68" y="75"/>
                        <a:pt x="68" y="75"/>
                        <a:pt x="68" y="75"/>
                      </a:cubicBezTo>
                      <a:cubicBezTo>
                        <a:pt x="68" y="78"/>
                        <a:pt x="68" y="78"/>
                        <a:pt x="68" y="78"/>
                      </a:cubicBezTo>
                      <a:cubicBezTo>
                        <a:pt x="68" y="82"/>
                        <a:pt x="58" y="85"/>
                        <a:pt x="55" y="86"/>
                      </a:cubicBezTo>
                      <a:cubicBezTo>
                        <a:pt x="50" y="88"/>
                        <a:pt x="44" y="91"/>
                        <a:pt x="40" y="92"/>
                      </a:cubicBezTo>
                      <a:cubicBezTo>
                        <a:pt x="36" y="94"/>
                        <a:pt x="35" y="94"/>
                        <a:pt x="32" y="96"/>
                      </a:cubicBezTo>
                      <a:cubicBezTo>
                        <a:pt x="29" y="97"/>
                        <a:pt x="27" y="97"/>
                        <a:pt x="24" y="99"/>
                      </a:cubicBezTo>
                      <a:cubicBezTo>
                        <a:pt x="20" y="101"/>
                        <a:pt x="13" y="104"/>
                        <a:pt x="9" y="104"/>
                      </a:cubicBezTo>
                      <a:cubicBezTo>
                        <a:pt x="3" y="105"/>
                        <a:pt x="3" y="105"/>
                        <a:pt x="3" y="105"/>
                      </a:cubicBezTo>
                      <a:cubicBezTo>
                        <a:pt x="1" y="105"/>
                        <a:pt x="1" y="106"/>
                        <a:pt x="0" y="107"/>
                      </a:cubicBezTo>
                      <a:cubicBezTo>
                        <a:pt x="0" y="108"/>
                        <a:pt x="0" y="111"/>
                        <a:pt x="2" y="112"/>
                      </a:cubicBezTo>
                      <a:cubicBezTo>
                        <a:pt x="4" y="114"/>
                        <a:pt x="3" y="114"/>
                        <a:pt x="5" y="115"/>
                      </a:cubicBezTo>
                      <a:cubicBezTo>
                        <a:pt x="6" y="116"/>
                        <a:pt x="12" y="119"/>
                        <a:pt x="14" y="120"/>
                      </a:cubicBezTo>
                      <a:cubicBezTo>
                        <a:pt x="15" y="119"/>
                        <a:pt x="15" y="119"/>
                        <a:pt x="17" y="119"/>
                      </a:cubicBezTo>
                      <a:cubicBezTo>
                        <a:pt x="20" y="119"/>
                        <a:pt x="30" y="110"/>
                        <a:pt x="32" y="108"/>
                      </a:cubicBezTo>
                      <a:cubicBezTo>
                        <a:pt x="36" y="104"/>
                        <a:pt x="42" y="101"/>
                        <a:pt x="47" y="98"/>
                      </a:cubicBezTo>
                      <a:cubicBezTo>
                        <a:pt x="50" y="96"/>
                        <a:pt x="52" y="95"/>
                        <a:pt x="55" y="93"/>
                      </a:cubicBezTo>
                      <a:cubicBezTo>
                        <a:pt x="57" y="92"/>
                        <a:pt x="58" y="92"/>
                        <a:pt x="59" y="91"/>
                      </a:cubicBezTo>
                      <a:cubicBezTo>
                        <a:pt x="61" y="90"/>
                        <a:pt x="61" y="90"/>
                        <a:pt x="63" y="89"/>
                      </a:cubicBezTo>
                      <a:cubicBezTo>
                        <a:pt x="68" y="87"/>
                        <a:pt x="74" y="80"/>
                        <a:pt x="79" y="80"/>
                      </a:cubicBezTo>
                      <a:cubicBezTo>
                        <a:pt x="81" y="80"/>
                        <a:pt x="82" y="82"/>
                        <a:pt x="82" y="83"/>
                      </a:cubicBezTo>
                      <a:cubicBezTo>
                        <a:pt x="82" y="85"/>
                        <a:pt x="82" y="85"/>
                        <a:pt x="82" y="85"/>
                      </a:cubicBezTo>
                      <a:cubicBezTo>
                        <a:pt x="82" y="86"/>
                        <a:pt x="82" y="86"/>
                        <a:pt x="82" y="86"/>
                      </a:cubicBezTo>
                      <a:cubicBezTo>
                        <a:pt x="80" y="90"/>
                        <a:pt x="79" y="89"/>
                        <a:pt x="78" y="93"/>
                      </a:cubicBezTo>
                      <a:cubicBezTo>
                        <a:pt x="75" y="94"/>
                        <a:pt x="75" y="94"/>
                        <a:pt x="74" y="97"/>
                      </a:cubicBezTo>
                      <a:cubicBezTo>
                        <a:pt x="69" y="98"/>
                        <a:pt x="71" y="99"/>
                        <a:pt x="67" y="101"/>
                      </a:cubicBezTo>
                      <a:cubicBezTo>
                        <a:pt x="63" y="103"/>
                        <a:pt x="63" y="103"/>
                        <a:pt x="61" y="107"/>
                      </a:cubicBezTo>
                      <a:cubicBezTo>
                        <a:pt x="61" y="110"/>
                        <a:pt x="64" y="114"/>
                        <a:pt x="64" y="117"/>
                      </a:cubicBezTo>
                      <a:cubicBezTo>
                        <a:pt x="64" y="118"/>
                        <a:pt x="64" y="118"/>
                        <a:pt x="64" y="118"/>
                      </a:cubicBezTo>
                      <a:cubicBezTo>
                        <a:pt x="64" y="119"/>
                        <a:pt x="64" y="119"/>
                        <a:pt x="64" y="119"/>
                      </a:cubicBezTo>
                      <a:cubicBezTo>
                        <a:pt x="61" y="123"/>
                        <a:pt x="60" y="125"/>
                        <a:pt x="55" y="126"/>
                      </a:cubicBezTo>
                      <a:cubicBezTo>
                        <a:pt x="51" y="127"/>
                        <a:pt x="43" y="129"/>
                        <a:pt x="41" y="129"/>
                      </a:cubicBezTo>
                      <a:cubicBezTo>
                        <a:pt x="40" y="129"/>
                        <a:pt x="40" y="129"/>
                        <a:pt x="40" y="129"/>
                      </a:cubicBezTo>
                      <a:cubicBezTo>
                        <a:pt x="32" y="130"/>
                        <a:pt x="32" y="130"/>
                        <a:pt x="32" y="130"/>
                      </a:cubicBezTo>
                      <a:cubicBezTo>
                        <a:pt x="30" y="130"/>
                        <a:pt x="30" y="130"/>
                        <a:pt x="30" y="130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30" y="136"/>
                        <a:pt x="30" y="138"/>
                        <a:pt x="35" y="141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38" y="141"/>
                        <a:pt x="38" y="141"/>
                        <a:pt x="38" y="141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3" y="138"/>
                        <a:pt x="51" y="133"/>
                        <a:pt x="56" y="133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62" y="133"/>
                        <a:pt x="63" y="137"/>
                        <a:pt x="63" y="141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3" y="150"/>
                        <a:pt x="60" y="152"/>
                        <a:pt x="56" y="154"/>
                      </a:cubicBezTo>
                      <a:cubicBezTo>
                        <a:pt x="55" y="154"/>
                        <a:pt x="55" y="154"/>
                        <a:pt x="55" y="154"/>
                      </a:cubicBezTo>
                      <a:cubicBezTo>
                        <a:pt x="53" y="154"/>
                        <a:pt x="53" y="154"/>
                        <a:pt x="53" y="154"/>
                      </a:cubicBezTo>
                      <a:cubicBezTo>
                        <a:pt x="52" y="154"/>
                        <a:pt x="52" y="154"/>
                        <a:pt x="51" y="153"/>
                      </a:cubicBezTo>
                      <a:cubicBezTo>
                        <a:pt x="50" y="154"/>
                        <a:pt x="50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7" y="155"/>
                        <a:pt x="46" y="155"/>
                        <a:pt x="46" y="156"/>
                      </a:cubicBezTo>
                      <a:cubicBezTo>
                        <a:pt x="46" y="158"/>
                        <a:pt x="53" y="165"/>
                        <a:pt x="55" y="166"/>
                      </a:cubicBezTo>
                      <a:cubicBezTo>
                        <a:pt x="56" y="166"/>
                        <a:pt x="56" y="166"/>
                        <a:pt x="56" y="166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6" y="166"/>
                        <a:pt x="69" y="163"/>
                        <a:pt x="71" y="160"/>
                      </a:cubicBezTo>
                      <a:cubicBezTo>
                        <a:pt x="74" y="155"/>
                        <a:pt x="74" y="151"/>
                        <a:pt x="76" y="148"/>
                      </a:cubicBezTo>
                      <a:cubicBezTo>
                        <a:pt x="75" y="146"/>
                        <a:pt x="75" y="148"/>
                        <a:pt x="75" y="146"/>
                      </a:cubicBezTo>
                      <a:cubicBezTo>
                        <a:pt x="75" y="138"/>
                        <a:pt x="75" y="138"/>
                        <a:pt x="75" y="138"/>
                      </a:cubicBezTo>
                      <a:cubicBezTo>
                        <a:pt x="75" y="130"/>
                        <a:pt x="74" y="128"/>
                        <a:pt x="80" y="124"/>
                      </a:cubicBezTo>
                      <a:cubicBezTo>
                        <a:pt x="81" y="124"/>
                        <a:pt x="81" y="124"/>
                        <a:pt x="81" y="124"/>
                      </a:cubicBezTo>
                      <a:cubicBezTo>
                        <a:pt x="90" y="124"/>
                        <a:pt x="90" y="127"/>
                        <a:pt x="94" y="120"/>
                      </a:cubicBezTo>
                      <a:cubicBezTo>
                        <a:pt x="92" y="117"/>
                        <a:pt x="91" y="116"/>
                        <a:pt x="88" y="115"/>
                      </a:cubicBezTo>
                      <a:cubicBezTo>
                        <a:pt x="86" y="116"/>
                        <a:pt x="84" y="117"/>
                        <a:pt x="81" y="117"/>
                      </a:cubicBezTo>
                      <a:cubicBezTo>
                        <a:pt x="79" y="117"/>
                        <a:pt x="79" y="117"/>
                        <a:pt x="79" y="117"/>
                      </a:cubicBezTo>
                      <a:cubicBezTo>
                        <a:pt x="77" y="116"/>
                        <a:pt x="72" y="109"/>
                        <a:pt x="72" y="107"/>
                      </a:cubicBezTo>
                      <a:cubicBezTo>
                        <a:pt x="72" y="105"/>
                        <a:pt x="72" y="105"/>
                        <a:pt x="72" y="105"/>
                      </a:cubicBezTo>
                      <a:cubicBezTo>
                        <a:pt x="72" y="99"/>
                        <a:pt x="75" y="100"/>
                        <a:pt x="78" y="96"/>
                      </a:cubicBezTo>
                      <a:cubicBezTo>
                        <a:pt x="80" y="96"/>
                        <a:pt x="80" y="96"/>
                        <a:pt x="80" y="96"/>
                      </a:cubicBezTo>
                      <a:cubicBezTo>
                        <a:pt x="82" y="93"/>
                        <a:pt x="89" y="90"/>
                        <a:pt x="92" y="89"/>
                      </a:cubicBezTo>
                      <a:cubicBezTo>
                        <a:pt x="95" y="87"/>
                        <a:pt x="101" y="83"/>
                        <a:pt x="101" y="80"/>
                      </a:cubicBezTo>
                      <a:cubicBezTo>
                        <a:pt x="101" y="77"/>
                        <a:pt x="101" y="79"/>
                        <a:pt x="102" y="78"/>
                      </a:cubicBezTo>
                      <a:cubicBezTo>
                        <a:pt x="101" y="77"/>
                        <a:pt x="101" y="79"/>
                        <a:pt x="101" y="77"/>
                      </a:cubicBezTo>
                      <a:cubicBezTo>
                        <a:pt x="101" y="73"/>
                        <a:pt x="96" y="64"/>
                        <a:pt x="95" y="61"/>
                      </a:cubicBezTo>
                      <a:cubicBezTo>
                        <a:pt x="95" y="61"/>
                        <a:pt x="101" y="55"/>
                        <a:pt x="102" y="55"/>
                      </a:cubicBezTo>
                      <a:cubicBezTo>
                        <a:pt x="104" y="52"/>
                        <a:pt x="106" y="51"/>
                        <a:pt x="109" y="48"/>
                      </a:cubicBezTo>
                      <a:cubicBezTo>
                        <a:pt x="110" y="47"/>
                        <a:pt x="112" y="46"/>
                        <a:pt x="113" y="45"/>
                      </a:cubicBezTo>
                      <a:cubicBezTo>
                        <a:pt x="114" y="44"/>
                        <a:pt x="115" y="43"/>
                        <a:pt x="116" y="42"/>
                      </a:cubicBezTo>
                      <a:cubicBezTo>
                        <a:pt x="118" y="39"/>
                        <a:pt x="118" y="35"/>
                        <a:pt x="121" y="34"/>
                      </a:cubicBezTo>
                      <a:cubicBezTo>
                        <a:pt x="121" y="32"/>
                        <a:pt x="121" y="32"/>
                        <a:pt x="121" y="32"/>
                      </a:cubicBezTo>
                      <a:cubicBezTo>
                        <a:pt x="121" y="27"/>
                        <a:pt x="123" y="30"/>
                        <a:pt x="120" y="24"/>
                      </a:cubicBezTo>
                      <a:cubicBezTo>
                        <a:pt x="118" y="20"/>
                        <a:pt x="118" y="20"/>
                        <a:pt x="116" y="17"/>
                      </a:cubicBezTo>
                      <a:cubicBezTo>
                        <a:pt x="113" y="17"/>
                        <a:pt x="113" y="17"/>
                        <a:pt x="113" y="17"/>
                      </a:cubicBezTo>
                      <a:cubicBezTo>
                        <a:pt x="111" y="17"/>
                        <a:pt x="105" y="19"/>
                        <a:pt x="104" y="20"/>
                      </a:cubicBezTo>
                      <a:cubicBezTo>
                        <a:pt x="101" y="23"/>
                        <a:pt x="102" y="23"/>
                        <a:pt x="96" y="24"/>
                      </a:cubicBezTo>
                      <a:lnTo>
                        <a:pt x="93" y="2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1" name="ï$lidé">
                  <a:extLst>
                    <a:ext uri="{FF2B5EF4-FFF2-40B4-BE49-F238E27FC236}">
                      <a16:creationId xmlns:a16="http://schemas.microsoft.com/office/drawing/2014/main" id="{A7626136-5906-4363-87BB-6E1FDEF04E8B}"/>
                    </a:ext>
                  </a:extLst>
                </p:cNvPr>
                <p:cNvSpPr/>
                <p:nvPr/>
              </p:nvSpPr>
              <p:spPr bwMode="auto">
                <a:xfrm>
                  <a:off x="5159376" y="3357563"/>
                  <a:ext cx="117475" cy="366713"/>
                </a:xfrm>
                <a:custGeom>
                  <a:avLst/>
                  <a:gdLst>
                    <a:gd name="T0" fmla="*/ 23 w 36"/>
                    <a:gd name="T1" fmla="*/ 14 h 110"/>
                    <a:gd name="T2" fmla="*/ 23 w 36"/>
                    <a:gd name="T3" fmla="*/ 12 h 110"/>
                    <a:gd name="T4" fmla="*/ 18 w 36"/>
                    <a:gd name="T5" fmla="*/ 6 h 110"/>
                    <a:gd name="T6" fmla="*/ 13 w 36"/>
                    <a:gd name="T7" fmla="*/ 0 h 110"/>
                    <a:gd name="T8" fmla="*/ 11 w 36"/>
                    <a:gd name="T9" fmla="*/ 4 h 110"/>
                    <a:gd name="T10" fmla="*/ 13 w 36"/>
                    <a:gd name="T11" fmla="*/ 16 h 110"/>
                    <a:gd name="T12" fmla="*/ 12 w 36"/>
                    <a:gd name="T13" fmla="*/ 34 h 110"/>
                    <a:gd name="T14" fmla="*/ 7 w 36"/>
                    <a:gd name="T15" fmla="*/ 65 h 110"/>
                    <a:gd name="T16" fmla="*/ 3 w 36"/>
                    <a:gd name="T17" fmla="*/ 80 h 110"/>
                    <a:gd name="T18" fmla="*/ 0 w 36"/>
                    <a:gd name="T19" fmla="*/ 95 h 110"/>
                    <a:gd name="T20" fmla="*/ 0 w 36"/>
                    <a:gd name="T21" fmla="*/ 98 h 110"/>
                    <a:gd name="T22" fmla="*/ 0 w 36"/>
                    <a:gd name="T23" fmla="*/ 100 h 110"/>
                    <a:gd name="T24" fmla="*/ 4 w 36"/>
                    <a:gd name="T25" fmla="*/ 105 h 110"/>
                    <a:gd name="T26" fmla="*/ 9 w 36"/>
                    <a:gd name="T27" fmla="*/ 110 h 110"/>
                    <a:gd name="T28" fmla="*/ 15 w 36"/>
                    <a:gd name="T29" fmla="*/ 104 h 110"/>
                    <a:gd name="T30" fmla="*/ 18 w 36"/>
                    <a:gd name="T31" fmla="*/ 96 h 110"/>
                    <a:gd name="T32" fmla="*/ 18 w 36"/>
                    <a:gd name="T33" fmla="*/ 90 h 110"/>
                    <a:gd name="T34" fmla="*/ 21 w 36"/>
                    <a:gd name="T35" fmla="*/ 71 h 110"/>
                    <a:gd name="T36" fmla="*/ 25 w 36"/>
                    <a:gd name="T37" fmla="*/ 53 h 110"/>
                    <a:gd name="T38" fmla="*/ 30 w 36"/>
                    <a:gd name="T39" fmla="*/ 36 h 110"/>
                    <a:gd name="T40" fmla="*/ 35 w 36"/>
                    <a:gd name="T41" fmla="*/ 20 h 110"/>
                    <a:gd name="T42" fmla="*/ 33 w 36"/>
                    <a:gd name="T43" fmla="*/ 20 h 110"/>
                    <a:gd name="T44" fmla="*/ 30 w 36"/>
                    <a:gd name="T45" fmla="*/ 22 h 110"/>
                    <a:gd name="T46" fmla="*/ 23 w 36"/>
                    <a:gd name="T47" fmla="*/ 17 h 110"/>
                    <a:gd name="T48" fmla="*/ 23 w 36"/>
                    <a:gd name="T49" fmla="*/ 15 h 110"/>
                    <a:gd name="T50" fmla="*/ 23 w 36"/>
                    <a:gd name="T51" fmla="*/ 1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6" h="110">
                      <a:moveTo>
                        <a:pt x="23" y="14"/>
                      </a:move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1" y="8"/>
                        <a:pt x="22" y="9"/>
                        <a:pt x="18" y="6"/>
                      </a:cubicBezTo>
                      <a:cubicBezTo>
                        <a:pt x="17" y="4"/>
                        <a:pt x="15" y="2"/>
                        <a:pt x="13" y="0"/>
                      </a:cubicBezTo>
                      <a:cubicBezTo>
                        <a:pt x="12" y="1"/>
                        <a:pt x="11" y="3"/>
                        <a:pt x="11" y="4"/>
                      </a:cubicBezTo>
                      <a:cubicBezTo>
                        <a:pt x="11" y="7"/>
                        <a:pt x="13" y="12"/>
                        <a:pt x="13" y="16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2" y="43"/>
                        <a:pt x="9" y="56"/>
                        <a:pt x="7" y="65"/>
                      </a:cubicBezTo>
                      <a:cubicBezTo>
                        <a:pt x="6" y="72"/>
                        <a:pt x="4" y="75"/>
                        <a:pt x="3" y="80"/>
                      </a:cubicBezTo>
                      <a:cubicBezTo>
                        <a:pt x="2" y="85"/>
                        <a:pt x="0" y="91"/>
                        <a:pt x="0" y="95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2" y="102"/>
                        <a:pt x="2" y="103"/>
                        <a:pt x="4" y="105"/>
                      </a:cubicBezTo>
                      <a:cubicBezTo>
                        <a:pt x="6" y="108"/>
                        <a:pt x="7" y="108"/>
                        <a:pt x="9" y="110"/>
                      </a:cubicBezTo>
                      <a:cubicBezTo>
                        <a:pt x="12" y="108"/>
                        <a:pt x="13" y="108"/>
                        <a:pt x="15" y="104"/>
                      </a:cubicBezTo>
                      <a:cubicBezTo>
                        <a:pt x="16" y="102"/>
                        <a:pt x="18" y="99"/>
                        <a:pt x="18" y="96"/>
                      </a:cubicBezTo>
                      <a:cubicBezTo>
                        <a:pt x="18" y="90"/>
                        <a:pt x="18" y="90"/>
                        <a:pt x="18" y="90"/>
                      </a:cubicBezTo>
                      <a:cubicBezTo>
                        <a:pt x="18" y="83"/>
                        <a:pt x="20" y="77"/>
                        <a:pt x="21" y="71"/>
                      </a:cubicBezTo>
                      <a:cubicBezTo>
                        <a:pt x="23" y="65"/>
                        <a:pt x="23" y="59"/>
                        <a:pt x="25" y="53"/>
                      </a:cubicBezTo>
                      <a:cubicBezTo>
                        <a:pt x="26" y="47"/>
                        <a:pt x="29" y="42"/>
                        <a:pt x="30" y="36"/>
                      </a:cubicBezTo>
                      <a:cubicBezTo>
                        <a:pt x="31" y="28"/>
                        <a:pt x="34" y="27"/>
                        <a:pt x="35" y="20"/>
                      </a:cubicBezTo>
                      <a:cubicBezTo>
                        <a:pt x="34" y="19"/>
                        <a:pt x="36" y="20"/>
                        <a:pt x="33" y="20"/>
                      </a:cubicBezTo>
                      <a:cubicBezTo>
                        <a:pt x="33" y="20"/>
                        <a:pt x="30" y="22"/>
                        <a:pt x="30" y="22"/>
                      </a:cubicBezTo>
                      <a:cubicBezTo>
                        <a:pt x="25" y="21"/>
                        <a:pt x="25" y="21"/>
                        <a:pt x="23" y="17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lnTo>
                        <a:pt x="23" y="14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5" name="ïṥliḓe">
                <a:extLst>
                  <a:ext uri="{FF2B5EF4-FFF2-40B4-BE49-F238E27FC236}">
                    <a16:creationId xmlns:a16="http://schemas.microsoft.com/office/drawing/2014/main" id="{C4D409BE-F462-4697-9990-3C82DA9F9800}"/>
                  </a:ext>
                </a:extLst>
              </p:cNvPr>
              <p:cNvGrpSpPr/>
              <p:nvPr/>
            </p:nvGrpSpPr>
            <p:grpSpPr>
              <a:xfrm>
                <a:off x="4412452" y="3781425"/>
                <a:ext cx="2312689" cy="166461"/>
                <a:chOff x="6986588" y="3521075"/>
                <a:chExt cx="1654176" cy="119063"/>
              </a:xfrm>
            </p:grpSpPr>
            <p:sp>
              <p:nvSpPr>
                <p:cNvPr id="16" name="î$1íḑe">
                  <a:extLst>
                    <a:ext uri="{FF2B5EF4-FFF2-40B4-BE49-F238E27FC236}">
                      <a16:creationId xmlns:a16="http://schemas.microsoft.com/office/drawing/2014/main" id="{BB19752C-4604-49F0-8A56-2F79A991FA3D}"/>
                    </a:ext>
                  </a:extLst>
                </p:cNvPr>
                <p:cNvSpPr/>
                <p:nvPr/>
              </p:nvSpPr>
              <p:spPr bwMode="auto">
                <a:xfrm>
                  <a:off x="6986588" y="3521075"/>
                  <a:ext cx="155575" cy="119063"/>
                </a:xfrm>
                <a:custGeom>
                  <a:avLst/>
                  <a:gdLst>
                    <a:gd name="T0" fmla="*/ 84 w 98"/>
                    <a:gd name="T1" fmla="*/ 0 h 75"/>
                    <a:gd name="T2" fmla="*/ 59 w 98"/>
                    <a:gd name="T3" fmla="*/ 52 h 75"/>
                    <a:gd name="T4" fmla="*/ 57 w 98"/>
                    <a:gd name="T5" fmla="*/ 0 h 75"/>
                    <a:gd name="T6" fmla="*/ 40 w 98"/>
                    <a:gd name="T7" fmla="*/ 0 h 75"/>
                    <a:gd name="T8" fmla="*/ 15 w 98"/>
                    <a:gd name="T9" fmla="*/ 52 h 75"/>
                    <a:gd name="T10" fmla="*/ 15 w 98"/>
                    <a:gd name="T11" fmla="*/ 0 h 75"/>
                    <a:gd name="T12" fmla="*/ 0 w 98"/>
                    <a:gd name="T13" fmla="*/ 0 h 75"/>
                    <a:gd name="T14" fmla="*/ 2 w 98"/>
                    <a:gd name="T15" fmla="*/ 75 h 75"/>
                    <a:gd name="T16" fmla="*/ 19 w 98"/>
                    <a:gd name="T17" fmla="*/ 75 h 75"/>
                    <a:gd name="T18" fmla="*/ 44 w 98"/>
                    <a:gd name="T19" fmla="*/ 21 h 75"/>
                    <a:gd name="T20" fmla="*/ 46 w 98"/>
                    <a:gd name="T21" fmla="*/ 75 h 75"/>
                    <a:gd name="T22" fmla="*/ 63 w 98"/>
                    <a:gd name="T23" fmla="*/ 75 h 75"/>
                    <a:gd name="T24" fmla="*/ 98 w 98"/>
                    <a:gd name="T25" fmla="*/ 0 h 75"/>
                    <a:gd name="T26" fmla="*/ 84 w 98"/>
                    <a:gd name="T2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8" h="75">
                      <a:moveTo>
                        <a:pt x="84" y="0"/>
                      </a:moveTo>
                      <a:lnTo>
                        <a:pt x="59" y="52"/>
                      </a:lnTo>
                      <a:lnTo>
                        <a:pt x="57" y="0"/>
                      </a:lnTo>
                      <a:lnTo>
                        <a:pt x="40" y="0"/>
                      </a:lnTo>
                      <a:lnTo>
                        <a:pt x="15" y="52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2" y="75"/>
                      </a:lnTo>
                      <a:lnTo>
                        <a:pt x="19" y="75"/>
                      </a:lnTo>
                      <a:lnTo>
                        <a:pt x="44" y="21"/>
                      </a:lnTo>
                      <a:lnTo>
                        <a:pt x="46" y="75"/>
                      </a:lnTo>
                      <a:lnTo>
                        <a:pt x="63" y="75"/>
                      </a:lnTo>
                      <a:lnTo>
                        <a:pt x="98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7" name="iṡlïďé">
                  <a:extLst>
                    <a:ext uri="{FF2B5EF4-FFF2-40B4-BE49-F238E27FC236}">
                      <a16:creationId xmlns:a16="http://schemas.microsoft.com/office/drawing/2014/main" id="{3943372D-5343-43B2-8840-7394C09C6E55}"/>
                    </a:ext>
                  </a:extLst>
                </p:cNvPr>
                <p:cNvSpPr/>
                <p:nvPr/>
              </p:nvSpPr>
              <p:spPr bwMode="auto">
                <a:xfrm>
                  <a:off x="7135813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8" name="ïśľíḋê">
                  <a:extLst>
                    <a:ext uri="{FF2B5EF4-FFF2-40B4-BE49-F238E27FC236}">
                      <a16:creationId xmlns:a16="http://schemas.microsoft.com/office/drawing/2014/main" id="{2478F3B3-5A2D-4869-935F-8420D38353A1}"/>
                    </a:ext>
                  </a:extLst>
                </p:cNvPr>
                <p:cNvSpPr/>
                <p:nvPr/>
              </p:nvSpPr>
              <p:spPr bwMode="auto">
                <a:xfrm>
                  <a:off x="7248526" y="3521075"/>
                  <a:ext cx="114300" cy="119063"/>
                </a:xfrm>
                <a:custGeom>
                  <a:avLst/>
                  <a:gdLst>
                    <a:gd name="T0" fmla="*/ 58 w 72"/>
                    <a:gd name="T1" fmla="*/ 0 h 75"/>
                    <a:gd name="T2" fmla="*/ 52 w 72"/>
                    <a:gd name="T3" fmla="*/ 29 h 75"/>
                    <a:gd name="T4" fmla="*/ 22 w 72"/>
                    <a:gd name="T5" fmla="*/ 29 h 75"/>
                    <a:gd name="T6" fmla="*/ 29 w 72"/>
                    <a:gd name="T7" fmla="*/ 0 h 75"/>
                    <a:gd name="T8" fmla="*/ 14 w 72"/>
                    <a:gd name="T9" fmla="*/ 0 h 75"/>
                    <a:gd name="T10" fmla="*/ 0 w 72"/>
                    <a:gd name="T11" fmla="*/ 75 h 75"/>
                    <a:gd name="T12" fmla="*/ 14 w 72"/>
                    <a:gd name="T13" fmla="*/ 75 h 75"/>
                    <a:gd name="T14" fmla="*/ 20 w 72"/>
                    <a:gd name="T15" fmla="*/ 42 h 75"/>
                    <a:gd name="T16" fmla="*/ 50 w 72"/>
                    <a:gd name="T17" fmla="*/ 42 h 75"/>
                    <a:gd name="T18" fmla="*/ 43 w 72"/>
                    <a:gd name="T19" fmla="*/ 75 h 75"/>
                    <a:gd name="T20" fmla="*/ 58 w 72"/>
                    <a:gd name="T21" fmla="*/ 75 h 75"/>
                    <a:gd name="T22" fmla="*/ 72 w 72"/>
                    <a:gd name="T23" fmla="*/ 0 h 75"/>
                    <a:gd name="T24" fmla="*/ 58 w 72"/>
                    <a:gd name="T2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75">
                      <a:moveTo>
                        <a:pt x="58" y="0"/>
                      </a:moveTo>
                      <a:lnTo>
                        <a:pt x="52" y="29"/>
                      </a:lnTo>
                      <a:lnTo>
                        <a:pt x="22" y="29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lnTo>
                        <a:pt x="14" y="75"/>
                      </a:lnTo>
                      <a:lnTo>
                        <a:pt x="20" y="42"/>
                      </a:lnTo>
                      <a:lnTo>
                        <a:pt x="50" y="42"/>
                      </a:lnTo>
                      <a:lnTo>
                        <a:pt x="43" y="75"/>
                      </a:lnTo>
                      <a:lnTo>
                        <a:pt x="58" y="75"/>
                      </a:lnTo>
                      <a:lnTo>
                        <a:pt x="72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9" name="išľîḑè">
                  <a:extLst>
                    <a:ext uri="{FF2B5EF4-FFF2-40B4-BE49-F238E27FC236}">
                      <a16:creationId xmlns:a16="http://schemas.microsoft.com/office/drawing/2014/main" id="{9865C221-76F8-461F-ACF7-6D30B5E53DF8}"/>
                    </a:ext>
                  </a:extLst>
                </p:cNvPr>
                <p:cNvSpPr/>
                <p:nvPr/>
              </p:nvSpPr>
              <p:spPr bwMode="auto">
                <a:xfrm>
                  <a:off x="7356476" y="3521075"/>
                  <a:ext cx="112713" cy="119063"/>
                </a:xfrm>
                <a:custGeom>
                  <a:avLst/>
                  <a:gdLst>
                    <a:gd name="T0" fmla="*/ 42 w 71"/>
                    <a:gd name="T1" fmla="*/ 0 h 75"/>
                    <a:gd name="T2" fmla="*/ 0 w 71"/>
                    <a:gd name="T3" fmla="*/ 75 h 75"/>
                    <a:gd name="T4" fmla="*/ 15 w 71"/>
                    <a:gd name="T5" fmla="*/ 75 h 75"/>
                    <a:gd name="T6" fmla="*/ 23 w 71"/>
                    <a:gd name="T7" fmla="*/ 59 h 75"/>
                    <a:gd name="T8" fmla="*/ 54 w 71"/>
                    <a:gd name="T9" fmla="*/ 59 h 75"/>
                    <a:gd name="T10" fmla="*/ 56 w 71"/>
                    <a:gd name="T11" fmla="*/ 75 h 75"/>
                    <a:gd name="T12" fmla="*/ 71 w 71"/>
                    <a:gd name="T13" fmla="*/ 75 h 75"/>
                    <a:gd name="T14" fmla="*/ 58 w 71"/>
                    <a:gd name="T15" fmla="*/ 0 h 75"/>
                    <a:gd name="T16" fmla="*/ 42 w 71"/>
                    <a:gd name="T17" fmla="*/ 0 h 75"/>
                    <a:gd name="T18" fmla="*/ 29 w 71"/>
                    <a:gd name="T19" fmla="*/ 46 h 75"/>
                    <a:gd name="T20" fmla="*/ 48 w 71"/>
                    <a:gd name="T21" fmla="*/ 17 h 75"/>
                    <a:gd name="T22" fmla="*/ 52 w 71"/>
                    <a:gd name="T23" fmla="*/ 46 h 75"/>
                    <a:gd name="T24" fmla="*/ 29 w 71"/>
                    <a:gd name="T25" fmla="*/ 4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1" h="75">
                      <a:moveTo>
                        <a:pt x="42" y="0"/>
                      </a:move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3" y="59"/>
                      </a:lnTo>
                      <a:lnTo>
                        <a:pt x="54" y="59"/>
                      </a:lnTo>
                      <a:lnTo>
                        <a:pt x="56" y="75"/>
                      </a:lnTo>
                      <a:lnTo>
                        <a:pt x="71" y="75"/>
                      </a:lnTo>
                      <a:lnTo>
                        <a:pt x="58" y="0"/>
                      </a:lnTo>
                      <a:lnTo>
                        <a:pt x="42" y="0"/>
                      </a:lnTo>
                      <a:close/>
                      <a:moveTo>
                        <a:pt x="29" y="46"/>
                      </a:moveTo>
                      <a:lnTo>
                        <a:pt x="48" y="17"/>
                      </a:lnTo>
                      <a:lnTo>
                        <a:pt x="52" y="46"/>
                      </a:lnTo>
                      <a:lnTo>
                        <a:pt x="29" y="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0" name="ïşľídé">
                  <a:extLst>
                    <a:ext uri="{FF2B5EF4-FFF2-40B4-BE49-F238E27FC236}">
                      <a16:creationId xmlns:a16="http://schemas.microsoft.com/office/drawing/2014/main" id="{C79914E7-7A20-464F-9499-7C634A2D180F}"/>
                    </a:ext>
                  </a:extLst>
                </p:cNvPr>
                <p:cNvSpPr/>
                <p:nvPr/>
              </p:nvSpPr>
              <p:spPr bwMode="auto">
                <a:xfrm>
                  <a:off x="7481888" y="3521075"/>
                  <a:ext cx="119063" cy="119063"/>
                </a:xfrm>
                <a:custGeom>
                  <a:avLst/>
                  <a:gdLst>
                    <a:gd name="T0" fmla="*/ 50 w 75"/>
                    <a:gd name="T1" fmla="*/ 50 h 75"/>
                    <a:gd name="T2" fmla="*/ 31 w 75"/>
                    <a:gd name="T3" fmla="*/ 0 h 75"/>
                    <a:gd name="T4" fmla="*/ 17 w 75"/>
                    <a:gd name="T5" fmla="*/ 0 h 75"/>
                    <a:gd name="T6" fmla="*/ 0 w 75"/>
                    <a:gd name="T7" fmla="*/ 75 h 75"/>
                    <a:gd name="T8" fmla="*/ 15 w 75"/>
                    <a:gd name="T9" fmla="*/ 75 h 75"/>
                    <a:gd name="T10" fmla="*/ 25 w 75"/>
                    <a:gd name="T11" fmla="*/ 25 h 75"/>
                    <a:gd name="T12" fmla="*/ 46 w 75"/>
                    <a:gd name="T13" fmla="*/ 75 h 75"/>
                    <a:gd name="T14" fmla="*/ 58 w 75"/>
                    <a:gd name="T15" fmla="*/ 75 h 75"/>
                    <a:gd name="T16" fmla="*/ 75 w 75"/>
                    <a:gd name="T17" fmla="*/ 0 h 75"/>
                    <a:gd name="T18" fmla="*/ 61 w 75"/>
                    <a:gd name="T19" fmla="*/ 0 h 75"/>
                    <a:gd name="T20" fmla="*/ 50 w 75"/>
                    <a:gd name="T21" fmla="*/ 5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5" h="75">
                      <a:moveTo>
                        <a:pt x="50" y="50"/>
                      </a:moveTo>
                      <a:lnTo>
                        <a:pt x="31" y="0"/>
                      </a:lnTo>
                      <a:lnTo>
                        <a:pt x="17" y="0"/>
                      </a:ln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5" y="25"/>
                      </a:lnTo>
                      <a:lnTo>
                        <a:pt x="46" y="75"/>
                      </a:lnTo>
                      <a:lnTo>
                        <a:pt x="58" y="75"/>
                      </a:lnTo>
                      <a:lnTo>
                        <a:pt x="75" y="0"/>
                      </a:lnTo>
                      <a:lnTo>
                        <a:pt x="61" y="0"/>
                      </a:lnTo>
                      <a:lnTo>
                        <a:pt x="50" y="5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" name="íşļïḋe">
                  <a:extLst>
                    <a:ext uri="{FF2B5EF4-FFF2-40B4-BE49-F238E27FC236}">
                      <a16:creationId xmlns:a16="http://schemas.microsoft.com/office/drawing/2014/main" id="{261B95F8-233D-4E5A-BBDB-7B2EDAD8143A}"/>
                    </a:ext>
                  </a:extLst>
                </p:cNvPr>
                <p:cNvSpPr/>
                <p:nvPr/>
              </p:nvSpPr>
              <p:spPr bwMode="auto">
                <a:xfrm>
                  <a:off x="7653338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" name="iṡľïdé">
                  <a:extLst>
                    <a:ext uri="{FF2B5EF4-FFF2-40B4-BE49-F238E27FC236}">
                      <a16:creationId xmlns:a16="http://schemas.microsoft.com/office/drawing/2014/main" id="{58607C02-2308-4A9E-B8CC-66863D049585}"/>
                    </a:ext>
                  </a:extLst>
                </p:cNvPr>
                <p:cNvSpPr/>
                <p:nvPr/>
              </p:nvSpPr>
              <p:spPr bwMode="auto">
                <a:xfrm>
                  <a:off x="7766051" y="3521075"/>
                  <a:ext cx="115888" cy="119063"/>
                </a:xfrm>
                <a:custGeom>
                  <a:avLst/>
                  <a:gdLst>
                    <a:gd name="T0" fmla="*/ 58 w 73"/>
                    <a:gd name="T1" fmla="*/ 0 h 75"/>
                    <a:gd name="T2" fmla="*/ 50 w 73"/>
                    <a:gd name="T3" fmla="*/ 50 h 75"/>
                    <a:gd name="T4" fmla="*/ 29 w 73"/>
                    <a:gd name="T5" fmla="*/ 0 h 75"/>
                    <a:gd name="T6" fmla="*/ 15 w 73"/>
                    <a:gd name="T7" fmla="*/ 0 h 75"/>
                    <a:gd name="T8" fmla="*/ 0 w 73"/>
                    <a:gd name="T9" fmla="*/ 75 h 75"/>
                    <a:gd name="T10" fmla="*/ 13 w 73"/>
                    <a:gd name="T11" fmla="*/ 75 h 75"/>
                    <a:gd name="T12" fmla="*/ 23 w 73"/>
                    <a:gd name="T13" fmla="*/ 25 h 75"/>
                    <a:gd name="T14" fmla="*/ 44 w 73"/>
                    <a:gd name="T15" fmla="*/ 75 h 75"/>
                    <a:gd name="T16" fmla="*/ 58 w 73"/>
                    <a:gd name="T17" fmla="*/ 75 h 75"/>
                    <a:gd name="T18" fmla="*/ 73 w 73"/>
                    <a:gd name="T19" fmla="*/ 0 h 75"/>
                    <a:gd name="T20" fmla="*/ 58 w 73"/>
                    <a:gd name="T2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3" h="75">
                      <a:moveTo>
                        <a:pt x="58" y="0"/>
                      </a:moveTo>
                      <a:lnTo>
                        <a:pt x="50" y="50"/>
                      </a:lnTo>
                      <a:lnTo>
                        <a:pt x="29" y="0"/>
                      </a:lnTo>
                      <a:lnTo>
                        <a:pt x="15" y="0"/>
                      </a:lnTo>
                      <a:lnTo>
                        <a:pt x="0" y="75"/>
                      </a:lnTo>
                      <a:lnTo>
                        <a:pt x="13" y="75"/>
                      </a:lnTo>
                      <a:lnTo>
                        <a:pt x="23" y="25"/>
                      </a:lnTo>
                      <a:lnTo>
                        <a:pt x="44" y="75"/>
                      </a:lnTo>
                      <a:lnTo>
                        <a:pt x="58" y="75"/>
                      </a:lnTo>
                      <a:lnTo>
                        <a:pt x="73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" name="îṣļîḓè">
                  <a:extLst>
                    <a:ext uri="{FF2B5EF4-FFF2-40B4-BE49-F238E27FC236}">
                      <a16:creationId xmlns:a16="http://schemas.microsoft.com/office/drawing/2014/main" id="{B2AAFE7E-CBE2-49A7-9159-8532D7500091}"/>
                    </a:ext>
                  </a:extLst>
                </p:cNvPr>
                <p:cNvSpPr/>
                <p:nvPr/>
              </p:nvSpPr>
              <p:spPr bwMode="auto">
                <a:xfrm>
                  <a:off x="7881938" y="3521075"/>
                  <a:ext cx="49213" cy="119063"/>
                </a:xfrm>
                <a:custGeom>
                  <a:avLst/>
                  <a:gdLst>
                    <a:gd name="T0" fmla="*/ 0 w 31"/>
                    <a:gd name="T1" fmla="*/ 75 h 75"/>
                    <a:gd name="T2" fmla="*/ 14 w 31"/>
                    <a:gd name="T3" fmla="*/ 75 h 75"/>
                    <a:gd name="T4" fmla="*/ 31 w 31"/>
                    <a:gd name="T5" fmla="*/ 0 h 75"/>
                    <a:gd name="T6" fmla="*/ 14 w 31"/>
                    <a:gd name="T7" fmla="*/ 0 h 75"/>
                    <a:gd name="T8" fmla="*/ 0 w 31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31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" name="îṣḻíḋe">
                  <a:extLst>
                    <a:ext uri="{FF2B5EF4-FFF2-40B4-BE49-F238E27FC236}">
                      <a16:creationId xmlns:a16="http://schemas.microsoft.com/office/drawing/2014/main" id="{C8133B85-A973-4809-877C-30CA95CA50CA}"/>
                    </a:ext>
                  </a:extLst>
                </p:cNvPr>
                <p:cNvSpPr/>
                <p:nvPr/>
              </p:nvSpPr>
              <p:spPr bwMode="auto">
                <a:xfrm>
                  <a:off x="7940676" y="3521075"/>
                  <a:ext cx="109538" cy="119063"/>
                </a:xfrm>
                <a:custGeom>
                  <a:avLst/>
                  <a:gdLst>
                    <a:gd name="T0" fmla="*/ 54 w 69"/>
                    <a:gd name="T1" fmla="*/ 0 h 75"/>
                    <a:gd name="T2" fmla="*/ 23 w 69"/>
                    <a:gd name="T3" fmla="*/ 57 h 75"/>
                    <a:gd name="T4" fmla="*/ 15 w 69"/>
                    <a:gd name="T5" fmla="*/ 0 h 75"/>
                    <a:gd name="T6" fmla="*/ 0 w 69"/>
                    <a:gd name="T7" fmla="*/ 0 h 75"/>
                    <a:gd name="T8" fmla="*/ 13 w 69"/>
                    <a:gd name="T9" fmla="*/ 75 h 75"/>
                    <a:gd name="T10" fmla="*/ 29 w 69"/>
                    <a:gd name="T11" fmla="*/ 75 h 75"/>
                    <a:gd name="T12" fmla="*/ 69 w 69"/>
                    <a:gd name="T13" fmla="*/ 0 h 75"/>
                    <a:gd name="T14" fmla="*/ 54 w 69"/>
                    <a:gd name="T1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" h="75">
                      <a:moveTo>
                        <a:pt x="54" y="0"/>
                      </a:moveTo>
                      <a:lnTo>
                        <a:pt x="23" y="57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13" y="75"/>
                      </a:lnTo>
                      <a:lnTo>
                        <a:pt x="29" y="75"/>
                      </a:lnTo>
                      <a:lnTo>
                        <a:pt x="69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5" name="íšļîḑé">
                  <a:extLst>
                    <a:ext uri="{FF2B5EF4-FFF2-40B4-BE49-F238E27FC236}">
                      <a16:creationId xmlns:a16="http://schemas.microsoft.com/office/drawing/2014/main" id="{F4A5B863-9E0D-4865-9B57-D4A595AC5186}"/>
                    </a:ext>
                  </a:extLst>
                </p:cNvPr>
                <p:cNvSpPr/>
                <p:nvPr/>
              </p:nvSpPr>
              <p:spPr bwMode="auto">
                <a:xfrm>
                  <a:off x="8037513" y="3521075"/>
                  <a:ext cx="111125" cy="119063"/>
                </a:xfrm>
                <a:custGeom>
                  <a:avLst/>
                  <a:gdLst>
                    <a:gd name="T0" fmla="*/ 68 w 70"/>
                    <a:gd name="T1" fmla="*/ 12 h 75"/>
                    <a:gd name="T2" fmla="*/ 70 w 70"/>
                    <a:gd name="T3" fmla="*/ 0 h 75"/>
                    <a:gd name="T4" fmla="*/ 16 w 70"/>
                    <a:gd name="T5" fmla="*/ 0 h 75"/>
                    <a:gd name="T6" fmla="*/ 0 w 70"/>
                    <a:gd name="T7" fmla="*/ 75 h 75"/>
                    <a:gd name="T8" fmla="*/ 58 w 70"/>
                    <a:gd name="T9" fmla="*/ 75 h 75"/>
                    <a:gd name="T10" fmla="*/ 60 w 70"/>
                    <a:gd name="T11" fmla="*/ 63 h 75"/>
                    <a:gd name="T12" fmla="*/ 16 w 70"/>
                    <a:gd name="T13" fmla="*/ 63 h 75"/>
                    <a:gd name="T14" fmla="*/ 22 w 70"/>
                    <a:gd name="T15" fmla="*/ 42 h 75"/>
                    <a:gd name="T16" fmla="*/ 60 w 70"/>
                    <a:gd name="T17" fmla="*/ 42 h 75"/>
                    <a:gd name="T18" fmla="*/ 62 w 70"/>
                    <a:gd name="T19" fmla="*/ 29 h 75"/>
                    <a:gd name="T20" fmla="*/ 24 w 70"/>
                    <a:gd name="T21" fmla="*/ 29 h 75"/>
                    <a:gd name="T22" fmla="*/ 29 w 70"/>
                    <a:gd name="T23" fmla="*/ 12 h 75"/>
                    <a:gd name="T24" fmla="*/ 68 w 70"/>
                    <a:gd name="T25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0" h="75">
                      <a:moveTo>
                        <a:pt x="68" y="12"/>
                      </a:moveTo>
                      <a:lnTo>
                        <a:pt x="70" y="0"/>
                      </a:lnTo>
                      <a:lnTo>
                        <a:pt x="16" y="0"/>
                      </a:lnTo>
                      <a:lnTo>
                        <a:pt x="0" y="75"/>
                      </a:lnTo>
                      <a:lnTo>
                        <a:pt x="58" y="75"/>
                      </a:lnTo>
                      <a:lnTo>
                        <a:pt x="60" y="63"/>
                      </a:lnTo>
                      <a:lnTo>
                        <a:pt x="16" y="63"/>
                      </a:lnTo>
                      <a:lnTo>
                        <a:pt x="22" y="42"/>
                      </a:lnTo>
                      <a:lnTo>
                        <a:pt x="60" y="42"/>
                      </a:lnTo>
                      <a:lnTo>
                        <a:pt x="62" y="29"/>
                      </a:lnTo>
                      <a:lnTo>
                        <a:pt x="24" y="29"/>
                      </a:lnTo>
                      <a:lnTo>
                        <a:pt x="29" y="12"/>
                      </a:lnTo>
                      <a:lnTo>
                        <a:pt x="68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6" name="ïṧlíḍe">
                  <a:extLst>
                    <a:ext uri="{FF2B5EF4-FFF2-40B4-BE49-F238E27FC236}">
                      <a16:creationId xmlns:a16="http://schemas.microsoft.com/office/drawing/2014/main" id="{C9643B4D-18A5-4595-BBE3-52C58AE031E0}"/>
                    </a:ext>
                  </a:extLst>
                </p:cNvPr>
                <p:cNvSpPr/>
                <p:nvPr/>
              </p:nvSpPr>
              <p:spPr bwMode="auto">
                <a:xfrm>
                  <a:off x="8145463" y="3521075"/>
                  <a:ext cx="115888" cy="119063"/>
                </a:xfrm>
                <a:custGeom>
                  <a:avLst/>
                  <a:gdLst>
                    <a:gd name="T0" fmla="*/ 30 w 35"/>
                    <a:gd name="T1" fmla="*/ 1 h 36"/>
                    <a:gd name="T2" fmla="*/ 24 w 35"/>
                    <a:gd name="T3" fmla="*/ 0 h 36"/>
                    <a:gd name="T4" fmla="*/ 8 w 35"/>
                    <a:gd name="T5" fmla="*/ 0 h 36"/>
                    <a:gd name="T6" fmla="*/ 0 w 35"/>
                    <a:gd name="T7" fmla="*/ 36 h 36"/>
                    <a:gd name="T8" fmla="*/ 8 w 35"/>
                    <a:gd name="T9" fmla="*/ 36 h 36"/>
                    <a:gd name="T10" fmla="*/ 11 w 35"/>
                    <a:gd name="T11" fmla="*/ 21 h 36"/>
                    <a:gd name="T12" fmla="*/ 14 w 35"/>
                    <a:gd name="T13" fmla="*/ 21 h 36"/>
                    <a:gd name="T14" fmla="*/ 17 w 35"/>
                    <a:gd name="T15" fmla="*/ 22 h 36"/>
                    <a:gd name="T16" fmla="*/ 21 w 35"/>
                    <a:gd name="T17" fmla="*/ 26 h 36"/>
                    <a:gd name="T18" fmla="*/ 24 w 35"/>
                    <a:gd name="T19" fmla="*/ 36 h 36"/>
                    <a:gd name="T20" fmla="*/ 32 w 35"/>
                    <a:gd name="T21" fmla="*/ 36 h 36"/>
                    <a:gd name="T22" fmla="*/ 27 w 35"/>
                    <a:gd name="T23" fmla="*/ 24 h 36"/>
                    <a:gd name="T24" fmla="*/ 24 w 35"/>
                    <a:gd name="T25" fmla="*/ 21 h 36"/>
                    <a:gd name="T26" fmla="*/ 32 w 35"/>
                    <a:gd name="T27" fmla="*/ 17 h 36"/>
                    <a:gd name="T28" fmla="*/ 35 w 35"/>
                    <a:gd name="T29" fmla="*/ 9 h 36"/>
                    <a:gd name="T30" fmla="*/ 34 w 35"/>
                    <a:gd name="T31" fmla="*/ 4 h 36"/>
                    <a:gd name="T32" fmla="*/ 30 w 35"/>
                    <a:gd name="T33" fmla="*/ 1 h 36"/>
                    <a:gd name="T34" fmla="*/ 27 w 35"/>
                    <a:gd name="T35" fmla="*/ 13 h 36"/>
                    <a:gd name="T36" fmla="*/ 24 w 35"/>
                    <a:gd name="T37" fmla="*/ 15 h 36"/>
                    <a:gd name="T38" fmla="*/ 16 w 35"/>
                    <a:gd name="T39" fmla="*/ 16 h 36"/>
                    <a:gd name="T40" fmla="*/ 12 w 35"/>
                    <a:gd name="T41" fmla="*/ 16 h 36"/>
                    <a:gd name="T42" fmla="*/ 14 w 35"/>
                    <a:gd name="T43" fmla="*/ 6 h 36"/>
                    <a:gd name="T44" fmla="*/ 22 w 35"/>
                    <a:gd name="T45" fmla="*/ 6 h 36"/>
                    <a:gd name="T46" fmla="*/ 26 w 35"/>
                    <a:gd name="T47" fmla="*/ 7 h 36"/>
                    <a:gd name="T48" fmla="*/ 28 w 35"/>
                    <a:gd name="T49" fmla="*/ 10 h 36"/>
                    <a:gd name="T50" fmla="*/ 27 w 35"/>
                    <a:gd name="T51" fmla="*/ 1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5" h="36">
                      <a:moveTo>
                        <a:pt x="30" y="1"/>
                      </a:move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1"/>
                        <a:pt x="17" y="21"/>
                        <a:pt x="17" y="22"/>
                      </a:cubicBezTo>
                      <a:cubicBezTo>
                        <a:pt x="18" y="22"/>
                        <a:pt x="20" y="24"/>
                        <a:pt x="21" y="26"/>
                      </a:cubicBezTo>
                      <a:cubicBezTo>
                        <a:pt x="22" y="31"/>
                        <a:pt x="24" y="34"/>
                        <a:pt x="24" y="36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1"/>
                        <a:pt x="28" y="27"/>
                        <a:pt x="27" y="24"/>
                      </a:cubicBezTo>
                      <a:cubicBezTo>
                        <a:pt x="26" y="23"/>
                        <a:pt x="25" y="21"/>
                        <a:pt x="24" y="21"/>
                      </a:cubicBezTo>
                      <a:cubicBezTo>
                        <a:pt x="28" y="20"/>
                        <a:pt x="30" y="19"/>
                        <a:pt x="32" y="17"/>
                      </a:cubicBezTo>
                      <a:cubicBezTo>
                        <a:pt x="34" y="15"/>
                        <a:pt x="35" y="13"/>
                        <a:pt x="35" y="9"/>
                      </a:cubicBezTo>
                      <a:cubicBezTo>
                        <a:pt x="35" y="7"/>
                        <a:pt x="34" y="6"/>
                        <a:pt x="34" y="4"/>
                      </a:cubicBezTo>
                      <a:cubicBezTo>
                        <a:pt x="33" y="3"/>
                        <a:pt x="31" y="2"/>
                        <a:pt x="30" y="1"/>
                      </a:cubicBezTo>
                      <a:close/>
                      <a:moveTo>
                        <a:pt x="27" y="13"/>
                      </a:moveTo>
                      <a:cubicBezTo>
                        <a:pt x="26" y="14"/>
                        <a:pt x="25" y="14"/>
                        <a:pt x="24" y="15"/>
                      </a:cubicBezTo>
                      <a:cubicBezTo>
                        <a:pt x="22" y="15"/>
                        <a:pt x="20" y="16"/>
                        <a:pt x="16" y="16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24" y="6"/>
                        <a:pt x="25" y="6"/>
                        <a:pt x="26" y="7"/>
                      </a:cubicBezTo>
                      <a:cubicBezTo>
                        <a:pt x="27" y="7"/>
                        <a:pt x="28" y="8"/>
                        <a:pt x="28" y="10"/>
                      </a:cubicBezTo>
                      <a:cubicBezTo>
                        <a:pt x="28" y="11"/>
                        <a:pt x="27" y="12"/>
                        <a:pt x="27" y="13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7" name="i$ḻíḋê">
                  <a:extLst>
                    <a:ext uri="{FF2B5EF4-FFF2-40B4-BE49-F238E27FC236}">
                      <a16:creationId xmlns:a16="http://schemas.microsoft.com/office/drawing/2014/main" id="{AD005408-7AA6-4F33-B52D-5863B4819E34}"/>
                    </a:ext>
                  </a:extLst>
                </p:cNvPr>
                <p:cNvSpPr/>
                <p:nvPr/>
              </p:nvSpPr>
              <p:spPr bwMode="auto">
                <a:xfrm>
                  <a:off x="8267701" y="3521075"/>
                  <a:ext cx="98425" cy="119063"/>
                </a:xfrm>
                <a:custGeom>
                  <a:avLst/>
                  <a:gdLst>
                    <a:gd name="T0" fmla="*/ 17 w 30"/>
                    <a:gd name="T1" fmla="*/ 5 h 36"/>
                    <a:gd name="T2" fmla="*/ 22 w 30"/>
                    <a:gd name="T3" fmla="*/ 7 h 36"/>
                    <a:gd name="T4" fmla="*/ 23 w 30"/>
                    <a:gd name="T5" fmla="*/ 11 h 36"/>
                    <a:gd name="T6" fmla="*/ 30 w 30"/>
                    <a:gd name="T7" fmla="*/ 10 h 36"/>
                    <a:gd name="T8" fmla="*/ 27 w 30"/>
                    <a:gd name="T9" fmla="*/ 3 h 36"/>
                    <a:gd name="T10" fmla="*/ 17 w 30"/>
                    <a:gd name="T11" fmla="*/ 0 h 36"/>
                    <a:gd name="T12" fmla="*/ 8 w 30"/>
                    <a:gd name="T13" fmla="*/ 3 h 36"/>
                    <a:gd name="T14" fmla="*/ 4 w 30"/>
                    <a:gd name="T15" fmla="*/ 10 h 36"/>
                    <a:gd name="T16" fmla="*/ 6 w 30"/>
                    <a:gd name="T17" fmla="*/ 14 h 36"/>
                    <a:gd name="T18" fmla="*/ 8 w 30"/>
                    <a:gd name="T19" fmla="*/ 18 h 36"/>
                    <a:gd name="T20" fmla="*/ 15 w 30"/>
                    <a:gd name="T21" fmla="*/ 21 h 36"/>
                    <a:gd name="T22" fmla="*/ 20 w 30"/>
                    <a:gd name="T23" fmla="*/ 23 h 36"/>
                    <a:gd name="T24" fmla="*/ 21 w 30"/>
                    <a:gd name="T25" fmla="*/ 26 h 36"/>
                    <a:gd name="T26" fmla="*/ 19 w 30"/>
                    <a:gd name="T27" fmla="*/ 29 h 36"/>
                    <a:gd name="T28" fmla="*/ 14 w 30"/>
                    <a:gd name="T29" fmla="*/ 30 h 36"/>
                    <a:gd name="T30" fmla="*/ 8 w 30"/>
                    <a:gd name="T31" fmla="*/ 28 h 36"/>
                    <a:gd name="T32" fmla="*/ 7 w 30"/>
                    <a:gd name="T33" fmla="*/ 24 h 36"/>
                    <a:gd name="T34" fmla="*/ 0 w 30"/>
                    <a:gd name="T35" fmla="*/ 24 h 36"/>
                    <a:gd name="T36" fmla="*/ 1 w 30"/>
                    <a:gd name="T37" fmla="*/ 30 h 36"/>
                    <a:gd name="T38" fmla="*/ 6 w 30"/>
                    <a:gd name="T39" fmla="*/ 35 h 36"/>
                    <a:gd name="T40" fmla="*/ 14 w 30"/>
                    <a:gd name="T41" fmla="*/ 36 h 36"/>
                    <a:gd name="T42" fmla="*/ 24 w 30"/>
                    <a:gd name="T43" fmla="*/ 33 h 36"/>
                    <a:gd name="T44" fmla="*/ 28 w 30"/>
                    <a:gd name="T45" fmla="*/ 25 h 36"/>
                    <a:gd name="T46" fmla="*/ 26 w 30"/>
                    <a:gd name="T47" fmla="*/ 19 h 36"/>
                    <a:gd name="T48" fmla="*/ 18 w 30"/>
                    <a:gd name="T49" fmla="*/ 14 h 36"/>
                    <a:gd name="T50" fmla="*/ 13 w 30"/>
                    <a:gd name="T51" fmla="*/ 12 h 36"/>
                    <a:gd name="T52" fmla="*/ 11 w 30"/>
                    <a:gd name="T53" fmla="*/ 9 h 36"/>
                    <a:gd name="T54" fmla="*/ 13 w 30"/>
                    <a:gd name="T55" fmla="*/ 6 h 36"/>
                    <a:gd name="T56" fmla="*/ 17 w 30"/>
                    <a:gd name="T57" fmla="*/ 5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0" h="36">
                      <a:moveTo>
                        <a:pt x="17" y="5"/>
                      </a:moveTo>
                      <a:cubicBezTo>
                        <a:pt x="19" y="5"/>
                        <a:pt x="21" y="6"/>
                        <a:pt x="22" y="7"/>
                      </a:cubicBezTo>
                      <a:cubicBezTo>
                        <a:pt x="23" y="8"/>
                        <a:pt x="23" y="9"/>
                        <a:pt x="23" y="11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7"/>
                        <a:pt x="29" y="4"/>
                        <a:pt x="27" y="3"/>
                      </a:cubicBezTo>
                      <a:cubicBezTo>
                        <a:pt x="24" y="1"/>
                        <a:pt x="21" y="0"/>
                        <a:pt x="17" y="0"/>
                      </a:cubicBezTo>
                      <a:cubicBezTo>
                        <a:pt x="13" y="0"/>
                        <a:pt x="10" y="1"/>
                        <a:pt x="8" y="3"/>
                      </a:cubicBezTo>
                      <a:cubicBezTo>
                        <a:pt x="5" y="5"/>
                        <a:pt x="4" y="7"/>
                        <a:pt x="4" y="10"/>
                      </a:cubicBezTo>
                      <a:cubicBezTo>
                        <a:pt x="4" y="12"/>
                        <a:pt x="5" y="13"/>
                        <a:pt x="6" y="14"/>
                      </a:cubicBezTo>
                      <a:cubicBezTo>
                        <a:pt x="6" y="16"/>
                        <a:pt x="7" y="17"/>
                        <a:pt x="8" y="18"/>
                      </a:cubicBezTo>
                      <a:cubicBezTo>
                        <a:pt x="10" y="18"/>
                        <a:pt x="12" y="19"/>
                        <a:pt x="15" y="21"/>
                      </a:cubicBezTo>
                      <a:cubicBezTo>
                        <a:pt x="17" y="22"/>
                        <a:pt x="19" y="23"/>
                        <a:pt x="20" y="23"/>
                      </a:cubicBezTo>
                      <a:cubicBezTo>
                        <a:pt x="20" y="24"/>
                        <a:pt x="21" y="25"/>
                        <a:pt x="21" y="26"/>
                      </a:cubicBezTo>
                      <a:cubicBezTo>
                        <a:pt x="21" y="27"/>
                        <a:pt x="20" y="28"/>
                        <a:pt x="19" y="29"/>
                      </a:cubicBezTo>
                      <a:cubicBezTo>
                        <a:pt x="18" y="30"/>
                        <a:pt x="16" y="30"/>
                        <a:pt x="14" y="30"/>
                      </a:cubicBezTo>
                      <a:cubicBezTo>
                        <a:pt x="11" y="30"/>
                        <a:pt x="9" y="30"/>
                        <a:pt x="8" y="28"/>
                      </a:cubicBezTo>
                      <a:cubicBezTo>
                        <a:pt x="8" y="28"/>
                        <a:pt x="7" y="26"/>
                        <a:pt x="7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7"/>
                        <a:pt x="0" y="29"/>
                        <a:pt x="1" y="30"/>
                      </a:cubicBezTo>
                      <a:cubicBezTo>
                        <a:pt x="2" y="32"/>
                        <a:pt x="4" y="34"/>
                        <a:pt x="6" y="35"/>
                      </a:cubicBezTo>
                      <a:cubicBezTo>
                        <a:pt x="8" y="36"/>
                        <a:pt x="11" y="36"/>
                        <a:pt x="14" y="36"/>
                      </a:cubicBezTo>
                      <a:cubicBezTo>
                        <a:pt x="18" y="36"/>
                        <a:pt x="22" y="35"/>
                        <a:pt x="24" y="33"/>
                      </a:cubicBezTo>
                      <a:cubicBezTo>
                        <a:pt x="27" y="31"/>
                        <a:pt x="28" y="28"/>
                        <a:pt x="28" y="25"/>
                      </a:cubicBezTo>
                      <a:cubicBezTo>
                        <a:pt x="28" y="22"/>
                        <a:pt x="27" y="20"/>
                        <a:pt x="26" y="19"/>
                      </a:cubicBezTo>
                      <a:cubicBezTo>
                        <a:pt x="25" y="18"/>
                        <a:pt x="22" y="16"/>
                        <a:pt x="18" y="14"/>
                      </a:cubicBezTo>
                      <a:cubicBezTo>
                        <a:pt x="15" y="13"/>
                        <a:pt x="13" y="12"/>
                        <a:pt x="13" y="12"/>
                      </a:cubicBezTo>
                      <a:cubicBezTo>
                        <a:pt x="12" y="11"/>
                        <a:pt x="11" y="10"/>
                        <a:pt x="11" y="9"/>
                      </a:cubicBezTo>
                      <a:cubicBezTo>
                        <a:pt x="11" y="8"/>
                        <a:pt x="12" y="7"/>
                        <a:pt x="13" y="6"/>
                      </a:cubicBezTo>
                      <a:cubicBezTo>
                        <a:pt x="14" y="6"/>
                        <a:pt x="15" y="5"/>
                        <a:pt x="17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8" name="îśḷîde">
                  <a:extLst>
                    <a:ext uri="{FF2B5EF4-FFF2-40B4-BE49-F238E27FC236}">
                      <a16:creationId xmlns:a16="http://schemas.microsoft.com/office/drawing/2014/main" id="{6B25892A-7BF0-4212-B0F1-B80BC7A0599E}"/>
                    </a:ext>
                  </a:extLst>
                </p:cNvPr>
                <p:cNvSpPr/>
                <p:nvPr/>
              </p:nvSpPr>
              <p:spPr bwMode="auto">
                <a:xfrm>
                  <a:off x="8374063" y="3521075"/>
                  <a:ext cx="46038" cy="119063"/>
                </a:xfrm>
                <a:custGeom>
                  <a:avLst/>
                  <a:gdLst>
                    <a:gd name="T0" fmla="*/ 0 w 29"/>
                    <a:gd name="T1" fmla="*/ 75 h 75"/>
                    <a:gd name="T2" fmla="*/ 14 w 29"/>
                    <a:gd name="T3" fmla="*/ 75 h 75"/>
                    <a:gd name="T4" fmla="*/ 29 w 29"/>
                    <a:gd name="T5" fmla="*/ 0 h 75"/>
                    <a:gd name="T6" fmla="*/ 14 w 29"/>
                    <a:gd name="T7" fmla="*/ 0 h 75"/>
                    <a:gd name="T8" fmla="*/ 0 w 29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9" name="ïsliḓé">
                  <a:extLst>
                    <a:ext uri="{FF2B5EF4-FFF2-40B4-BE49-F238E27FC236}">
                      <a16:creationId xmlns:a16="http://schemas.microsoft.com/office/drawing/2014/main" id="{D8F31B6F-39E8-479A-9560-CDE8D98B9E6F}"/>
                    </a:ext>
                  </a:extLst>
                </p:cNvPr>
                <p:cNvSpPr/>
                <p:nvPr/>
              </p:nvSpPr>
              <p:spPr bwMode="auto">
                <a:xfrm>
                  <a:off x="8432801" y="3521075"/>
                  <a:ext cx="95250" cy="119063"/>
                </a:xfrm>
                <a:custGeom>
                  <a:avLst/>
                  <a:gdLst>
                    <a:gd name="T0" fmla="*/ 0 w 60"/>
                    <a:gd name="T1" fmla="*/ 12 h 75"/>
                    <a:gd name="T2" fmla="*/ 21 w 60"/>
                    <a:gd name="T3" fmla="*/ 12 h 75"/>
                    <a:gd name="T4" fmla="*/ 8 w 60"/>
                    <a:gd name="T5" fmla="*/ 75 h 75"/>
                    <a:gd name="T6" fmla="*/ 23 w 60"/>
                    <a:gd name="T7" fmla="*/ 75 h 75"/>
                    <a:gd name="T8" fmla="*/ 35 w 60"/>
                    <a:gd name="T9" fmla="*/ 12 h 75"/>
                    <a:gd name="T10" fmla="*/ 58 w 60"/>
                    <a:gd name="T11" fmla="*/ 12 h 75"/>
                    <a:gd name="T12" fmla="*/ 60 w 60"/>
                    <a:gd name="T13" fmla="*/ 0 h 75"/>
                    <a:gd name="T14" fmla="*/ 2 w 60"/>
                    <a:gd name="T15" fmla="*/ 0 h 75"/>
                    <a:gd name="T16" fmla="*/ 0 w 60"/>
                    <a:gd name="T17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75">
                      <a:moveTo>
                        <a:pt x="0" y="12"/>
                      </a:moveTo>
                      <a:lnTo>
                        <a:pt x="21" y="12"/>
                      </a:lnTo>
                      <a:lnTo>
                        <a:pt x="8" y="75"/>
                      </a:lnTo>
                      <a:lnTo>
                        <a:pt x="23" y="75"/>
                      </a:lnTo>
                      <a:lnTo>
                        <a:pt x="35" y="12"/>
                      </a:lnTo>
                      <a:lnTo>
                        <a:pt x="58" y="12"/>
                      </a:lnTo>
                      <a:lnTo>
                        <a:pt x="60" y="0"/>
                      </a:lnTo>
                      <a:lnTo>
                        <a:pt x="2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0" name="ïsḷíḍè">
                  <a:extLst>
                    <a:ext uri="{FF2B5EF4-FFF2-40B4-BE49-F238E27FC236}">
                      <a16:creationId xmlns:a16="http://schemas.microsoft.com/office/drawing/2014/main" id="{4DA2A5F9-1737-46E8-8C76-8D0279495546}"/>
                    </a:ext>
                  </a:extLst>
                </p:cNvPr>
                <p:cNvSpPr/>
                <p:nvPr/>
              </p:nvSpPr>
              <p:spPr bwMode="auto">
                <a:xfrm>
                  <a:off x="8531226" y="3521075"/>
                  <a:ext cx="109538" cy="119063"/>
                </a:xfrm>
                <a:custGeom>
                  <a:avLst/>
                  <a:gdLst>
                    <a:gd name="T0" fmla="*/ 25 w 33"/>
                    <a:gd name="T1" fmla="*/ 0 h 36"/>
                    <a:gd name="T2" fmla="*/ 19 w 33"/>
                    <a:gd name="T3" fmla="*/ 7 h 36"/>
                    <a:gd name="T4" fmla="*/ 16 w 33"/>
                    <a:gd name="T5" fmla="*/ 12 h 36"/>
                    <a:gd name="T6" fmla="*/ 14 w 33"/>
                    <a:gd name="T7" fmla="*/ 15 h 36"/>
                    <a:gd name="T8" fmla="*/ 12 w 33"/>
                    <a:gd name="T9" fmla="*/ 10 h 36"/>
                    <a:gd name="T10" fmla="*/ 8 w 33"/>
                    <a:gd name="T11" fmla="*/ 0 h 36"/>
                    <a:gd name="T12" fmla="*/ 0 w 33"/>
                    <a:gd name="T13" fmla="*/ 0 h 36"/>
                    <a:gd name="T14" fmla="*/ 10 w 33"/>
                    <a:gd name="T15" fmla="*/ 22 h 36"/>
                    <a:gd name="T16" fmla="*/ 7 w 33"/>
                    <a:gd name="T17" fmla="*/ 36 h 36"/>
                    <a:gd name="T18" fmla="*/ 14 w 33"/>
                    <a:gd name="T19" fmla="*/ 36 h 36"/>
                    <a:gd name="T20" fmla="*/ 17 w 33"/>
                    <a:gd name="T21" fmla="*/ 23 h 36"/>
                    <a:gd name="T22" fmla="*/ 33 w 33"/>
                    <a:gd name="T23" fmla="*/ 0 h 36"/>
                    <a:gd name="T24" fmla="*/ 25 w 33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36">
                      <a:moveTo>
                        <a:pt x="25" y="0"/>
                      </a:move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5" y="13"/>
                        <a:pt x="15" y="14"/>
                        <a:pt x="14" y="15"/>
                      </a:cubicBezTo>
                      <a:cubicBezTo>
                        <a:pt x="14" y="14"/>
                        <a:pt x="13" y="13"/>
                        <a:pt x="12" y="1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33" y="0"/>
                        <a:pt x="33" y="0"/>
                        <a:pt x="33" y="0"/>
                      </a:cubicBez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šḻídè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10"/>
          </p:nvPr>
        </p:nvSpPr>
        <p:spPr>
          <a:xfrm>
            <a:off x="8553650" y="1818142"/>
            <a:ext cx="1858810" cy="296271"/>
          </a:xfrm>
        </p:spPr>
        <p:txBody>
          <a:bodyPr/>
          <a:lstStyle/>
          <a:p>
            <a:pPr marL="0" indent="0" algn="l">
              <a:buNone/>
            </a:pPr>
            <a:r>
              <a:rPr lang="zh-CN" altLang="en-US" sz="1600" dirty="0">
                <a:solidFill>
                  <a:schemeClr val="bg1"/>
                </a:solidFill>
              </a:rPr>
              <a:t>指导老师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11"/>
          </p:nvPr>
        </p:nvSpPr>
        <p:spPr>
          <a:xfrm>
            <a:off x="8553650" y="2149976"/>
            <a:ext cx="1858810" cy="353431"/>
          </a:xfrm>
        </p:spPr>
        <p:txBody>
          <a:bodyPr/>
          <a:lstStyle/>
          <a:p>
            <a:pPr marL="0" indent="0" algn="l">
              <a:buNone/>
            </a:pPr>
            <a:r>
              <a:rPr lang="zh-CN" altLang="en-US" sz="1600" dirty="0">
                <a:solidFill>
                  <a:schemeClr val="bg1"/>
                </a:solidFill>
              </a:rPr>
              <a:t>答辩学生：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>
            <a:extLst>
              <a:ext uri="{FF2B5EF4-FFF2-40B4-BE49-F238E27FC236}">
                <a16:creationId xmlns:a16="http://schemas.microsoft.com/office/drawing/2014/main" id="{D3C697A0-F6D4-4D48-BA8E-0EB9F73612AF}"/>
              </a:ext>
            </a:extLst>
          </p:cNvPr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.whu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>
            <a:extLst>
              <a:ext uri="{FF2B5EF4-FFF2-40B4-BE49-F238E27FC236}">
                <a16:creationId xmlns:a16="http://schemas.microsoft.com/office/drawing/2014/main" id="{53580E6E-6DEA-4640-823F-CC01A36D0E91}"/>
              </a:ext>
            </a:extLst>
          </p:cNvPr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弘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拓新</a:t>
            </a:r>
            <a:endParaRPr lang="zh-CN" altLang="en-US" dirty="0"/>
          </a:p>
        </p:txBody>
      </p:sp>
      <p:sp>
        <p:nvSpPr>
          <p:cNvPr id="22" name="isḷïḋe">
            <a:extLst>
              <a:ext uri="{FF2B5EF4-FFF2-40B4-BE49-F238E27FC236}">
                <a16:creationId xmlns:a16="http://schemas.microsoft.com/office/drawing/2014/main" id="{81506E37-0B38-4B6D-8E2B-6B9333F7AD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汇报答辩标准模板</a:t>
            </a:r>
          </a:p>
        </p:txBody>
      </p:sp>
      <p:sp>
        <p:nvSpPr>
          <p:cNvPr id="24" name="í$ḻîḍê">
            <a:extLst>
              <a:ext uri="{FF2B5EF4-FFF2-40B4-BE49-F238E27FC236}">
                <a16:creationId xmlns:a16="http://schemas.microsoft.com/office/drawing/2014/main" id="{6E7A105B-EF65-422D-8CA4-9CAB55A623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武汉大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66858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ṣḷi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1îde">
            <a:extLst>
              <a:ext uri="{FF2B5EF4-FFF2-40B4-BE49-F238E27FC236}">
                <a16:creationId xmlns:a16="http://schemas.microsoft.com/office/drawing/2014/main" id="{9955D4D0-57E4-4F40-B41A-8D021C874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ś1idè">
            <a:extLst>
              <a:ext uri="{FF2B5EF4-FFF2-40B4-BE49-F238E27FC236}">
                <a16:creationId xmlns:a16="http://schemas.microsoft.com/office/drawing/2014/main" id="{F867A96F-F971-4419-B7A5-919D2AE49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ŝļîḑè">
            <a:extLst>
              <a:ext uri="{FF2B5EF4-FFF2-40B4-BE49-F238E27FC236}">
                <a16:creationId xmlns:a16="http://schemas.microsoft.com/office/drawing/2014/main" id="{3BB7D56D-4199-4D30-B6B0-719F2AA14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117" name="iṥľïḓ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4A82505-9F14-486D-8185-7758777B2791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118" name="îṣ1iḑé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ïṡ1ïḍé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íṧľîḓè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1" name="íSḻïḍê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2" name="iSḻídê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3" name="îŝliďè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4" name="ïśļîdé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5" name="íśľiḋê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6" name="ïṡḷiḍé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7" name="işlídé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8" name="îṥliḍé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9" name="isḷiḓé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0" name="ïŝḻiḍe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1" name="ísḷiḍé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2" name="iṩlîde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20" y="2112471"/>
              <a:ext cx="321420" cy="345643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3" name="iṣlidé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4" name="í$ḻïḓe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74509" y="4211998"/>
              <a:ext cx="345643" cy="339470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5" name="išḷiḋé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/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/>
                <a:t>Supporting text </a:t>
              </a:r>
              <a:r>
                <a:rPr lang="en-US" altLang="zh-CN" sz="1000" dirty="0"/>
                <a:t>here</a:t>
              </a:r>
            </a:p>
          </p:txBody>
        </p:sp>
        <p:sp>
          <p:nvSpPr>
            <p:cNvPr id="136" name="ïšļiďê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94019" y="4208912"/>
              <a:ext cx="256032" cy="345643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7" name="îṩlîďê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77516" y="2437272"/>
              <a:ext cx="345643" cy="314782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38" name="íṣḻïde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687663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/>
                <a:t>Text here</a:t>
              </a:r>
              <a:endParaRPr lang="en-US" altLang="zh-CN" b="1" dirty="0"/>
            </a:p>
          </p:txBody>
        </p:sp>
        <p:sp>
          <p:nvSpPr>
            <p:cNvPr id="139" name="iŝḷíḓe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/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/>
                <a:t>Supporting text </a:t>
              </a:r>
              <a:r>
                <a:rPr lang="en-US" altLang="zh-CN" sz="1000" dirty="0"/>
                <a:t>here</a:t>
              </a:r>
            </a:p>
          </p:txBody>
        </p:sp>
        <p:sp>
          <p:nvSpPr>
            <p:cNvPr id="140" name="iṣlîdé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687663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/>
                <a:t>Text here</a:t>
              </a:r>
              <a:endParaRPr lang="en-US" altLang="zh-CN" b="1" dirty="0"/>
            </a:p>
          </p:txBody>
        </p:sp>
        <p:sp>
          <p:nvSpPr>
            <p:cNvPr id="141" name="ïşlîḓè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38288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/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/>
                <a:t>Supporting text </a:t>
              </a:r>
              <a:r>
                <a:rPr lang="en-US" altLang="zh-CN" sz="1000" dirty="0"/>
                <a:t>here</a:t>
              </a:r>
            </a:p>
          </p:txBody>
        </p:sp>
        <p:sp>
          <p:nvSpPr>
            <p:cNvPr id="142" name="íşļíḋé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38288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/>
                <a:t>Text here</a:t>
              </a:r>
              <a:endParaRPr lang="en-US" altLang="zh-CN" b="1" dirty="0"/>
            </a:p>
          </p:txBody>
        </p:sp>
        <p:sp>
          <p:nvSpPr>
            <p:cNvPr id="143" name="íŝliḍe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/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/>
                <a:t>Supporting text </a:t>
              </a:r>
              <a:r>
                <a:rPr lang="en-US" altLang="zh-CN" sz="1000" dirty="0"/>
                <a:t>here</a:t>
              </a:r>
            </a:p>
          </p:txBody>
        </p:sp>
        <p:sp>
          <p:nvSpPr>
            <p:cNvPr id="144" name="i$ḷîďé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/>
                <a:t>Text here</a:t>
              </a:r>
              <a:endParaRPr lang="en-US" altLang="zh-CN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70214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1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ľîḓe">
            <a:extLst>
              <a:ext uri="{FF2B5EF4-FFF2-40B4-BE49-F238E27FC236}">
                <a16:creationId xmlns:a16="http://schemas.microsoft.com/office/drawing/2014/main" id="{E807F3BD-E251-4801-A5E3-D2F4E5DF4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ṧḻîḋe">
            <a:extLst>
              <a:ext uri="{FF2B5EF4-FFF2-40B4-BE49-F238E27FC236}">
                <a16:creationId xmlns:a16="http://schemas.microsoft.com/office/drawing/2014/main" id="{39824770-53AB-4599-82B2-10F434F0A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šľiďe">
            <a:extLst>
              <a:ext uri="{FF2B5EF4-FFF2-40B4-BE49-F238E27FC236}">
                <a16:creationId xmlns:a16="http://schemas.microsoft.com/office/drawing/2014/main" id="{2B2A9A53-6918-4F51-9FE4-9F4B18F12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iS1iḑ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F9359A7-2116-4BA5-BE57-1D7878CD4C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185425"/>
            <a:ext cx="11644098" cy="4895244"/>
            <a:chOff x="0" y="1185425"/>
            <a:chExt cx="11644100" cy="4895245"/>
          </a:xfrm>
        </p:grpSpPr>
        <p:sp>
          <p:nvSpPr>
            <p:cNvPr id="6" name="îṡḻîḑè">
              <a:extLst>
                <a:ext uri="{FF2B5EF4-FFF2-40B4-BE49-F238E27FC236}">
                  <a16:creationId xmlns:a16="http://schemas.microsoft.com/office/drawing/2014/main" id="{C2B1A7AE-C0DD-4047-A7A7-0D320E8148B5}"/>
                </a:ext>
              </a:extLst>
            </p:cNvPr>
            <p:cNvSpPr/>
            <p:nvPr/>
          </p:nvSpPr>
          <p:spPr bwMode="auto">
            <a:xfrm>
              <a:off x="0" y="1994268"/>
              <a:ext cx="9794527" cy="3583614"/>
            </a:xfrm>
            <a:custGeom>
              <a:avLst/>
              <a:gdLst>
                <a:gd name="T0" fmla="*/ 0 w 2828"/>
                <a:gd name="T1" fmla="*/ 856 h 1032"/>
                <a:gd name="T2" fmla="*/ 660 w 2828"/>
                <a:gd name="T3" fmla="*/ 540 h 1032"/>
                <a:gd name="T4" fmla="*/ 1232 w 2828"/>
                <a:gd name="T5" fmla="*/ 720 h 1032"/>
                <a:gd name="T6" fmla="*/ 1772 w 2828"/>
                <a:gd name="T7" fmla="*/ 320 h 1032"/>
                <a:gd name="T8" fmla="*/ 2315 w 2828"/>
                <a:gd name="T9" fmla="*/ 479 h 1032"/>
                <a:gd name="T10" fmla="*/ 2828 w 2828"/>
                <a:gd name="T11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28" h="1032">
                  <a:moveTo>
                    <a:pt x="0" y="856"/>
                  </a:moveTo>
                  <a:cubicBezTo>
                    <a:pt x="420" y="1032"/>
                    <a:pt x="464" y="536"/>
                    <a:pt x="660" y="540"/>
                  </a:cubicBezTo>
                  <a:cubicBezTo>
                    <a:pt x="856" y="544"/>
                    <a:pt x="976" y="736"/>
                    <a:pt x="1232" y="720"/>
                  </a:cubicBezTo>
                  <a:cubicBezTo>
                    <a:pt x="1488" y="704"/>
                    <a:pt x="1508" y="352"/>
                    <a:pt x="1772" y="320"/>
                  </a:cubicBezTo>
                  <a:cubicBezTo>
                    <a:pt x="2036" y="288"/>
                    <a:pt x="2063" y="491"/>
                    <a:pt x="2315" y="479"/>
                  </a:cubicBezTo>
                  <a:cubicBezTo>
                    <a:pt x="2567" y="467"/>
                    <a:pt x="2572" y="84"/>
                    <a:pt x="2828" y="0"/>
                  </a:cubicBezTo>
                </a:path>
              </a:pathLst>
            </a:custGeom>
            <a:noFill/>
            <a:ln w="22225" cap="flat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i$ḻiḓè">
              <a:extLst>
                <a:ext uri="{FF2B5EF4-FFF2-40B4-BE49-F238E27FC236}">
                  <a16:creationId xmlns:a16="http://schemas.microsoft.com/office/drawing/2014/main" id="{68DDB35B-A722-4164-9329-78A6C8DE5664}"/>
                </a:ext>
              </a:extLst>
            </p:cNvPr>
            <p:cNvSpPr/>
            <p:nvPr/>
          </p:nvSpPr>
          <p:spPr>
            <a:xfrm>
              <a:off x="1711174" y="3447511"/>
              <a:ext cx="942069" cy="94285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iṧ1iḍé">
              <a:extLst>
                <a:ext uri="{FF2B5EF4-FFF2-40B4-BE49-F238E27FC236}">
                  <a16:creationId xmlns:a16="http://schemas.microsoft.com/office/drawing/2014/main" id="{DF3E75CF-F711-46F1-9A0B-7D22BBC29991}"/>
                </a:ext>
              </a:extLst>
            </p:cNvPr>
            <p:cNvSpPr/>
            <p:nvPr/>
          </p:nvSpPr>
          <p:spPr>
            <a:xfrm>
              <a:off x="1819875" y="3556303"/>
              <a:ext cx="724668" cy="72527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9" name="íṩḻïḋe">
              <a:extLst>
                <a:ext uri="{FF2B5EF4-FFF2-40B4-BE49-F238E27FC236}">
                  <a16:creationId xmlns:a16="http://schemas.microsoft.com/office/drawing/2014/main" id="{1AED4BD6-1BB4-44ED-9C8D-033110AB1009}"/>
                </a:ext>
              </a:extLst>
            </p:cNvPr>
            <p:cNvSpPr/>
            <p:nvPr/>
          </p:nvSpPr>
          <p:spPr>
            <a:xfrm>
              <a:off x="5588022" y="2734056"/>
              <a:ext cx="942069" cy="94285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işľiḋê">
              <a:extLst>
                <a:ext uri="{FF2B5EF4-FFF2-40B4-BE49-F238E27FC236}">
                  <a16:creationId xmlns:a16="http://schemas.microsoft.com/office/drawing/2014/main" id="{8536149F-0357-45FA-8B7C-CE954D85DBFB}"/>
                </a:ext>
              </a:extLst>
            </p:cNvPr>
            <p:cNvSpPr/>
            <p:nvPr/>
          </p:nvSpPr>
          <p:spPr>
            <a:xfrm>
              <a:off x="5696723" y="2842848"/>
              <a:ext cx="724668" cy="72527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1" name="iṣļîďè">
              <a:extLst>
                <a:ext uri="{FF2B5EF4-FFF2-40B4-BE49-F238E27FC236}">
                  <a16:creationId xmlns:a16="http://schemas.microsoft.com/office/drawing/2014/main" id="{EB76DE6D-4028-41B9-86D7-DC3B87B4D800}"/>
                </a:ext>
              </a:extLst>
            </p:cNvPr>
            <p:cNvSpPr/>
            <p:nvPr/>
          </p:nvSpPr>
          <p:spPr>
            <a:xfrm>
              <a:off x="7481473" y="3261239"/>
              <a:ext cx="942069" cy="94285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iSlîḍe">
              <a:extLst>
                <a:ext uri="{FF2B5EF4-FFF2-40B4-BE49-F238E27FC236}">
                  <a16:creationId xmlns:a16="http://schemas.microsoft.com/office/drawing/2014/main" id="{D619DB44-2C24-4FFE-8493-CD6E735B33A0}"/>
                </a:ext>
              </a:extLst>
            </p:cNvPr>
            <p:cNvSpPr/>
            <p:nvPr/>
          </p:nvSpPr>
          <p:spPr>
            <a:xfrm>
              <a:off x="7590174" y="3370031"/>
              <a:ext cx="724668" cy="72527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13" name="i$liďe">
              <a:extLst>
                <a:ext uri="{FF2B5EF4-FFF2-40B4-BE49-F238E27FC236}">
                  <a16:creationId xmlns:a16="http://schemas.microsoft.com/office/drawing/2014/main" id="{34F71863-D291-45A1-AB13-60BDBE84E30D}"/>
                </a:ext>
              </a:extLst>
            </p:cNvPr>
            <p:cNvSpPr/>
            <p:nvPr/>
          </p:nvSpPr>
          <p:spPr>
            <a:xfrm>
              <a:off x="3685327" y="4062020"/>
              <a:ext cx="942069" cy="94285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4" name="iṧḷîḓe">
              <a:extLst>
                <a:ext uri="{FF2B5EF4-FFF2-40B4-BE49-F238E27FC236}">
                  <a16:creationId xmlns:a16="http://schemas.microsoft.com/office/drawing/2014/main" id="{2B54D236-942E-4040-9FDA-DE0EF1274254}"/>
                </a:ext>
              </a:extLst>
            </p:cNvPr>
            <p:cNvSpPr/>
            <p:nvPr/>
          </p:nvSpPr>
          <p:spPr>
            <a:xfrm>
              <a:off x="3794028" y="4170812"/>
              <a:ext cx="724668" cy="72527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02</a:t>
              </a:r>
            </a:p>
          </p:txBody>
        </p:sp>
        <p:grpSp>
          <p:nvGrpSpPr>
            <p:cNvPr id="15" name="ïşlïḍé">
              <a:extLst>
                <a:ext uri="{FF2B5EF4-FFF2-40B4-BE49-F238E27FC236}">
                  <a16:creationId xmlns:a16="http://schemas.microsoft.com/office/drawing/2014/main" id="{00C272AC-51EF-40A0-B05B-C840F785FDAA}"/>
                </a:ext>
              </a:extLst>
            </p:cNvPr>
            <p:cNvGrpSpPr/>
            <p:nvPr/>
          </p:nvGrpSpPr>
          <p:grpSpPr>
            <a:xfrm>
              <a:off x="7131001" y="1185425"/>
              <a:ext cx="4513099" cy="2712288"/>
              <a:chOff x="6667902" y="1309443"/>
              <a:chExt cx="4945077" cy="2971898"/>
            </a:xfrm>
          </p:grpSpPr>
          <p:sp>
            <p:nvSpPr>
              <p:cNvPr id="28" name="ï$ḻïďe">
                <a:extLst>
                  <a:ext uri="{FF2B5EF4-FFF2-40B4-BE49-F238E27FC236}">
                    <a16:creationId xmlns:a16="http://schemas.microsoft.com/office/drawing/2014/main" id="{505C33FC-3C46-48F8-B0FB-6CCDE0B230EC}"/>
                  </a:ext>
                </a:extLst>
              </p:cNvPr>
              <p:cNvSpPr/>
              <p:nvPr/>
            </p:nvSpPr>
            <p:spPr bwMode="auto">
              <a:xfrm rot="1784174" flipV="1">
                <a:off x="8523804" y="2574856"/>
                <a:ext cx="3089175" cy="1706485"/>
              </a:xfrm>
              <a:custGeom>
                <a:avLst/>
                <a:gdLst>
                  <a:gd name="T0" fmla="*/ 1622 w 1665"/>
                  <a:gd name="T1" fmla="*/ 605 h 920"/>
                  <a:gd name="T2" fmla="*/ 1624 w 1665"/>
                  <a:gd name="T3" fmla="*/ 629 h 920"/>
                  <a:gd name="T4" fmla="*/ 1466 w 1665"/>
                  <a:gd name="T5" fmla="*/ 788 h 920"/>
                  <a:gd name="T6" fmla="*/ 1375 w 1665"/>
                  <a:gd name="T7" fmla="*/ 759 h 920"/>
                  <a:gd name="T8" fmla="*/ 1257 w 1665"/>
                  <a:gd name="T9" fmla="*/ 802 h 920"/>
                  <a:gd name="T10" fmla="*/ 1073 w 1665"/>
                  <a:gd name="T11" fmla="*/ 633 h 920"/>
                  <a:gd name="T12" fmla="*/ 924 w 1665"/>
                  <a:gd name="T13" fmla="*/ 709 h 920"/>
                  <a:gd name="T14" fmla="*/ 792 w 1665"/>
                  <a:gd name="T15" fmla="*/ 653 h 920"/>
                  <a:gd name="T16" fmla="*/ 689 w 1665"/>
                  <a:gd name="T17" fmla="*/ 718 h 920"/>
                  <a:gd name="T18" fmla="*/ 690 w 1665"/>
                  <a:gd name="T19" fmla="*/ 737 h 920"/>
                  <a:gd name="T20" fmla="*/ 506 w 1665"/>
                  <a:gd name="T21" fmla="*/ 920 h 920"/>
                  <a:gd name="T22" fmla="*/ 340 w 1665"/>
                  <a:gd name="T23" fmla="*/ 816 h 920"/>
                  <a:gd name="T24" fmla="*/ 236 w 1665"/>
                  <a:gd name="T25" fmla="*/ 840 h 920"/>
                  <a:gd name="T26" fmla="*/ 0 w 1665"/>
                  <a:gd name="T27" fmla="*/ 604 h 920"/>
                  <a:gd name="T28" fmla="*/ 126 w 1665"/>
                  <a:gd name="T29" fmla="*/ 395 h 920"/>
                  <a:gd name="T30" fmla="*/ 258 w 1665"/>
                  <a:gd name="T31" fmla="*/ 304 h 920"/>
                  <a:gd name="T32" fmla="*/ 497 w 1665"/>
                  <a:gd name="T33" fmla="*/ 112 h 920"/>
                  <a:gd name="T34" fmla="*/ 601 w 1665"/>
                  <a:gd name="T35" fmla="*/ 135 h 920"/>
                  <a:gd name="T36" fmla="*/ 819 w 1665"/>
                  <a:gd name="T37" fmla="*/ 0 h 920"/>
                  <a:gd name="T38" fmla="*/ 1032 w 1665"/>
                  <a:gd name="T39" fmla="*/ 124 h 920"/>
                  <a:gd name="T40" fmla="*/ 1073 w 1665"/>
                  <a:gd name="T41" fmla="*/ 120 h 920"/>
                  <a:gd name="T42" fmla="*/ 1251 w 1665"/>
                  <a:gd name="T43" fmla="*/ 259 h 920"/>
                  <a:gd name="T44" fmla="*/ 1358 w 1665"/>
                  <a:gd name="T45" fmla="*/ 351 h 920"/>
                  <a:gd name="T46" fmla="*/ 1481 w 1665"/>
                  <a:gd name="T47" fmla="*/ 304 h 920"/>
                  <a:gd name="T48" fmla="*/ 1665 w 1665"/>
                  <a:gd name="T49" fmla="*/ 488 h 920"/>
                  <a:gd name="T50" fmla="*/ 1622 w 1665"/>
                  <a:gd name="T51" fmla="*/ 605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5" h="920">
                    <a:moveTo>
                      <a:pt x="1622" y="605"/>
                    </a:moveTo>
                    <a:cubicBezTo>
                      <a:pt x="1624" y="613"/>
                      <a:pt x="1624" y="621"/>
                      <a:pt x="1624" y="629"/>
                    </a:cubicBezTo>
                    <a:cubicBezTo>
                      <a:pt x="1624" y="717"/>
                      <a:pt x="1553" y="788"/>
                      <a:pt x="1466" y="788"/>
                    </a:cubicBezTo>
                    <a:cubicBezTo>
                      <a:pt x="1432" y="788"/>
                      <a:pt x="1401" y="777"/>
                      <a:pt x="1375" y="759"/>
                    </a:cubicBezTo>
                    <a:cubicBezTo>
                      <a:pt x="1343" y="786"/>
                      <a:pt x="1302" y="802"/>
                      <a:pt x="1257" y="802"/>
                    </a:cubicBezTo>
                    <a:cubicBezTo>
                      <a:pt x="1160" y="802"/>
                      <a:pt x="1081" y="728"/>
                      <a:pt x="1073" y="633"/>
                    </a:cubicBezTo>
                    <a:cubicBezTo>
                      <a:pt x="1040" y="679"/>
                      <a:pt x="986" y="709"/>
                      <a:pt x="924" y="709"/>
                    </a:cubicBezTo>
                    <a:cubicBezTo>
                      <a:pt x="872" y="709"/>
                      <a:pt x="825" y="688"/>
                      <a:pt x="792" y="653"/>
                    </a:cubicBezTo>
                    <a:cubicBezTo>
                      <a:pt x="766" y="685"/>
                      <a:pt x="731" y="709"/>
                      <a:pt x="689" y="718"/>
                    </a:cubicBezTo>
                    <a:cubicBezTo>
                      <a:pt x="690" y="724"/>
                      <a:pt x="690" y="730"/>
                      <a:pt x="690" y="737"/>
                    </a:cubicBezTo>
                    <a:cubicBezTo>
                      <a:pt x="690" y="838"/>
                      <a:pt x="608" y="920"/>
                      <a:pt x="506" y="920"/>
                    </a:cubicBezTo>
                    <a:cubicBezTo>
                      <a:pt x="433" y="920"/>
                      <a:pt x="370" y="878"/>
                      <a:pt x="340" y="816"/>
                    </a:cubicBezTo>
                    <a:cubicBezTo>
                      <a:pt x="309" y="831"/>
                      <a:pt x="274" y="840"/>
                      <a:pt x="236" y="840"/>
                    </a:cubicBezTo>
                    <a:cubicBezTo>
                      <a:pt x="106" y="840"/>
                      <a:pt x="0" y="734"/>
                      <a:pt x="0" y="604"/>
                    </a:cubicBezTo>
                    <a:cubicBezTo>
                      <a:pt x="0" y="513"/>
                      <a:pt x="51" y="434"/>
                      <a:pt x="126" y="395"/>
                    </a:cubicBezTo>
                    <a:cubicBezTo>
                      <a:pt x="159" y="351"/>
                      <a:pt x="205" y="319"/>
                      <a:pt x="258" y="304"/>
                    </a:cubicBezTo>
                    <a:cubicBezTo>
                      <a:pt x="282" y="194"/>
                      <a:pt x="380" y="112"/>
                      <a:pt x="497" y="112"/>
                    </a:cubicBezTo>
                    <a:cubicBezTo>
                      <a:pt x="534" y="112"/>
                      <a:pt x="569" y="120"/>
                      <a:pt x="601" y="135"/>
                    </a:cubicBezTo>
                    <a:cubicBezTo>
                      <a:pt x="641" y="55"/>
                      <a:pt x="724" y="0"/>
                      <a:pt x="819" y="0"/>
                    </a:cubicBezTo>
                    <a:cubicBezTo>
                      <a:pt x="911" y="0"/>
                      <a:pt x="990" y="50"/>
                      <a:pt x="1032" y="124"/>
                    </a:cubicBezTo>
                    <a:cubicBezTo>
                      <a:pt x="1045" y="121"/>
                      <a:pt x="1059" y="120"/>
                      <a:pt x="1073" y="120"/>
                    </a:cubicBezTo>
                    <a:cubicBezTo>
                      <a:pt x="1159" y="120"/>
                      <a:pt x="1231" y="179"/>
                      <a:pt x="1251" y="259"/>
                    </a:cubicBezTo>
                    <a:cubicBezTo>
                      <a:pt x="1298" y="275"/>
                      <a:pt x="1336" y="308"/>
                      <a:pt x="1358" y="351"/>
                    </a:cubicBezTo>
                    <a:cubicBezTo>
                      <a:pt x="1390" y="322"/>
                      <a:pt x="1433" y="304"/>
                      <a:pt x="1481" y="304"/>
                    </a:cubicBezTo>
                    <a:cubicBezTo>
                      <a:pt x="1582" y="304"/>
                      <a:pt x="1665" y="386"/>
                      <a:pt x="1665" y="488"/>
                    </a:cubicBezTo>
                    <a:cubicBezTo>
                      <a:pt x="1665" y="532"/>
                      <a:pt x="1649" y="573"/>
                      <a:pt x="1622" y="605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4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9" name="îŝḻîḋè">
                <a:extLst>
                  <a:ext uri="{FF2B5EF4-FFF2-40B4-BE49-F238E27FC236}">
                    <a16:creationId xmlns:a16="http://schemas.microsoft.com/office/drawing/2014/main" id="{0B237B91-540E-4CD8-8732-931E64B72AFA}"/>
                  </a:ext>
                </a:extLst>
              </p:cNvPr>
              <p:cNvSpPr/>
              <p:nvPr/>
            </p:nvSpPr>
            <p:spPr bwMode="auto">
              <a:xfrm rot="710118" flipV="1">
                <a:off x="7620443" y="2451701"/>
                <a:ext cx="3089175" cy="1706485"/>
              </a:xfrm>
              <a:custGeom>
                <a:avLst/>
                <a:gdLst>
                  <a:gd name="T0" fmla="*/ 1622 w 1665"/>
                  <a:gd name="T1" fmla="*/ 605 h 920"/>
                  <a:gd name="T2" fmla="*/ 1624 w 1665"/>
                  <a:gd name="T3" fmla="*/ 629 h 920"/>
                  <a:gd name="T4" fmla="*/ 1466 w 1665"/>
                  <a:gd name="T5" fmla="*/ 788 h 920"/>
                  <a:gd name="T6" fmla="*/ 1375 w 1665"/>
                  <a:gd name="T7" fmla="*/ 759 h 920"/>
                  <a:gd name="T8" fmla="*/ 1257 w 1665"/>
                  <a:gd name="T9" fmla="*/ 802 h 920"/>
                  <a:gd name="T10" fmla="*/ 1073 w 1665"/>
                  <a:gd name="T11" fmla="*/ 633 h 920"/>
                  <a:gd name="T12" fmla="*/ 924 w 1665"/>
                  <a:gd name="T13" fmla="*/ 709 h 920"/>
                  <a:gd name="T14" fmla="*/ 792 w 1665"/>
                  <a:gd name="T15" fmla="*/ 653 h 920"/>
                  <a:gd name="T16" fmla="*/ 689 w 1665"/>
                  <a:gd name="T17" fmla="*/ 718 h 920"/>
                  <a:gd name="T18" fmla="*/ 690 w 1665"/>
                  <a:gd name="T19" fmla="*/ 737 h 920"/>
                  <a:gd name="T20" fmla="*/ 506 w 1665"/>
                  <a:gd name="T21" fmla="*/ 920 h 920"/>
                  <a:gd name="T22" fmla="*/ 340 w 1665"/>
                  <a:gd name="T23" fmla="*/ 816 h 920"/>
                  <a:gd name="T24" fmla="*/ 236 w 1665"/>
                  <a:gd name="T25" fmla="*/ 840 h 920"/>
                  <a:gd name="T26" fmla="*/ 0 w 1665"/>
                  <a:gd name="T27" fmla="*/ 604 h 920"/>
                  <a:gd name="T28" fmla="*/ 126 w 1665"/>
                  <a:gd name="T29" fmla="*/ 395 h 920"/>
                  <a:gd name="T30" fmla="*/ 258 w 1665"/>
                  <a:gd name="T31" fmla="*/ 304 h 920"/>
                  <a:gd name="T32" fmla="*/ 497 w 1665"/>
                  <a:gd name="T33" fmla="*/ 112 h 920"/>
                  <a:gd name="T34" fmla="*/ 601 w 1665"/>
                  <a:gd name="T35" fmla="*/ 135 h 920"/>
                  <a:gd name="T36" fmla="*/ 819 w 1665"/>
                  <a:gd name="T37" fmla="*/ 0 h 920"/>
                  <a:gd name="T38" fmla="*/ 1032 w 1665"/>
                  <a:gd name="T39" fmla="*/ 124 h 920"/>
                  <a:gd name="T40" fmla="*/ 1073 w 1665"/>
                  <a:gd name="T41" fmla="*/ 120 h 920"/>
                  <a:gd name="T42" fmla="*/ 1251 w 1665"/>
                  <a:gd name="T43" fmla="*/ 259 h 920"/>
                  <a:gd name="T44" fmla="*/ 1358 w 1665"/>
                  <a:gd name="T45" fmla="*/ 351 h 920"/>
                  <a:gd name="T46" fmla="*/ 1481 w 1665"/>
                  <a:gd name="T47" fmla="*/ 304 h 920"/>
                  <a:gd name="T48" fmla="*/ 1665 w 1665"/>
                  <a:gd name="T49" fmla="*/ 488 h 920"/>
                  <a:gd name="T50" fmla="*/ 1622 w 1665"/>
                  <a:gd name="T51" fmla="*/ 605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5" h="920">
                    <a:moveTo>
                      <a:pt x="1622" y="605"/>
                    </a:moveTo>
                    <a:cubicBezTo>
                      <a:pt x="1624" y="613"/>
                      <a:pt x="1624" y="621"/>
                      <a:pt x="1624" y="629"/>
                    </a:cubicBezTo>
                    <a:cubicBezTo>
                      <a:pt x="1624" y="717"/>
                      <a:pt x="1553" y="788"/>
                      <a:pt x="1466" y="788"/>
                    </a:cubicBezTo>
                    <a:cubicBezTo>
                      <a:pt x="1432" y="788"/>
                      <a:pt x="1401" y="777"/>
                      <a:pt x="1375" y="759"/>
                    </a:cubicBezTo>
                    <a:cubicBezTo>
                      <a:pt x="1343" y="786"/>
                      <a:pt x="1302" y="802"/>
                      <a:pt x="1257" y="802"/>
                    </a:cubicBezTo>
                    <a:cubicBezTo>
                      <a:pt x="1160" y="802"/>
                      <a:pt x="1081" y="728"/>
                      <a:pt x="1073" y="633"/>
                    </a:cubicBezTo>
                    <a:cubicBezTo>
                      <a:pt x="1040" y="679"/>
                      <a:pt x="986" y="709"/>
                      <a:pt x="924" y="709"/>
                    </a:cubicBezTo>
                    <a:cubicBezTo>
                      <a:pt x="872" y="709"/>
                      <a:pt x="825" y="688"/>
                      <a:pt x="792" y="653"/>
                    </a:cubicBezTo>
                    <a:cubicBezTo>
                      <a:pt x="766" y="685"/>
                      <a:pt x="731" y="709"/>
                      <a:pt x="689" y="718"/>
                    </a:cubicBezTo>
                    <a:cubicBezTo>
                      <a:pt x="690" y="724"/>
                      <a:pt x="690" y="730"/>
                      <a:pt x="690" y="737"/>
                    </a:cubicBezTo>
                    <a:cubicBezTo>
                      <a:pt x="690" y="838"/>
                      <a:pt x="608" y="920"/>
                      <a:pt x="506" y="920"/>
                    </a:cubicBezTo>
                    <a:cubicBezTo>
                      <a:pt x="433" y="920"/>
                      <a:pt x="370" y="878"/>
                      <a:pt x="340" y="816"/>
                    </a:cubicBezTo>
                    <a:cubicBezTo>
                      <a:pt x="309" y="831"/>
                      <a:pt x="274" y="840"/>
                      <a:pt x="236" y="840"/>
                    </a:cubicBezTo>
                    <a:cubicBezTo>
                      <a:pt x="106" y="840"/>
                      <a:pt x="0" y="734"/>
                      <a:pt x="0" y="604"/>
                    </a:cubicBezTo>
                    <a:cubicBezTo>
                      <a:pt x="0" y="513"/>
                      <a:pt x="51" y="434"/>
                      <a:pt x="126" y="395"/>
                    </a:cubicBezTo>
                    <a:cubicBezTo>
                      <a:pt x="159" y="351"/>
                      <a:pt x="205" y="319"/>
                      <a:pt x="258" y="304"/>
                    </a:cubicBezTo>
                    <a:cubicBezTo>
                      <a:pt x="282" y="194"/>
                      <a:pt x="380" y="112"/>
                      <a:pt x="497" y="112"/>
                    </a:cubicBezTo>
                    <a:cubicBezTo>
                      <a:pt x="534" y="112"/>
                      <a:pt x="569" y="120"/>
                      <a:pt x="601" y="135"/>
                    </a:cubicBezTo>
                    <a:cubicBezTo>
                      <a:pt x="641" y="55"/>
                      <a:pt x="724" y="0"/>
                      <a:pt x="819" y="0"/>
                    </a:cubicBezTo>
                    <a:cubicBezTo>
                      <a:pt x="911" y="0"/>
                      <a:pt x="990" y="50"/>
                      <a:pt x="1032" y="124"/>
                    </a:cubicBezTo>
                    <a:cubicBezTo>
                      <a:pt x="1045" y="121"/>
                      <a:pt x="1059" y="120"/>
                      <a:pt x="1073" y="120"/>
                    </a:cubicBezTo>
                    <a:cubicBezTo>
                      <a:pt x="1159" y="120"/>
                      <a:pt x="1231" y="179"/>
                      <a:pt x="1251" y="259"/>
                    </a:cubicBezTo>
                    <a:cubicBezTo>
                      <a:pt x="1298" y="275"/>
                      <a:pt x="1336" y="308"/>
                      <a:pt x="1358" y="351"/>
                    </a:cubicBezTo>
                    <a:cubicBezTo>
                      <a:pt x="1390" y="322"/>
                      <a:pt x="1433" y="304"/>
                      <a:pt x="1481" y="304"/>
                    </a:cubicBezTo>
                    <a:cubicBezTo>
                      <a:pt x="1582" y="304"/>
                      <a:pt x="1665" y="386"/>
                      <a:pt x="1665" y="488"/>
                    </a:cubicBezTo>
                    <a:cubicBezTo>
                      <a:pt x="1665" y="532"/>
                      <a:pt x="1649" y="573"/>
                      <a:pt x="1622" y="605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4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0" name="íŝḻïḑê">
                <a:extLst>
                  <a:ext uri="{FF2B5EF4-FFF2-40B4-BE49-F238E27FC236}">
                    <a16:creationId xmlns:a16="http://schemas.microsoft.com/office/drawing/2014/main" id="{933FB3A1-20B4-4D95-AFF2-DC7214D2DCAB}"/>
                  </a:ext>
                </a:extLst>
              </p:cNvPr>
              <p:cNvSpPr/>
              <p:nvPr/>
            </p:nvSpPr>
            <p:spPr bwMode="auto">
              <a:xfrm rot="11700000" flipV="1">
                <a:off x="6667902" y="1473522"/>
                <a:ext cx="3089175" cy="1706485"/>
              </a:xfrm>
              <a:custGeom>
                <a:avLst/>
                <a:gdLst>
                  <a:gd name="T0" fmla="*/ 1622 w 1665"/>
                  <a:gd name="T1" fmla="*/ 605 h 920"/>
                  <a:gd name="T2" fmla="*/ 1624 w 1665"/>
                  <a:gd name="T3" fmla="*/ 629 h 920"/>
                  <a:gd name="T4" fmla="*/ 1466 w 1665"/>
                  <a:gd name="T5" fmla="*/ 788 h 920"/>
                  <a:gd name="T6" fmla="*/ 1375 w 1665"/>
                  <a:gd name="T7" fmla="*/ 759 h 920"/>
                  <a:gd name="T8" fmla="*/ 1257 w 1665"/>
                  <a:gd name="T9" fmla="*/ 802 h 920"/>
                  <a:gd name="T10" fmla="*/ 1073 w 1665"/>
                  <a:gd name="T11" fmla="*/ 633 h 920"/>
                  <a:gd name="T12" fmla="*/ 924 w 1665"/>
                  <a:gd name="T13" fmla="*/ 709 h 920"/>
                  <a:gd name="T14" fmla="*/ 792 w 1665"/>
                  <a:gd name="T15" fmla="*/ 653 h 920"/>
                  <a:gd name="T16" fmla="*/ 689 w 1665"/>
                  <a:gd name="T17" fmla="*/ 718 h 920"/>
                  <a:gd name="T18" fmla="*/ 690 w 1665"/>
                  <a:gd name="T19" fmla="*/ 737 h 920"/>
                  <a:gd name="T20" fmla="*/ 506 w 1665"/>
                  <a:gd name="T21" fmla="*/ 920 h 920"/>
                  <a:gd name="T22" fmla="*/ 340 w 1665"/>
                  <a:gd name="T23" fmla="*/ 816 h 920"/>
                  <a:gd name="T24" fmla="*/ 236 w 1665"/>
                  <a:gd name="T25" fmla="*/ 840 h 920"/>
                  <a:gd name="T26" fmla="*/ 0 w 1665"/>
                  <a:gd name="T27" fmla="*/ 604 h 920"/>
                  <a:gd name="T28" fmla="*/ 126 w 1665"/>
                  <a:gd name="T29" fmla="*/ 395 h 920"/>
                  <a:gd name="T30" fmla="*/ 258 w 1665"/>
                  <a:gd name="T31" fmla="*/ 304 h 920"/>
                  <a:gd name="T32" fmla="*/ 497 w 1665"/>
                  <a:gd name="T33" fmla="*/ 112 h 920"/>
                  <a:gd name="T34" fmla="*/ 601 w 1665"/>
                  <a:gd name="T35" fmla="*/ 135 h 920"/>
                  <a:gd name="T36" fmla="*/ 819 w 1665"/>
                  <a:gd name="T37" fmla="*/ 0 h 920"/>
                  <a:gd name="T38" fmla="*/ 1032 w 1665"/>
                  <a:gd name="T39" fmla="*/ 124 h 920"/>
                  <a:gd name="T40" fmla="*/ 1073 w 1665"/>
                  <a:gd name="T41" fmla="*/ 120 h 920"/>
                  <a:gd name="T42" fmla="*/ 1251 w 1665"/>
                  <a:gd name="T43" fmla="*/ 259 h 920"/>
                  <a:gd name="T44" fmla="*/ 1358 w 1665"/>
                  <a:gd name="T45" fmla="*/ 351 h 920"/>
                  <a:gd name="T46" fmla="*/ 1481 w 1665"/>
                  <a:gd name="T47" fmla="*/ 304 h 920"/>
                  <a:gd name="T48" fmla="*/ 1665 w 1665"/>
                  <a:gd name="T49" fmla="*/ 488 h 920"/>
                  <a:gd name="T50" fmla="*/ 1622 w 1665"/>
                  <a:gd name="T51" fmla="*/ 605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5" h="920">
                    <a:moveTo>
                      <a:pt x="1622" y="605"/>
                    </a:moveTo>
                    <a:cubicBezTo>
                      <a:pt x="1624" y="613"/>
                      <a:pt x="1624" y="621"/>
                      <a:pt x="1624" y="629"/>
                    </a:cubicBezTo>
                    <a:cubicBezTo>
                      <a:pt x="1624" y="717"/>
                      <a:pt x="1553" y="788"/>
                      <a:pt x="1466" y="788"/>
                    </a:cubicBezTo>
                    <a:cubicBezTo>
                      <a:pt x="1432" y="788"/>
                      <a:pt x="1401" y="777"/>
                      <a:pt x="1375" y="759"/>
                    </a:cubicBezTo>
                    <a:cubicBezTo>
                      <a:pt x="1343" y="786"/>
                      <a:pt x="1302" y="802"/>
                      <a:pt x="1257" y="802"/>
                    </a:cubicBezTo>
                    <a:cubicBezTo>
                      <a:pt x="1160" y="802"/>
                      <a:pt x="1081" y="728"/>
                      <a:pt x="1073" y="633"/>
                    </a:cubicBezTo>
                    <a:cubicBezTo>
                      <a:pt x="1040" y="679"/>
                      <a:pt x="986" y="709"/>
                      <a:pt x="924" y="709"/>
                    </a:cubicBezTo>
                    <a:cubicBezTo>
                      <a:pt x="872" y="709"/>
                      <a:pt x="825" y="688"/>
                      <a:pt x="792" y="653"/>
                    </a:cubicBezTo>
                    <a:cubicBezTo>
                      <a:pt x="766" y="685"/>
                      <a:pt x="731" y="709"/>
                      <a:pt x="689" y="718"/>
                    </a:cubicBezTo>
                    <a:cubicBezTo>
                      <a:pt x="690" y="724"/>
                      <a:pt x="690" y="730"/>
                      <a:pt x="690" y="737"/>
                    </a:cubicBezTo>
                    <a:cubicBezTo>
                      <a:pt x="690" y="838"/>
                      <a:pt x="608" y="920"/>
                      <a:pt x="506" y="920"/>
                    </a:cubicBezTo>
                    <a:cubicBezTo>
                      <a:pt x="433" y="920"/>
                      <a:pt x="370" y="878"/>
                      <a:pt x="340" y="816"/>
                    </a:cubicBezTo>
                    <a:cubicBezTo>
                      <a:pt x="309" y="831"/>
                      <a:pt x="274" y="840"/>
                      <a:pt x="236" y="840"/>
                    </a:cubicBezTo>
                    <a:cubicBezTo>
                      <a:pt x="106" y="840"/>
                      <a:pt x="0" y="734"/>
                      <a:pt x="0" y="604"/>
                    </a:cubicBezTo>
                    <a:cubicBezTo>
                      <a:pt x="0" y="513"/>
                      <a:pt x="51" y="434"/>
                      <a:pt x="126" y="395"/>
                    </a:cubicBezTo>
                    <a:cubicBezTo>
                      <a:pt x="159" y="351"/>
                      <a:pt x="205" y="319"/>
                      <a:pt x="258" y="304"/>
                    </a:cubicBezTo>
                    <a:cubicBezTo>
                      <a:pt x="282" y="194"/>
                      <a:pt x="380" y="112"/>
                      <a:pt x="497" y="112"/>
                    </a:cubicBezTo>
                    <a:cubicBezTo>
                      <a:pt x="534" y="112"/>
                      <a:pt x="569" y="120"/>
                      <a:pt x="601" y="135"/>
                    </a:cubicBezTo>
                    <a:cubicBezTo>
                      <a:pt x="641" y="55"/>
                      <a:pt x="724" y="0"/>
                      <a:pt x="819" y="0"/>
                    </a:cubicBezTo>
                    <a:cubicBezTo>
                      <a:pt x="911" y="0"/>
                      <a:pt x="990" y="50"/>
                      <a:pt x="1032" y="124"/>
                    </a:cubicBezTo>
                    <a:cubicBezTo>
                      <a:pt x="1045" y="121"/>
                      <a:pt x="1059" y="120"/>
                      <a:pt x="1073" y="120"/>
                    </a:cubicBezTo>
                    <a:cubicBezTo>
                      <a:pt x="1159" y="120"/>
                      <a:pt x="1231" y="179"/>
                      <a:pt x="1251" y="259"/>
                    </a:cubicBezTo>
                    <a:cubicBezTo>
                      <a:pt x="1298" y="275"/>
                      <a:pt x="1336" y="308"/>
                      <a:pt x="1358" y="351"/>
                    </a:cubicBezTo>
                    <a:cubicBezTo>
                      <a:pt x="1390" y="322"/>
                      <a:pt x="1433" y="304"/>
                      <a:pt x="1481" y="304"/>
                    </a:cubicBezTo>
                    <a:cubicBezTo>
                      <a:pt x="1582" y="304"/>
                      <a:pt x="1665" y="386"/>
                      <a:pt x="1665" y="488"/>
                    </a:cubicBezTo>
                    <a:cubicBezTo>
                      <a:pt x="1665" y="532"/>
                      <a:pt x="1649" y="573"/>
                      <a:pt x="1622" y="605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4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1" name="ïS1idè">
                <a:extLst>
                  <a:ext uri="{FF2B5EF4-FFF2-40B4-BE49-F238E27FC236}">
                    <a16:creationId xmlns:a16="http://schemas.microsoft.com/office/drawing/2014/main" id="{31DE83D2-178B-4D9F-944A-BFE8EAF46E19}"/>
                  </a:ext>
                </a:extLst>
              </p:cNvPr>
              <p:cNvSpPr/>
              <p:nvPr/>
            </p:nvSpPr>
            <p:spPr bwMode="auto">
              <a:xfrm rot="3026502">
                <a:off x="8910367" y="2145991"/>
                <a:ext cx="660677" cy="1092281"/>
              </a:xfrm>
              <a:custGeom>
                <a:avLst/>
                <a:gdLst>
                  <a:gd name="T0" fmla="*/ 2 w 397"/>
                  <a:gd name="T1" fmla="*/ 268 h 659"/>
                  <a:gd name="T2" fmla="*/ 0 w 397"/>
                  <a:gd name="T3" fmla="*/ 268 h 659"/>
                  <a:gd name="T4" fmla="*/ 0 w 397"/>
                  <a:gd name="T5" fmla="*/ 268 h 659"/>
                  <a:gd name="T6" fmla="*/ 3 w 397"/>
                  <a:gd name="T7" fmla="*/ 271 h 659"/>
                  <a:gd name="T8" fmla="*/ 4 w 397"/>
                  <a:gd name="T9" fmla="*/ 282 h 659"/>
                  <a:gd name="T10" fmla="*/ 5 w 397"/>
                  <a:gd name="T11" fmla="*/ 284 h 659"/>
                  <a:gd name="T12" fmla="*/ 48 w 397"/>
                  <a:gd name="T13" fmla="*/ 418 h 659"/>
                  <a:gd name="T14" fmla="*/ 92 w 397"/>
                  <a:gd name="T15" fmla="*/ 290 h 659"/>
                  <a:gd name="T16" fmla="*/ 172 w 397"/>
                  <a:gd name="T17" fmla="*/ 441 h 659"/>
                  <a:gd name="T18" fmla="*/ 145 w 397"/>
                  <a:gd name="T19" fmla="*/ 564 h 659"/>
                  <a:gd name="T20" fmla="*/ 201 w 397"/>
                  <a:gd name="T21" fmla="*/ 659 h 659"/>
                  <a:gd name="T22" fmla="*/ 172 w 397"/>
                  <a:gd name="T23" fmla="*/ 604 h 659"/>
                  <a:gd name="T24" fmla="*/ 182 w 397"/>
                  <a:gd name="T25" fmla="*/ 528 h 659"/>
                  <a:gd name="T26" fmla="*/ 229 w 397"/>
                  <a:gd name="T27" fmla="*/ 462 h 659"/>
                  <a:gd name="T28" fmla="*/ 272 w 397"/>
                  <a:gd name="T29" fmla="*/ 386 h 659"/>
                  <a:gd name="T30" fmla="*/ 280 w 397"/>
                  <a:gd name="T31" fmla="*/ 362 h 659"/>
                  <a:gd name="T32" fmla="*/ 307 w 397"/>
                  <a:gd name="T33" fmla="*/ 484 h 659"/>
                  <a:gd name="T34" fmla="*/ 325 w 397"/>
                  <a:gd name="T35" fmla="*/ 406 h 659"/>
                  <a:gd name="T36" fmla="*/ 370 w 397"/>
                  <a:gd name="T37" fmla="*/ 198 h 659"/>
                  <a:gd name="T38" fmla="*/ 189 w 397"/>
                  <a:gd name="T39" fmla="*/ 0 h 659"/>
                  <a:gd name="T40" fmla="*/ 3 w 397"/>
                  <a:gd name="T41" fmla="*/ 254 h 659"/>
                  <a:gd name="T42" fmla="*/ 2 w 397"/>
                  <a:gd name="T43" fmla="*/ 268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97" h="659">
                    <a:moveTo>
                      <a:pt x="2" y="268"/>
                    </a:moveTo>
                    <a:cubicBezTo>
                      <a:pt x="2" y="267"/>
                      <a:pt x="0" y="264"/>
                      <a:pt x="0" y="268"/>
                    </a:cubicBezTo>
                    <a:cubicBezTo>
                      <a:pt x="0" y="268"/>
                      <a:pt x="0" y="268"/>
                      <a:pt x="0" y="268"/>
                    </a:cubicBezTo>
                    <a:cubicBezTo>
                      <a:pt x="0" y="269"/>
                      <a:pt x="2" y="270"/>
                      <a:pt x="3" y="271"/>
                    </a:cubicBezTo>
                    <a:cubicBezTo>
                      <a:pt x="3" y="275"/>
                      <a:pt x="4" y="278"/>
                      <a:pt x="4" y="282"/>
                    </a:cubicBezTo>
                    <a:cubicBezTo>
                      <a:pt x="5" y="283"/>
                      <a:pt x="5" y="283"/>
                      <a:pt x="5" y="284"/>
                    </a:cubicBezTo>
                    <a:cubicBezTo>
                      <a:pt x="10" y="335"/>
                      <a:pt x="25" y="381"/>
                      <a:pt x="48" y="418"/>
                    </a:cubicBezTo>
                    <a:cubicBezTo>
                      <a:pt x="23" y="377"/>
                      <a:pt x="37" y="299"/>
                      <a:pt x="92" y="290"/>
                    </a:cubicBezTo>
                    <a:cubicBezTo>
                      <a:pt x="158" y="280"/>
                      <a:pt x="169" y="399"/>
                      <a:pt x="172" y="441"/>
                    </a:cubicBezTo>
                    <a:cubicBezTo>
                      <a:pt x="174" y="484"/>
                      <a:pt x="145" y="521"/>
                      <a:pt x="145" y="564"/>
                    </a:cubicBezTo>
                    <a:cubicBezTo>
                      <a:pt x="145" y="613"/>
                      <a:pt x="170" y="653"/>
                      <a:pt x="201" y="659"/>
                    </a:cubicBezTo>
                    <a:cubicBezTo>
                      <a:pt x="187" y="656"/>
                      <a:pt x="174" y="616"/>
                      <a:pt x="172" y="604"/>
                    </a:cubicBezTo>
                    <a:cubicBezTo>
                      <a:pt x="168" y="580"/>
                      <a:pt x="175" y="551"/>
                      <a:pt x="182" y="528"/>
                    </a:cubicBezTo>
                    <a:cubicBezTo>
                      <a:pt x="190" y="501"/>
                      <a:pt x="211" y="483"/>
                      <a:pt x="229" y="462"/>
                    </a:cubicBezTo>
                    <a:cubicBezTo>
                      <a:pt x="247" y="440"/>
                      <a:pt x="262" y="414"/>
                      <a:pt x="272" y="386"/>
                    </a:cubicBezTo>
                    <a:cubicBezTo>
                      <a:pt x="275" y="378"/>
                      <a:pt x="278" y="370"/>
                      <a:pt x="280" y="362"/>
                    </a:cubicBezTo>
                    <a:cubicBezTo>
                      <a:pt x="284" y="420"/>
                      <a:pt x="307" y="484"/>
                      <a:pt x="307" y="484"/>
                    </a:cubicBezTo>
                    <a:cubicBezTo>
                      <a:pt x="299" y="437"/>
                      <a:pt x="325" y="406"/>
                      <a:pt x="325" y="406"/>
                    </a:cubicBezTo>
                    <a:cubicBezTo>
                      <a:pt x="397" y="291"/>
                      <a:pt x="370" y="198"/>
                      <a:pt x="370" y="198"/>
                    </a:cubicBezTo>
                    <a:cubicBezTo>
                      <a:pt x="351" y="85"/>
                      <a:pt x="277" y="0"/>
                      <a:pt x="189" y="0"/>
                    </a:cubicBezTo>
                    <a:cubicBezTo>
                      <a:pt x="87" y="0"/>
                      <a:pt x="3" y="114"/>
                      <a:pt x="3" y="254"/>
                    </a:cubicBezTo>
                    <a:cubicBezTo>
                      <a:pt x="3" y="258"/>
                      <a:pt x="2" y="263"/>
                      <a:pt x="2" y="26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2" name="íŝḷíḑê">
                <a:extLst>
                  <a:ext uri="{FF2B5EF4-FFF2-40B4-BE49-F238E27FC236}">
                    <a16:creationId xmlns:a16="http://schemas.microsoft.com/office/drawing/2014/main" id="{6B2EBFAB-F9C1-403F-AD84-8574FA1B10AB}"/>
                  </a:ext>
                </a:extLst>
              </p:cNvPr>
              <p:cNvSpPr/>
              <p:nvPr/>
            </p:nvSpPr>
            <p:spPr bwMode="auto">
              <a:xfrm rot="3026502">
                <a:off x="9101568" y="2237542"/>
                <a:ext cx="538459" cy="687914"/>
              </a:xfrm>
              <a:custGeom>
                <a:avLst/>
                <a:gdLst>
                  <a:gd name="T0" fmla="*/ 154 w 324"/>
                  <a:gd name="T1" fmla="*/ 0 h 415"/>
                  <a:gd name="T2" fmla="*/ 304 w 324"/>
                  <a:gd name="T3" fmla="*/ 172 h 415"/>
                  <a:gd name="T4" fmla="*/ 305 w 324"/>
                  <a:gd name="T5" fmla="*/ 174 h 415"/>
                  <a:gd name="T6" fmla="*/ 305 w 324"/>
                  <a:gd name="T7" fmla="*/ 176 h 415"/>
                  <a:gd name="T8" fmla="*/ 276 w 324"/>
                  <a:gd name="T9" fmla="*/ 338 h 415"/>
                  <a:gd name="T10" fmla="*/ 255 w 324"/>
                  <a:gd name="T11" fmla="*/ 261 h 415"/>
                  <a:gd name="T12" fmla="*/ 230 w 324"/>
                  <a:gd name="T13" fmla="*/ 302 h 415"/>
                  <a:gd name="T14" fmla="*/ 170 w 324"/>
                  <a:gd name="T15" fmla="*/ 412 h 415"/>
                  <a:gd name="T16" fmla="*/ 167 w 324"/>
                  <a:gd name="T17" fmla="*/ 415 h 415"/>
                  <a:gd name="T18" fmla="*/ 167 w 324"/>
                  <a:gd name="T19" fmla="*/ 409 h 415"/>
                  <a:gd name="T20" fmla="*/ 65 w 324"/>
                  <a:gd name="T21" fmla="*/ 228 h 415"/>
                  <a:gd name="T22" fmla="*/ 52 w 324"/>
                  <a:gd name="T23" fmla="*/ 229 h 415"/>
                  <a:gd name="T24" fmla="*/ 2 w 324"/>
                  <a:gd name="T25" fmla="*/ 256 h 415"/>
                  <a:gd name="T26" fmla="*/ 1 w 324"/>
                  <a:gd name="T27" fmla="*/ 251 h 415"/>
                  <a:gd name="T28" fmla="*/ 1 w 324"/>
                  <a:gd name="T29" fmla="*/ 249 h 415"/>
                  <a:gd name="T30" fmla="*/ 0 w 324"/>
                  <a:gd name="T31" fmla="*/ 239 h 415"/>
                  <a:gd name="T32" fmla="*/ 0 w 324"/>
                  <a:gd name="T33" fmla="*/ 236 h 415"/>
                  <a:gd name="T34" fmla="*/ 0 w 324"/>
                  <a:gd name="T35" fmla="*/ 223 h 415"/>
                  <a:gd name="T36" fmla="*/ 154 w 324"/>
                  <a:gd name="T37" fmla="*/ 0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4" h="415">
                    <a:moveTo>
                      <a:pt x="154" y="0"/>
                    </a:moveTo>
                    <a:cubicBezTo>
                      <a:pt x="225" y="0"/>
                      <a:pt x="288" y="73"/>
                      <a:pt x="304" y="172"/>
                    </a:cubicBezTo>
                    <a:cubicBezTo>
                      <a:pt x="305" y="174"/>
                      <a:pt x="305" y="174"/>
                      <a:pt x="305" y="174"/>
                    </a:cubicBezTo>
                    <a:cubicBezTo>
                      <a:pt x="305" y="176"/>
                      <a:pt x="305" y="176"/>
                      <a:pt x="305" y="176"/>
                    </a:cubicBezTo>
                    <a:cubicBezTo>
                      <a:pt x="306" y="179"/>
                      <a:pt x="324" y="248"/>
                      <a:pt x="276" y="338"/>
                    </a:cubicBezTo>
                    <a:cubicBezTo>
                      <a:pt x="276" y="335"/>
                      <a:pt x="256" y="263"/>
                      <a:pt x="255" y="261"/>
                    </a:cubicBezTo>
                    <a:cubicBezTo>
                      <a:pt x="256" y="270"/>
                      <a:pt x="235" y="292"/>
                      <a:pt x="230" y="302"/>
                    </a:cubicBezTo>
                    <a:cubicBezTo>
                      <a:pt x="209" y="338"/>
                      <a:pt x="198" y="379"/>
                      <a:pt x="170" y="412"/>
                    </a:cubicBezTo>
                    <a:cubicBezTo>
                      <a:pt x="169" y="413"/>
                      <a:pt x="168" y="414"/>
                      <a:pt x="167" y="415"/>
                    </a:cubicBezTo>
                    <a:cubicBezTo>
                      <a:pt x="167" y="413"/>
                      <a:pt x="167" y="411"/>
                      <a:pt x="167" y="409"/>
                    </a:cubicBezTo>
                    <a:cubicBezTo>
                      <a:pt x="159" y="260"/>
                      <a:pt x="107" y="228"/>
                      <a:pt x="65" y="228"/>
                    </a:cubicBezTo>
                    <a:cubicBezTo>
                      <a:pt x="61" y="228"/>
                      <a:pt x="57" y="229"/>
                      <a:pt x="52" y="229"/>
                    </a:cubicBezTo>
                    <a:cubicBezTo>
                      <a:pt x="33" y="232"/>
                      <a:pt x="15" y="242"/>
                      <a:pt x="2" y="256"/>
                    </a:cubicBezTo>
                    <a:cubicBezTo>
                      <a:pt x="2" y="254"/>
                      <a:pt x="1" y="253"/>
                      <a:pt x="1" y="251"/>
                    </a:cubicBezTo>
                    <a:cubicBezTo>
                      <a:pt x="1" y="249"/>
                      <a:pt x="1" y="249"/>
                      <a:pt x="1" y="249"/>
                    </a:cubicBezTo>
                    <a:cubicBezTo>
                      <a:pt x="1" y="246"/>
                      <a:pt x="1" y="242"/>
                      <a:pt x="0" y="239"/>
                    </a:cubicBezTo>
                    <a:cubicBezTo>
                      <a:pt x="0" y="239"/>
                      <a:pt x="0" y="236"/>
                      <a:pt x="0" y="236"/>
                    </a:cubicBezTo>
                    <a:cubicBezTo>
                      <a:pt x="0" y="231"/>
                      <a:pt x="0" y="227"/>
                      <a:pt x="0" y="223"/>
                    </a:cubicBezTo>
                    <a:cubicBezTo>
                      <a:pt x="0" y="100"/>
                      <a:pt x="69" y="0"/>
                      <a:pt x="154" y="0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3" name="isļîḓè">
                <a:extLst>
                  <a:ext uri="{FF2B5EF4-FFF2-40B4-BE49-F238E27FC236}">
                    <a16:creationId xmlns:a16="http://schemas.microsoft.com/office/drawing/2014/main" id="{1D3BB351-A516-4942-AE1D-E0836AC5D16C}"/>
                  </a:ext>
                </a:extLst>
              </p:cNvPr>
              <p:cNvSpPr/>
              <p:nvPr/>
            </p:nvSpPr>
            <p:spPr bwMode="auto">
              <a:xfrm rot="3026502">
                <a:off x="9235224" y="2292853"/>
                <a:ext cx="352687" cy="497253"/>
              </a:xfrm>
              <a:custGeom>
                <a:avLst/>
                <a:gdLst>
                  <a:gd name="T0" fmla="*/ 43 w 212"/>
                  <a:gd name="T1" fmla="*/ 142 h 300"/>
                  <a:gd name="T2" fmla="*/ 34 w 212"/>
                  <a:gd name="T3" fmla="*/ 142 h 300"/>
                  <a:gd name="T4" fmla="*/ 1 w 212"/>
                  <a:gd name="T5" fmla="*/ 159 h 300"/>
                  <a:gd name="T6" fmla="*/ 1 w 212"/>
                  <a:gd name="T7" fmla="*/ 156 h 300"/>
                  <a:gd name="T8" fmla="*/ 1 w 212"/>
                  <a:gd name="T9" fmla="*/ 155 h 300"/>
                  <a:gd name="T10" fmla="*/ 0 w 212"/>
                  <a:gd name="T11" fmla="*/ 148 h 300"/>
                  <a:gd name="T12" fmla="*/ 0 w 212"/>
                  <a:gd name="T13" fmla="*/ 146 h 300"/>
                  <a:gd name="T14" fmla="*/ 0 w 212"/>
                  <a:gd name="T15" fmla="*/ 139 h 300"/>
                  <a:gd name="T16" fmla="*/ 101 w 212"/>
                  <a:gd name="T17" fmla="*/ 0 h 300"/>
                  <a:gd name="T18" fmla="*/ 199 w 212"/>
                  <a:gd name="T19" fmla="*/ 107 h 300"/>
                  <a:gd name="T20" fmla="*/ 200 w 212"/>
                  <a:gd name="T21" fmla="*/ 108 h 300"/>
                  <a:gd name="T22" fmla="*/ 200 w 212"/>
                  <a:gd name="T23" fmla="*/ 109 h 300"/>
                  <a:gd name="T24" fmla="*/ 181 w 212"/>
                  <a:gd name="T25" fmla="*/ 210 h 300"/>
                  <a:gd name="T26" fmla="*/ 167 w 212"/>
                  <a:gd name="T27" fmla="*/ 162 h 300"/>
                  <a:gd name="T28" fmla="*/ 150 w 212"/>
                  <a:gd name="T29" fmla="*/ 187 h 300"/>
                  <a:gd name="T30" fmla="*/ 121 w 212"/>
                  <a:gd name="T31" fmla="*/ 300 h 300"/>
                  <a:gd name="T32" fmla="*/ 43 w 212"/>
                  <a:gd name="T33" fmla="*/ 142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300">
                    <a:moveTo>
                      <a:pt x="43" y="142"/>
                    </a:moveTo>
                    <a:cubicBezTo>
                      <a:pt x="40" y="142"/>
                      <a:pt x="37" y="142"/>
                      <a:pt x="34" y="142"/>
                    </a:cubicBezTo>
                    <a:cubicBezTo>
                      <a:pt x="21" y="144"/>
                      <a:pt x="10" y="150"/>
                      <a:pt x="1" y="159"/>
                    </a:cubicBezTo>
                    <a:cubicBezTo>
                      <a:pt x="1" y="158"/>
                      <a:pt x="1" y="157"/>
                      <a:pt x="1" y="156"/>
                    </a:cubicBezTo>
                    <a:cubicBezTo>
                      <a:pt x="1" y="155"/>
                      <a:pt x="1" y="155"/>
                      <a:pt x="1" y="155"/>
                    </a:cubicBezTo>
                    <a:cubicBezTo>
                      <a:pt x="0" y="152"/>
                      <a:pt x="0" y="150"/>
                      <a:pt x="0" y="148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43"/>
                      <a:pt x="0" y="141"/>
                      <a:pt x="0" y="139"/>
                    </a:cubicBezTo>
                    <a:cubicBezTo>
                      <a:pt x="0" y="62"/>
                      <a:pt x="45" y="0"/>
                      <a:pt x="101" y="0"/>
                    </a:cubicBezTo>
                    <a:cubicBezTo>
                      <a:pt x="147" y="0"/>
                      <a:pt x="189" y="45"/>
                      <a:pt x="199" y="107"/>
                    </a:cubicBezTo>
                    <a:cubicBezTo>
                      <a:pt x="200" y="108"/>
                      <a:pt x="200" y="108"/>
                      <a:pt x="200" y="108"/>
                    </a:cubicBezTo>
                    <a:cubicBezTo>
                      <a:pt x="200" y="109"/>
                      <a:pt x="200" y="109"/>
                      <a:pt x="200" y="109"/>
                    </a:cubicBezTo>
                    <a:cubicBezTo>
                      <a:pt x="201" y="111"/>
                      <a:pt x="212" y="154"/>
                      <a:pt x="181" y="210"/>
                    </a:cubicBezTo>
                    <a:cubicBezTo>
                      <a:pt x="181" y="208"/>
                      <a:pt x="167" y="164"/>
                      <a:pt x="167" y="162"/>
                    </a:cubicBezTo>
                    <a:cubicBezTo>
                      <a:pt x="168" y="168"/>
                      <a:pt x="154" y="181"/>
                      <a:pt x="150" y="187"/>
                    </a:cubicBezTo>
                    <a:cubicBezTo>
                      <a:pt x="137" y="210"/>
                      <a:pt x="126" y="275"/>
                      <a:pt x="121" y="300"/>
                    </a:cubicBezTo>
                    <a:cubicBezTo>
                      <a:pt x="121" y="300"/>
                      <a:pt x="94" y="134"/>
                      <a:pt x="43" y="14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4" name="i$liḍe">
                <a:extLst>
                  <a:ext uri="{FF2B5EF4-FFF2-40B4-BE49-F238E27FC236}">
                    <a16:creationId xmlns:a16="http://schemas.microsoft.com/office/drawing/2014/main" id="{8E863298-23EA-411C-91B9-E9DDA14D7F95}"/>
                  </a:ext>
                </a:extLst>
              </p:cNvPr>
              <p:cNvSpPr/>
              <p:nvPr/>
            </p:nvSpPr>
            <p:spPr bwMode="auto">
              <a:xfrm rot="3026502">
                <a:off x="9170631" y="1642099"/>
                <a:ext cx="518205" cy="818513"/>
              </a:xfrm>
              <a:custGeom>
                <a:avLst/>
                <a:gdLst>
                  <a:gd name="T0" fmla="*/ 156 w 313"/>
                  <a:gd name="T1" fmla="*/ 0 h 495"/>
                  <a:gd name="T2" fmla="*/ 0 w 313"/>
                  <a:gd name="T3" fmla="*/ 159 h 495"/>
                  <a:gd name="T4" fmla="*/ 0 w 313"/>
                  <a:gd name="T5" fmla="*/ 163 h 495"/>
                  <a:gd name="T6" fmla="*/ 0 w 313"/>
                  <a:gd name="T7" fmla="*/ 163 h 495"/>
                  <a:gd name="T8" fmla="*/ 101 w 313"/>
                  <a:gd name="T9" fmla="*/ 480 h 495"/>
                  <a:gd name="T10" fmla="*/ 106 w 313"/>
                  <a:gd name="T11" fmla="*/ 486 h 495"/>
                  <a:gd name="T12" fmla="*/ 106 w 313"/>
                  <a:gd name="T13" fmla="*/ 486 h 495"/>
                  <a:gd name="T14" fmla="*/ 106 w 313"/>
                  <a:gd name="T15" fmla="*/ 486 h 495"/>
                  <a:gd name="T16" fmla="*/ 128 w 313"/>
                  <a:gd name="T17" fmla="*/ 495 h 495"/>
                  <a:gd name="T18" fmla="*/ 158 w 313"/>
                  <a:gd name="T19" fmla="*/ 469 h 495"/>
                  <a:gd name="T20" fmla="*/ 156 w 313"/>
                  <a:gd name="T21" fmla="*/ 463 h 495"/>
                  <a:gd name="T22" fmla="*/ 156 w 313"/>
                  <a:gd name="T23" fmla="*/ 463 h 495"/>
                  <a:gd name="T24" fmla="*/ 148 w 313"/>
                  <a:gd name="T25" fmla="*/ 415 h 495"/>
                  <a:gd name="T26" fmla="*/ 191 w 313"/>
                  <a:gd name="T27" fmla="*/ 311 h 495"/>
                  <a:gd name="T28" fmla="*/ 191 w 313"/>
                  <a:gd name="T29" fmla="*/ 310 h 495"/>
                  <a:gd name="T30" fmla="*/ 270 w 313"/>
                  <a:gd name="T31" fmla="*/ 264 h 495"/>
                  <a:gd name="T32" fmla="*/ 313 w 313"/>
                  <a:gd name="T33" fmla="*/ 157 h 495"/>
                  <a:gd name="T34" fmla="*/ 156 w 313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3" h="495">
                    <a:moveTo>
                      <a:pt x="156" y="0"/>
                    </a:moveTo>
                    <a:cubicBezTo>
                      <a:pt x="70" y="0"/>
                      <a:pt x="0" y="72"/>
                      <a:pt x="0" y="159"/>
                    </a:cubicBezTo>
                    <a:cubicBezTo>
                      <a:pt x="0" y="159"/>
                      <a:pt x="0" y="163"/>
                      <a:pt x="0" y="163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83"/>
                      <a:pt x="38" y="389"/>
                      <a:pt x="101" y="480"/>
                    </a:cubicBezTo>
                    <a:cubicBezTo>
                      <a:pt x="102" y="482"/>
                      <a:pt x="104" y="484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11" y="491"/>
                      <a:pt x="119" y="495"/>
                      <a:pt x="128" y="495"/>
                    </a:cubicBezTo>
                    <a:cubicBezTo>
                      <a:pt x="145" y="495"/>
                      <a:pt x="158" y="486"/>
                      <a:pt x="158" y="469"/>
                    </a:cubicBezTo>
                    <a:cubicBezTo>
                      <a:pt x="158" y="465"/>
                      <a:pt x="158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52" y="443"/>
                      <a:pt x="145" y="431"/>
                      <a:pt x="148" y="415"/>
                    </a:cubicBezTo>
                    <a:cubicBezTo>
                      <a:pt x="155" y="374"/>
                      <a:pt x="164" y="339"/>
                      <a:pt x="191" y="311"/>
                    </a:cubicBezTo>
                    <a:cubicBezTo>
                      <a:pt x="191" y="311"/>
                      <a:pt x="191" y="310"/>
                      <a:pt x="191" y="310"/>
                    </a:cubicBezTo>
                    <a:cubicBezTo>
                      <a:pt x="212" y="288"/>
                      <a:pt x="239" y="271"/>
                      <a:pt x="270" y="264"/>
                    </a:cubicBezTo>
                    <a:cubicBezTo>
                      <a:pt x="297" y="236"/>
                      <a:pt x="313" y="198"/>
                      <a:pt x="313" y="157"/>
                    </a:cubicBezTo>
                    <a:cubicBezTo>
                      <a:pt x="313" y="70"/>
                      <a:pt x="243" y="0"/>
                      <a:pt x="15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5" name="íśļíde">
                <a:extLst>
                  <a:ext uri="{FF2B5EF4-FFF2-40B4-BE49-F238E27FC236}">
                    <a16:creationId xmlns:a16="http://schemas.microsoft.com/office/drawing/2014/main" id="{2BFDC790-A9DE-4645-A194-E769BA9FDB86}"/>
                  </a:ext>
                </a:extLst>
              </p:cNvPr>
              <p:cNvSpPr/>
              <p:nvPr/>
            </p:nvSpPr>
            <p:spPr bwMode="auto">
              <a:xfrm rot="3026502">
                <a:off x="9170631" y="1642099"/>
                <a:ext cx="518205" cy="818513"/>
              </a:xfrm>
              <a:custGeom>
                <a:avLst/>
                <a:gdLst>
                  <a:gd name="T0" fmla="*/ 156 w 313"/>
                  <a:gd name="T1" fmla="*/ 0 h 495"/>
                  <a:gd name="T2" fmla="*/ 0 w 313"/>
                  <a:gd name="T3" fmla="*/ 159 h 495"/>
                  <a:gd name="T4" fmla="*/ 0 w 313"/>
                  <a:gd name="T5" fmla="*/ 163 h 495"/>
                  <a:gd name="T6" fmla="*/ 0 w 313"/>
                  <a:gd name="T7" fmla="*/ 163 h 495"/>
                  <a:gd name="T8" fmla="*/ 101 w 313"/>
                  <a:gd name="T9" fmla="*/ 480 h 495"/>
                  <a:gd name="T10" fmla="*/ 106 w 313"/>
                  <a:gd name="T11" fmla="*/ 486 h 495"/>
                  <a:gd name="T12" fmla="*/ 106 w 313"/>
                  <a:gd name="T13" fmla="*/ 486 h 495"/>
                  <a:gd name="T14" fmla="*/ 106 w 313"/>
                  <a:gd name="T15" fmla="*/ 486 h 495"/>
                  <a:gd name="T16" fmla="*/ 128 w 313"/>
                  <a:gd name="T17" fmla="*/ 495 h 495"/>
                  <a:gd name="T18" fmla="*/ 158 w 313"/>
                  <a:gd name="T19" fmla="*/ 469 h 495"/>
                  <a:gd name="T20" fmla="*/ 156 w 313"/>
                  <a:gd name="T21" fmla="*/ 463 h 495"/>
                  <a:gd name="T22" fmla="*/ 156 w 313"/>
                  <a:gd name="T23" fmla="*/ 463 h 495"/>
                  <a:gd name="T24" fmla="*/ 148 w 313"/>
                  <a:gd name="T25" fmla="*/ 415 h 495"/>
                  <a:gd name="T26" fmla="*/ 191 w 313"/>
                  <a:gd name="T27" fmla="*/ 311 h 495"/>
                  <a:gd name="T28" fmla="*/ 191 w 313"/>
                  <a:gd name="T29" fmla="*/ 310 h 495"/>
                  <a:gd name="T30" fmla="*/ 270 w 313"/>
                  <a:gd name="T31" fmla="*/ 264 h 495"/>
                  <a:gd name="T32" fmla="*/ 313 w 313"/>
                  <a:gd name="T33" fmla="*/ 157 h 495"/>
                  <a:gd name="T34" fmla="*/ 156 w 313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3" h="495">
                    <a:moveTo>
                      <a:pt x="156" y="0"/>
                    </a:moveTo>
                    <a:cubicBezTo>
                      <a:pt x="70" y="0"/>
                      <a:pt x="0" y="72"/>
                      <a:pt x="0" y="159"/>
                    </a:cubicBezTo>
                    <a:cubicBezTo>
                      <a:pt x="0" y="159"/>
                      <a:pt x="0" y="163"/>
                      <a:pt x="0" y="163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83"/>
                      <a:pt x="38" y="389"/>
                      <a:pt x="101" y="480"/>
                    </a:cubicBezTo>
                    <a:cubicBezTo>
                      <a:pt x="102" y="482"/>
                      <a:pt x="104" y="484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11" y="491"/>
                      <a:pt x="119" y="495"/>
                      <a:pt x="128" y="495"/>
                    </a:cubicBezTo>
                    <a:cubicBezTo>
                      <a:pt x="145" y="495"/>
                      <a:pt x="158" y="486"/>
                      <a:pt x="158" y="469"/>
                    </a:cubicBezTo>
                    <a:cubicBezTo>
                      <a:pt x="158" y="465"/>
                      <a:pt x="158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52" y="443"/>
                      <a:pt x="145" y="431"/>
                      <a:pt x="148" y="415"/>
                    </a:cubicBezTo>
                    <a:cubicBezTo>
                      <a:pt x="155" y="374"/>
                      <a:pt x="164" y="339"/>
                      <a:pt x="191" y="311"/>
                    </a:cubicBezTo>
                    <a:cubicBezTo>
                      <a:pt x="191" y="311"/>
                      <a:pt x="191" y="310"/>
                      <a:pt x="191" y="310"/>
                    </a:cubicBezTo>
                    <a:cubicBezTo>
                      <a:pt x="212" y="288"/>
                      <a:pt x="239" y="271"/>
                      <a:pt x="270" y="264"/>
                    </a:cubicBezTo>
                    <a:cubicBezTo>
                      <a:pt x="297" y="236"/>
                      <a:pt x="313" y="198"/>
                      <a:pt x="313" y="157"/>
                    </a:cubicBezTo>
                    <a:cubicBezTo>
                      <a:pt x="313" y="70"/>
                      <a:pt x="243" y="0"/>
                      <a:pt x="15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6" name="i$ľiďè">
                <a:extLst>
                  <a:ext uri="{FF2B5EF4-FFF2-40B4-BE49-F238E27FC236}">
                    <a16:creationId xmlns:a16="http://schemas.microsoft.com/office/drawing/2014/main" id="{570EE5D0-BE92-4F39-8833-B9C14342E0D8}"/>
                  </a:ext>
                </a:extLst>
              </p:cNvPr>
              <p:cNvSpPr/>
              <p:nvPr/>
            </p:nvSpPr>
            <p:spPr bwMode="auto">
              <a:xfrm rot="3026502">
                <a:off x="9170631" y="1642099"/>
                <a:ext cx="518205" cy="818513"/>
              </a:xfrm>
              <a:custGeom>
                <a:avLst/>
                <a:gdLst>
                  <a:gd name="T0" fmla="*/ 156 w 313"/>
                  <a:gd name="T1" fmla="*/ 0 h 495"/>
                  <a:gd name="T2" fmla="*/ 0 w 313"/>
                  <a:gd name="T3" fmla="*/ 159 h 495"/>
                  <a:gd name="T4" fmla="*/ 0 w 313"/>
                  <a:gd name="T5" fmla="*/ 163 h 495"/>
                  <a:gd name="T6" fmla="*/ 0 w 313"/>
                  <a:gd name="T7" fmla="*/ 163 h 495"/>
                  <a:gd name="T8" fmla="*/ 101 w 313"/>
                  <a:gd name="T9" fmla="*/ 480 h 495"/>
                  <a:gd name="T10" fmla="*/ 106 w 313"/>
                  <a:gd name="T11" fmla="*/ 486 h 495"/>
                  <a:gd name="T12" fmla="*/ 106 w 313"/>
                  <a:gd name="T13" fmla="*/ 486 h 495"/>
                  <a:gd name="T14" fmla="*/ 106 w 313"/>
                  <a:gd name="T15" fmla="*/ 486 h 495"/>
                  <a:gd name="T16" fmla="*/ 128 w 313"/>
                  <a:gd name="T17" fmla="*/ 495 h 495"/>
                  <a:gd name="T18" fmla="*/ 158 w 313"/>
                  <a:gd name="T19" fmla="*/ 469 h 495"/>
                  <a:gd name="T20" fmla="*/ 156 w 313"/>
                  <a:gd name="T21" fmla="*/ 463 h 495"/>
                  <a:gd name="T22" fmla="*/ 156 w 313"/>
                  <a:gd name="T23" fmla="*/ 463 h 495"/>
                  <a:gd name="T24" fmla="*/ 148 w 313"/>
                  <a:gd name="T25" fmla="*/ 415 h 495"/>
                  <a:gd name="T26" fmla="*/ 191 w 313"/>
                  <a:gd name="T27" fmla="*/ 311 h 495"/>
                  <a:gd name="T28" fmla="*/ 191 w 313"/>
                  <a:gd name="T29" fmla="*/ 310 h 495"/>
                  <a:gd name="T30" fmla="*/ 270 w 313"/>
                  <a:gd name="T31" fmla="*/ 264 h 495"/>
                  <a:gd name="T32" fmla="*/ 313 w 313"/>
                  <a:gd name="T33" fmla="*/ 157 h 495"/>
                  <a:gd name="T34" fmla="*/ 156 w 313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3" h="495">
                    <a:moveTo>
                      <a:pt x="156" y="0"/>
                    </a:moveTo>
                    <a:cubicBezTo>
                      <a:pt x="70" y="0"/>
                      <a:pt x="0" y="72"/>
                      <a:pt x="0" y="159"/>
                    </a:cubicBezTo>
                    <a:cubicBezTo>
                      <a:pt x="0" y="159"/>
                      <a:pt x="0" y="163"/>
                      <a:pt x="0" y="163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83"/>
                      <a:pt x="38" y="389"/>
                      <a:pt x="101" y="480"/>
                    </a:cubicBezTo>
                    <a:cubicBezTo>
                      <a:pt x="102" y="482"/>
                      <a:pt x="104" y="484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11" y="491"/>
                      <a:pt x="119" y="495"/>
                      <a:pt x="128" y="495"/>
                    </a:cubicBezTo>
                    <a:cubicBezTo>
                      <a:pt x="145" y="495"/>
                      <a:pt x="158" y="486"/>
                      <a:pt x="158" y="469"/>
                    </a:cubicBezTo>
                    <a:cubicBezTo>
                      <a:pt x="158" y="465"/>
                      <a:pt x="158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52" y="443"/>
                      <a:pt x="145" y="431"/>
                      <a:pt x="148" y="415"/>
                    </a:cubicBezTo>
                    <a:cubicBezTo>
                      <a:pt x="155" y="374"/>
                      <a:pt x="164" y="339"/>
                      <a:pt x="191" y="311"/>
                    </a:cubicBezTo>
                    <a:cubicBezTo>
                      <a:pt x="191" y="311"/>
                      <a:pt x="191" y="310"/>
                      <a:pt x="191" y="310"/>
                    </a:cubicBezTo>
                    <a:cubicBezTo>
                      <a:pt x="212" y="288"/>
                      <a:pt x="239" y="271"/>
                      <a:pt x="270" y="264"/>
                    </a:cubicBezTo>
                    <a:cubicBezTo>
                      <a:pt x="297" y="236"/>
                      <a:pt x="313" y="198"/>
                      <a:pt x="313" y="157"/>
                    </a:cubicBezTo>
                    <a:cubicBezTo>
                      <a:pt x="313" y="70"/>
                      <a:pt x="243" y="0"/>
                      <a:pt x="156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7" name="íṣlíḓè">
                <a:extLst>
                  <a:ext uri="{FF2B5EF4-FFF2-40B4-BE49-F238E27FC236}">
                    <a16:creationId xmlns:a16="http://schemas.microsoft.com/office/drawing/2014/main" id="{414FC226-ED7C-4BA8-8CDB-C2E785EB9C51}"/>
                  </a:ext>
                </a:extLst>
              </p:cNvPr>
              <p:cNvSpPr/>
              <p:nvPr/>
            </p:nvSpPr>
            <p:spPr bwMode="auto">
              <a:xfrm rot="3026502">
                <a:off x="9633009" y="2201002"/>
                <a:ext cx="516808" cy="818513"/>
              </a:xfrm>
              <a:custGeom>
                <a:avLst/>
                <a:gdLst>
                  <a:gd name="T0" fmla="*/ 156 w 312"/>
                  <a:gd name="T1" fmla="*/ 0 h 495"/>
                  <a:gd name="T2" fmla="*/ 312 w 312"/>
                  <a:gd name="T3" fmla="*/ 159 h 495"/>
                  <a:gd name="T4" fmla="*/ 312 w 312"/>
                  <a:gd name="T5" fmla="*/ 163 h 495"/>
                  <a:gd name="T6" fmla="*/ 312 w 312"/>
                  <a:gd name="T7" fmla="*/ 163 h 495"/>
                  <a:gd name="T8" fmla="*/ 212 w 312"/>
                  <a:gd name="T9" fmla="*/ 480 h 495"/>
                  <a:gd name="T10" fmla="*/ 207 w 312"/>
                  <a:gd name="T11" fmla="*/ 486 h 495"/>
                  <a:gd name="T12" fmla="*/ 207 w 312"/>
                  <a:gd name="T13" fmla="*/ 486 h 495"/>
                  <a:gd name="T14" fmla="*/ 207 w 312"/>
                  <a:gd name="T15" fmla="*/ 486 h 495"/>
                  <a:gd name="T16" fmla="*/ 184 w 312"/>
                  <a:gd name="T17" fmla="*/ 495 h 495"/>
                  <a:gd name="T18" fmla="*/ 154 w 312"/>
                  <a:gd name="T19" fmla="*/ 469 h 495"/>
                  <a:gd name="T20" fmla="*/ 156 w 312"/>
                  <a:gd name="T21" fmla="*/ 463 h 495"/>
                  <a:gd name="T22" fmla="*/ 156 w 312"/>
                  <a:gd name="T23" fmla="*/ 463 h 495"/>
                  <a:gd name="T24" fmla="*/ 165 w 312"/>
                  <a:gd name="T25" fmla="*/ 415 h 495"/>
                  <a:gd name="T26" fmla="*/ 122 w 312"/>
                  <a:gd name="T27" fmla="*/ 311 h 495"/>
                  <a:gd name="T28" fmla="*/ 122 w 312"/>
                  <a:gd name="T29" fmla="*/ 310 h 495"/>
                  <a:gd name="T30" fmla="*/ 42 w 312"/>
                  <a:gd name="T31" fmla="*/ 264 h 495"/>
                  <a:gd name="T32" fmla="*/ 0 w 312"/>
                  <a:gd name="T33" fmla="*/ 157 h 495"/>
                  <a:gd name="T34" fmla="*/ 156 w 312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2" h="495">
                    <a:moveTo>
                      <a:pt x="156" y="0"/>
                    </a:moveTo>
                    <a:cubicBezTo>
                      <a:pt x="242" y="0"/>
                      <a:pt x="312" y="72"/>
                      <a:pt x="312" y="159"/>
                    </a:cubicBezTo>
                    <a:cubicBezTo>
                      <a:pt x="312" y="159"/>
                      <a:pt x="312" y="163"/>
                      <a:pt x="312" y="163"/>
                    </a:cubicBezTo>
                    <a:cubicBezTo>
                      <a:pt x="312" y="163"/>
                      <a:pt x="312" y="163"/>
                      <a:pt x="312" y="163"/>
                    </a:cubicBezTo>
                    <a:cubicBezTo>
                      <a:pt x="312" y="283"/>
                      <a:pt x="275" y="389"/>
                      <a:pt x="212" y="480"/>
                    </a:cubicBezTo>
                    <a:cubicBezTo>
                      <a:pt x="210" y="482"/>
                      <a:pt x="209" y="484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1" y="491"/>
                      <a:pt x="193" y="495"/>
                      <a:pt x="184" y="495"/>
                    </a:cubicBezTo>
                    <a:cubicBezTo>
                      <a:pt x="168" y="495"/>
                      <a:pt x="154" y="486"/>
                      <a:pt x="154" y="469"/>
                    </a:cubicBezTo>
                    <a:cubicBezTo>
                      <a:pt x="154" y="465"/>
                      <a:pt x="155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60" y="443"/>
                      <a:pt x="167" y="431"/>
                      <a:pt x="165" y="415"/>
                    </a:cubicBezTo>
                    <a:cubicBezTo>
                      <a:pt x="158" y="374"/>
                      <a:pt x="148" y="339"/>
                      <a:pt x="122" y="311"/>
                    </a:cubicBezTo>
                    <a:cubicBezTo>
                      <a:pt x="122" y="311"/>
                      <a:pt x="122" y="310"/>
                      <a:pt x="122" y="310"/>
                    </a:cubicBezTo>
                    <a:cubicBezTo>
                      <a:pt x="101" y="288"/>
                      <a:pt x="73" y="271"/>
                      <a:pt x="42" y="264"/>
                    </a:cubicBezTo>
                    <a:cubicBezTo>
                      <a:pt x="16" y="236"/>
                      <a:pt x="0" y="198"/>
                      <a:pt x="0" y="157"/>
                    </a:cubicBezTo>
                    <a:cubicBezTo>
                      <a:pt x="0" y="70"/>
                      <a:pt x="70" y="0"/>
                      <a:pt x="15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8" name="íśliḑe">
                <a:extLst>
                  <a:ext uri="{FF2B5EF4-FFF2-40B4-BE49-F238E27FC236}">
                    <a16:creationId xmlns:a16="http://schemas.microsoft.com/office/drawing/2014/main" id="{42FDE4B6-FA44-4778-8956-DC926E53ACBC}"/>
                  </a:ext>
                </a:extLst>
              </p:cNvPr>
              <p:cNvSpPr/>
              <p:nvPr/>
            </p:nvSpPr>
            <p:spPr bwMode="auto">
              <a:xfrm rot="3026502">
                <a:off x="9633009" y="2201002"/>
                <a:ext cx="516808" cy="818513"/>
              </a:xfrm>
              <a:custGeom>
                <a:avLst/>
                <a:gdLst>
                  <a:gd name="T0" fmla="*/ 156 w 312"/>
                  <a:gd name="T1" fmla="*/ 0 h 495"/>
                  <a:gd name="T2" fmla="*/ 312 w 312"/>
                  <a:gd name="T3" fmla="*/ 159 h 495"/>
                  <a:gd name="T4" fmla="*/ 312 w 312"/>
                  <a:gd name="T5" fmla="*/ 163 h 495"/>
                  <a:gd name="T6" fmla="*/ 312 w 312"/>
                  <a:gd name="T7" fmla="*/ 163 h 495"/>
                  <a:gd name="T8" fmla="*/ 212 w 312"/>
                  <a:gd name="T9" fmla="*/ 480 h 495"/>
                  <a:gd name="T10" fmla="*/ 207 w 312"/>
                  <a:gd name="T11" fmla="*/ 486 h 495"/>
                  <a:gd name="T12" fmla="*/ 207 w 312"/>
                  <a:gd name="T13" fmla="*/ 486 h 495"/>
                  <a:gd name="T14" fmla="*/ 207 w 312"/>
                  <a:gd name="T15" fmla="*/ 486 h 495"/>
                  <a:gd name="T16" fmla="*/ 184 w 312"/>
                  <a:gd name="T17" fmla="*/ 495 h 495"/>
                  <a:gd name="T18" fmla="*/ 154 w 312"/>
                  <a:gd name="T19" fmla="*/ 469 h 495"/>
                  <a:gd name="T20" fmla="*/ 156 w 312"/>
                  <a:gd name="T21" fmla="*/ 463 h 495"/>
                  <a:gd name="T22" fmla="*/ 156 w 312"/>
                  <a:gd name="T23" fmla="*/ 463 h 495"/>
                  <a:gd name="T24" fmla="*/ 165 w 312"/>
                  <a:gd name="T25" fmla="*/ 415 h 495"/>
                  <a:gd name="T26" fmla="*/ 122 w 312"/>
                  <a:gd name="T27" fmla="*/ 311 h 495"/>
                  <a:gd name="T28" fmla="*/ 122 w 312"/>
                  <a:gd name="T29" fmla="*/ 310 h 495"/>
                  <a:gd name="T30" fmla="*/ 42 w 312"/>
                  <a:gd name="T31" fmla="*/ 264 h 495"/>
                  <a:gd name="T32" fmla="*/ 0 w 312"/>
                  <a:gd name="T33" fmla="*/ 157 h 495"/>
                  <a:gd name="T34" fmla="*/ 156 w 312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2" h="495">
                    <a:moveTo>
                      <a:pt x="156" y="0"/>
                    </a:moveTo>
                    <a:cubicBezTo>
                      <a:pt x="242" y="0"/>
                      <a:pt x="312" y="72"/>
                      <a:pt x="312" y="159"/>
                    </a:cubicBezTo>
                    <a:cubicBezTo>
                      <a:pt x="312" y="159"/>
                      <a:pt x="312" y="163"/>
                      <a:pt x="312" y="163"/>
                    </a:cubicBezTo>
                    <a:cubicBezTo>
                      <a:pt x="312" y="163"/>
                      <a:pt x="312" y="163"/>
                      <a:pt x="312" y="163"/>
                    </a:cubicBezTo>
                    <a:cubicBezTo>
                      <a:pt x="312" y="283"/>
                      <a:pt x="275" y="389"/>
                      <a:pt x="212" y="480"/>
                    </a:cubicBezTo>
                    <a:cubicBezTo>
                      <a:pt x="210" y="482"/>
                      <a:pt x="209" y="484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1" y="491"/>
                      <a:pt x="193" y="495"/>
                      <a:pt x="184" y="495"/>
                    </a:cubicBezTo>
                    <a:cubicBezTo>
                      <a:pt x="168" y="495"/>
                      <a:pt x="154" y="486"/>
                      <a:pt x="154" y="469"/>
                    </a:cubicBezTo>
                    <a:cubicBezTo>
                      <a:pt x="154" y="465"/>
                      <a:pt x="155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60" y="443"/>
                      <a:pt x="167" y="431"/>
                      <a:pt x="165" y="415"/>
                    </a:cubicBezTo>
                    <a:cubicBezTo>
                      <a:pt x="158" y="374"/>
                      <a:pt x="148" y="339"/>
                      <a:pt x="122" y="311"/>
                    </a:cubicBezTo>
                    <a:cubicBezTo>
                      <a:pt x="122" y="311"/>
                      <a:pt x="122" y="310"/>
                      <a:pt x="122" y="310"/>
                    </a:cubicBezTo>
                    <a:cubicBezTo>
                      <a:pt x="101" y="288"/>
                      <a:pt x="73" y="271"/>
                      <a:pt x="42" y="264"/>
                    </a:cubicBezTo>
                    <a:cubicBezTo>
                      <a:pt x="16" y="236"/>
                      <a:pt x="0" y="198"/>
                      <a:pt x="0" y="157"/>
                    </a:cubicBezTo>
                    <a:cubicBezTo>
                      <a:pt x="0" y="70"/>
                      <a:pt x="70" y="0"/>
                      <a:pt x="156" y="0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9" name="îŝḻîḑè">
                <a:extLst>
                  <a:ext uri="{FF2B5EF4-FFF2-40B4-BE49-F238E27FC236}">
                    <a16:creationId xmlns:a16="http://schemas.microsoft.com/office/drawing/2014/main" id="{BD2D3D68-9963-4422-8E38-D930B22C03AF}"/>
                  </a:ext>
                </a:extLst>
              </p:cNvPr>
              <p:cNvSpPr/>
              <p:nvPr/>
            </p:nvSpPr>
            <p:spPr bwMode="auto">
              <a:xfrm rot="3026502">
                <a:off x="9633009" y="2201002"/>
                <a:ext cx="516808" cy="818513"/>
              </a:xfrm>
              <a:custGeom>
                <a:avLst/>
                <a:gdLst>
                  <a:gd name="T0" fmla="*/ 156 w 312"/>
                  <a:gd name="T1" fmla="*/ 0 h 495"/>
                  <a:gd name="T2" fmla="*/ 312 w 312"/>
                  <a:gd name="T3" fmla="*/ 159 h 495"/>
                  <a:gd name="T4" fmla="*/ 312 w 312"/>
                  <a:gd name="T5" fmla="*/ 163 h 495"/>
                  <a:gd name="T6" fmla="*/ 312 w 312"/>
                  <a:gd name="T7" fmla="*/ 163 h 495"/>
                  <a:gd name="T8" fmla="*/ 212 w 312"/>
                  <a:gd name="T9" fmla="*/ 480 h 495"/>
                  <a:gd name="T10" fmla="*/ 207 w 312"/>
                  <a:gd name="T11" fmla="*/ 486 h 495"/>
                  <a:gd name="T12" fmla="*/ 207 w 312"/>
                  <a:gd name="T13" fmla="*/ 486 h 495"/>
                  <a:gd name="T14" fmla="*/ 207 w 312"/>
                  <a:gd name="T15" fmla="*/ 486 h 495"/>
                  <a:gd name="T16" fmla="*/ 184 w 312"/>
                  <a:gd name="T17" fmla="*/ 495 h 495"/>
                  <a:gd name="T18" fmla="*/ 154 w 312"/>
                  <a:gd name="T19" fmla="*/ 469 h 495"/>
                  <a:gd name="T20" fmla="*/ 156 w 312"/>
                  <a:gd name="T21" fmla="*/ 463 h 495"/>
                  <a:gd name="T22" fmla="*/ 156 w 312"/>
                  <a:gd name="T23" fmla="*/ 463 h 495"/>
                  <a:gd name="T24" fmla="*/ 165 w 312"/>
                  <a:gd name="T25" fmla="*/ 415 h 495"/>
                  <a:gd name="T26" fmla="*/ 122 w 312"/>
                  <a:gd name="T27" fmla="*/ 311 h 495"/>
                  <a:gd name="T28" fmla="*/ 122 w 312"/>
                  <a:gd name="T29" fmla="*/ 310 h 495"/>
                  <a:gd name="T30" fmla="*/ 42 w 312"/>
                  <a:gd name="T31" fmla="*/ 264 h 495"/>
                  <a:gd name="T32" fmla="*/ 0 w 312"/>
                  <a:gd name="T33" fmla="*/ 157 h 495"/>
                  <a:gd name="T34" fmla="*/ 156 w 312"/>
                  <a:gd name="T3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2" h="495">
                    <a:moveTo>
                      <a:pt x="156" y="0"/>
                    </a:moveTo>
                    <a:cubicBezTo>
                      <a:pt x="242" y="0"/>
                      <a:pt x="312" y="72"/>
                      <a:pt x="312" y="159"/>
                    </a:cubicBezTo>
                    <a:cubicBezTo>
                      <a:pt x="312" y="159"/>
                      <a:pt x="312" y="163"/>
                      <a:pt x="312" y="163"/>
                    </a:cubicBezTo>
                    <a:cubicBezTo>
                      <a:pt x="312" y="163"/>
                      <a:pt x="312" y="163"/>
                      <a:pt x="312" y="163"/>
                    </a:cubicBezTo>
                    <a:cubicBezTo>
                      <a:pt x="312" y="283"/>
                      <a:pt x="275" y="389"/>
                      <a:pt x="212" y="480"/>
                    </a:cubicBezTo>
                    <a:cubicBezTo>
                      <a:pt x="210" y="482"/>
                      <a:pt x="209" y="484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7" y="486"/>
                      <a:pt x="207" y="486"/>
                      <a:pt x="207" y="486"/>
                    </a:cubicBezTo>
                    <a:cubicBezTo>
                      <a:pt x="201" y="491"/>
                      <a:pt x="193" y="495"/>
                      <a:pt x="184" y="495"/>
                    </a:cubicBezTo>
                    <a:cubicBezTo>
                      <a:pt x="168" y="495"/>
                      <a:pt x="154" y="486"/>
                      <a:pt x="154" y="469"/>
                    </a:cubicBezTo>
                    <a:cubicBezTo>
                      <a:pt x="154" y="465"/>
                      <a:pt x="155" y="463"/>
                      <a:pt x="156" y="463"/>
                    </a:cubicBezTo>
                    <a:cubicBezTo>
                      <a:pt x="156" y="463"/>
                      <a:pt x="156" y="463"/>
                      <a:pt x="156" y="463"/>
                    </a:cubicBezTo>
                    <a:cubicBezTo>
                      <a:pt x="160" y="443"/>
                      <a:pt x="167" y="431"/>
                      <a:pt x="165" y="415"/>
                    </a:cubicBezTo>
                    <a:cubicBezTo>
                      <a:pt x="158" y="374"/>
                      <a:pt x="148" y="339"/>
                      <a:pt x="122" y="311"/>
                    </a:cubicBezTo>
                    <a:cubicBezTo>
                      <a:pt x="122" y="311"/>
                      <a:pt x="122" y="310"/>
                      <a:pt x="122" y="310"/>
                    </a:cubicBezTo>
                    <a:cubicBezTo>
                      <a:pt x="101" y="288"/>
                      <a:pt x="73" y="271"/>
                      <a:pt x="42" y="264"/>
                    </a:cubicBezTo>
                    <a:cubicBezTo>
                      <a:pt x="16" y="236"/>
                      <a:pt x="0" y="198"/>
                      <a:pt x="0" y="157"/>
                    </a:cubicBezTo>
                    <a:cubicBezTo>
                      <a:pt x="0" y="70"/>
                      <a:pt x="70" y="0"/>
                      <a:pt x="156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0" name="ïšļiďé">
                <a:extLst>
                  <a:ext uri="{FF2B5EF4-FFF2-40B4-BE49-F238E27FC236}">
                    <a16:creationId xmlns:a16="http://schemas.microsoft.com/office/drawing/2014/main" id="{4305C044-757D-49E5-B003-9C1FF3C0651E}"/>
                  </a:ext>
                </a:extLst>
              </p:cNvPr>
              <p:cNvSpPr/>
              <p:nvPr/>
            </p:nvSpPr>
            <p:spPr bwMode="auto">
              <a:xfrm rot="3026502">
                <a:off x="9778248" y="935396"/>
                <a:ext cx="987523" cy="1806036"/>
              </a:xfrm>
              <a:custGeom>
                <a:avLst/>
                <a:gdLst>
                  <a:gd name="T0" fmla="*/ 298 w 596"/>
                  <a:gd name="T1" fmla="*/ 1092 h 1092"/>
                  <a:gd name="T2" fmla="*/ 159 w 596"/>
                  <a:gd name="T3" fmla="*/ 1092 h 1092"/>
                  <a:gd name="T4" fmla="*/ 21 w 596"/>
                  <a:gd name="T5" fmla="*/ 513 h 1092"/>
                  <a:gd name="T6" fmla="*/ 298 w 596"/>
                  <a:gd name="T7" fmla="*/ 0 h 1092"/>
                  <a:gd name="T8" fmla="*/ 299 w 596"/>
                  <a:gd name="T9" fmla="*/ 0 h 1092"/>
                  <a:gd name="T10" fmla="*/ 575 w 596"/>
                  <a:gd name="T11" fmla="*/ 513 h 1092"/>
                  <a:gd name="T12" fmla="*/ 437 w 596"/>
                  <a:gd name="T13" fmla="*/ 1092 h 1092"/>
                  <a:gd name="T14" fmla="*/ 298 w 596"/>
                  <a:gd name="T15" fmla="*/ 1092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6" h="1092">
                    <a:moveTo>
                      <a:pt x="298" y="1092"/>
                    </a:moveTo>
                    <a:cubicBezTo>
                      <a:pt x="159" y="1092"/>
                      <a:pt x="159" y="1092"/>
                      <a:pt x="159" y="1092"/>
                    </a:cubicBezTo>
                    <a:cubicBezTo>
                      <a:pt x="31" y="824"/>
                      <a:pt x="21" y="513"/>
                      <a:pt x="21" y="513"/>
                    </a:cubicBezTo>
                    <a:cubicBezTo>
                      <a:pt x="0" y="212"/>
                      <a:pt x="298" y="0"/>
                      <a:pt x="298" y="0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9" y="0"/>
                      <a:pt x="596" y="212"/>
                      <a:pt x="575" y="513"/>
                    </a:cubicBezTo>
                    <a:cubicBezTo>
                      <a:pt x="575" y="513"/>
                      <a:pt x="566" y="824"/>
                      <a:pt x="437" y="1092"/>
                    </a:cubicBezTo>
                    <a:lnTo>
                      <a:pt x="298" y="109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1" name="ïšļïḍè">
                <a:extLst>
                  <a:ext uri="{FF2B5EF4-FFF2-40B4-BE49-F238E27FC236}">
                    <a16:creationId xmlns:a16="http://schemas.microsoft.com/office/drawing/2014/main" id="{4246393C-F1F7-4F82-8205-A1641F0C24D9}"/>
                  </a:ext>
                </a:extLst>
              </p:cNvPr>
              <p:cNvSpPr/>
              <p:nvPr/>
            </p:nvSpPr>
            <p:spPr bwMode="auto">
              <a:xfrm rot="3026502">
                <a:off x="9614946" y="1879379"/>
                <a:ext cx="874384" cy="284943"/>
              </a:xfrm>
              <a:custGeom>
                <a:avLst/>
                <a:gdLst>
                  <a:gd name="T0" fmla="*/ 508 w 528"/>
                  <a:gd name="T1" fmla="*/ 124 h 172"/>
                  <a:gd name="T2" fmla="*/ 528 w 528"/>
                  <a:gd name="T3" fmla="*/ 0 h 172"/>
                  <a:gd name="T4" fmla="*/ 248 w 528"/>
                  <a:gd name="T5" fmla="*/ 66 h 172"/>
                  <a:gd name="T6" fmla="*/ 0 w 528"/>
                  <a:gd name="T7" fmla="*/ 15 h 172"/>
                  <a:gd name="T8" fmla="*/ 21 w 528"/>
                  <a:gd name="T9" fmla="*/ 136 h 172"/>
                  <a:gd name="T10" fmla="*/ 248 w 528"/>
                  <a:gd name="T11" fmla="*/ 172 h 172"/>
                  <a:gd name="T12" fmla="*/ 508 w 528"/>
                  <a:gd name="T13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8" h="172">
                    <a:moveTo>
                      <a:pt x="508" y="124"/>
                    </a:moveTo>
                    <a:cubicBezTo>
                      <a:pt x="517" y="79"/>
                      <a:pt x="524" y="36"/>
                      <a:pt x="528" y="0"/>
                    </a:cubicBezTo>
                    <a:cubicBezTo>
                      <a:pt x="444" y="42"/>
                      <a:pt x="349" y="66"/>
                      <a:pt x="248" y="66"/>
                    </a:cubicBezTo>
                    <a:cubicBezTo>
                      <a:pt x="160" y="66"/>
                      <a:pt x="76" y="48"/>
                      <a:pt x="0" y="15"/>
                    </a:cubicBezTo>
                    <a:cubicBezTo>
                      <a:pt x="5" y="51"/>
                      <a:pt x="12" y="92"/>
                      <a:pt x="21" y="136"/>
                    </a:cubicBezTo>
                    <a:cubicBezTo>
                      <a:pt x="92" y="159"/>
                      <a:pt x="169" y="172"/>
                      <a:pt x="248" y="172"/>
                    </a:cubicBezTo>
                    <a:cubicBezTo>
                      <a:pt x="340" y="172"/>
                      <a:pt x="427" y="155"/>
                      <a:pt x="508" y="124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2" name="îş1iḋe">
                <a:extLst>
                  <a:ext uri="{FF2B5EF4-FFF2-40B4-BE49-F238E27FC236}">
                    <a16:creationId xmlns:a16="http://schemas.microsoft.com/office/drawing/2014/main" id="{E4EBDF18-9C8D-417D-8ABB-90EB0B0DEA0A}"/>
                  </a:ext>
                </a:extLst>
              </p:cNvPr>
              <p:cNvSpPr/>
              <p:nvPr/>
            </p:nvSpPr>
            <p:spPr bwMode="auto">
              <a:xfrm rot="3026502">
                <a:off x="9890569" y="1654797"/>
                <a:ext cx="923969" cy="233262"/>
              </a:xfrm>
              <a:custGeom>
                <a:avLst/>
                <a:gdLst>
                  <a:gd name="T0" fmla="*/ 557 w 558"/>
                  <a:gd name="T1" fmla="*/ 80 h 141"/>
                  <a:gd name="T2" fmla="*/ 552 w 558"/>
                  <a:gd name="T3" fmla="*/ 0 h 141"/>
                  <a:gd name="T4" fmla="*/ 278 w 558"/>
                  <a:gd name="T5" fmla="*/ 62 h 141"/>
                  <a:gd name="T6" fmla="*/ 6 w 558"/>
                  <a:gd name="T7" fmla="*/ 1 h 141"/>
                  <a:gd name="T8" fmla="*/ 2 w 558"/>
                  <a:gd name="T9" fmla="*/ 92 h 141"/>
                  <a:gd name="T10" fmla="*/ 264 w 558"/>
                  <a:gd name="T11" fmla="*/ 141 h 141"/>
                  <a:gd name="T12" fmla="*/ 557 w 558"/>
                  <a:gd name="T13" fmla="*/ 8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8" h="141">
                    <a:moveTo>
                      <a:pt x="557" y="80"/>
                    </a:moveTo>
                    <a:cubicBezTo>
                      <a:pt x="558" y="53"/>
                      <a:pt x="556" y="26"/>
                      <a:pt x="552" y="0"/>
                    </a:cubicBezTo>
                    <a:cubicBezTo>
                      <a:pt x="469" y="40"/>
                      <a:pt x="376" y="62"/>
                      <a:pt x="278" y="62"/>
                    </a:cubicBezTo>
                    <a:cubicBezTo>
                      <a:pt x="181" y="62"/>
                      <a:pt x="88" y="40"/>
                      <a:pt x="6" y="1"/>
                    </a:cubicBezTo>
                    <a:cubicBezTo>
                      <a:pt x="2" y="31"/>
                      <a:pt x="0" y="61"/>
                      <a:pt x="2" y="92"/>
                    </a:cubicBezTo>
                    <a:cubicBezTo>
                      <a:pt x="84" y="123"/>
                      <a:pt x="172" y="141"/>
                      <a:pt x="264" y="141"/>
                    </a:cubicBezTo>
                    <a:cubicBezTo>
                      <a:pt x="368" y="141"/>
                      <a:pt x="467" y="119"/>
                      <a:pt x="557" y="8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3" name="iŝľïḓe">
                <a:extLst>
                  <a:ext uri="{FF2B5EF4-FFF2-40B4-BE49-F238E27FC236}">
                    <a16:creationId xmlns:a16="http://schemas.microsoft.com/office/drawing/2014/main" id="{0A2055B7-1BEF-4183-A919-84A29F12CF9A}"/>
                  </a:ext>
                </a:extLst>
              </p:cNvPr>
              <p:cNvSpPr/>
              <p:nvPr/>
            </p:nvSpPr>
            <p:spPr bwMode="auto">
              <a:xfrm rot="3026502">
                <a:off x="10256406" y="1746377"/>
                <a:ext cx="112441" cy="112441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4" name="ïśḷíḓè">
                <a:extLst>
                  <a:ext uri="{FF2B5EF4-FFF2-40B4-BE49-F238E27FC236}">
                    <a16:creationId xmlns:a16="http://schemas.microsoft.com/office/drawing/2014/main" id="{6AE901B4-68CF-43DB-8AD1-CDB4B3336A9F}"/>
                  </a:ext>
                </a:extLst>
              </p:cNvPr>
              <p:cNvSpPr/>
              <p:nvPr/>
            </p:nvSpPr>
            <p:spPr bwMode="auto">
              <a:xfrm rot="3026502">
                <a:off x="10256406" y="1746377"/>
                <a:ext cx="112441" cy="112441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5" name="iṩļïḍe">
                <a:extLst>
                  <a:ext uri="{FF2B5EF4-FFF2-40B4-BE49-F238E27FC236}">
                    <a16:creationId xmlns:a16="http://schemas.microsoft.com/office/drawing/2014/main" id="{120AA632-C0E3-44F7-AED0-A62CD4A867A9}"/>
                  </a:ext>
                </a:extLst>
              </p:cNvPr>
              <p:cNvSpPr/>
              <p:nvPr/>
            </p:nvSpPr>
            <p:spPr bwMode="auto">
              <a:xfrm rot="3026502">
                <a:off x="10256406" y="1746377"/>
                <a:ext cx="112441" cy="112441"/>
              </a:xfrm>
              <a:prstGeom prst="ellipse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6" name="ïṩḷíḑê">
                <a:extLst>
                  <a:ext uri="{FF2B5EF4-FFF2-40B4-BE49-F238E27FC236}">
                    <a16:creationId xmlns:a16="http://schemas.microsoft.com/office/drawing/2014/main" id="{0EF22693-940D-4DCC-AF2E-D4F6CF228529}"/>
                  </a:ext>
                </a:extLst>
              </p:cNvPr>
              <p:cNvSpPr/>
              <p:nvPr/>
            </p:nvSpPr>
            <p:spPr bwMode="auto">
              <a:xfrm rot="3026502">
                <a:off x="10130411" y="1865197"/>
                <a:ext cx="91489" cy="89394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7" name="îṥḻïḍé">
                <a:extLst>
                  <a:ext uri="{FF2B5EF4-FFF2-40B4-BE49-F238E27FC236}">
                    <a16:creationId xmlns:a16="http://schemas.microsoft.com/office/drawing/2014/main" id="{7FCB34A3-21B3-4D0F-AD68-C0C54CCD9947}"/>
                  </a:ext>
                </a:extLst>
              </p:cNvPr>
              <p:cNvSpPr/>
              <p:nvPr/>
            </p:nvSpPr>
            <p:spPr bwMode="auto">
              <a:xfrm rot="3026502">
                <a:off x="10130411" y="1865197"/>
                <a:ext cx="91489" cy="89394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8" name="ïṣľïḑê">
                <a:extLst>
                  <a:ext uri="{FF2B5EF4-FFF2-40B4-BE49-F238E27FC236}">
                    <a16:creationId xmlns:a16="http://schemas.microsoft.com/office/drawing/2014/main" id="{2FB5E30D-54F9-4238-8850-3C84EB781469}"/>
                  </a:ext>
                </a:extLst>
              </p:cNvPr>
              <p:cNvSpPr/>
              <p:nvPr/>
            </p:nvSpPr>
            <p:spPr bwMode="auto">
              <a:xfrm rot="3026502">
                <a:off x="10130411" y="1865197"/>
                <a:ext cx="91489" cy="89394"/>
              </a:xfrm>
              <a:prstGeom prst="ellipse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49" name="ïṧ1ídé">
                <a:extLst>
                  <a:ext uri="{FF2B5EF4-FFF2-40B4-BE49-F238E27FC236}">
                    <a16:creationId xmlns:a16="http://schemas.microsoft.com/office/drawing/2014/main" id="{03042713-B9B0-41C5-A35A-688DE611B64F}"/>
                  </a:ext>
                </a:extLst>
              </p:cNvPr>
              <p:cNvSpPr/>
              <p:nvPr/>
            </p:nvSpPr>
            <p:spPr bwMode="auto">
              <a:xfrm rot="3026502">
                <a:off x="10010877" y="1963938"/>
                <a:ext cx="91489" cy="89394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50" name="iṥ1iḑê">
                <a:extLst>
                  <a:ext uri="{FF2B5EF4-FFF2-40B4-BE49-F238E27FC236}">
                    <a16:creationId xmlns:a16="http://schemas.microsoft.com/office/drawing/2014/main" id="{306A15E1-0D9F-49FF-B14D-7D05D716BAAE}"/>
                  </a:ext>
                </a:extLst>
              </p:cNvPr>
              <p:cNvSpPr/>
              <p:nvPr/>
            </p:nvSpPr>
            <p:spPr bwMode="auto">
              <a:xfrm rot="3026502">
                <a:off x="10010877" y="1963938"/>
                <a:ext cx="91489" cy="89394"/>
              </a:xfrm>
              <a:prstGeom prst="ellipse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51" name="îṣļiḋê">
                <a:extLst>
                  <a:ext uri="{FF2B5EF4-FFF2-40B4-BE49-F238E27FC236}">
                    <a16:creationId xmlns:a16="http://schemas.microsoft.com/office/drawing/2014/main" id="{83785432-34A2-45BD-996B-86A35E533B69}"/>
                  </a:ext>
                </a:extLst>
              </p:cNvPr>
              <p:cNvSpPr/>
              <p:nvPr/>
            </p:nvSpPr>
            <p:spPr bwMode="auto">
              <a:xfrm rot="3026502">
                <a:off x="10010877" y="1963938"/>
                <a:ext cx="91489" cy="89394"/>
              </a:xfrm>
              <a:prstGeom prst="ellipse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52" name="íŝlîḋe">
                <a:extLst>
                  <a:ext uri="{FF2B5EF4-FFF2-40B4-BE49-F238E27FC236}">
                    <a16:creationId xmlns:a16="http://schemas.microsoft.com/office/drawing/2014/main" id="{D75A51BA-665B-46B0-BF6D-322CED9C44A1}"/>
                  </a:ext>
                </a:extLst>
              </p:cNvPr>
              <p:cNvSpPr/>
              <p:nvPr/>
            </p:nvSpPr>
            <p:spPr bwMode="auto">
              <a:xfrm rot="3026502">
                <a:off x="9600549" y="1927489"/>
                <a:ext cx="129202" cy="819909"/>
              </a:xfrm>
              <a:custGeom>
                <a:avLst/>
                <a:gdLst>
                  <a:gd name="T0" fmla="*/ 77 w 78"/>
                  <a:gd name="T1" fmla="*/ 48 h 496"/>
                  <a:gd name="T2" fmla="*/ 78 w 78"/>
                  <a:gd name="T3" fmla="*/ 39 h 496"/>
                  <a:gd name="T4" fmla="*/ 39 w 78"/>
                  <a:gd name="T5" fmla="*/ 0 h 496"/>
                  <a:gd name="T6" fmla="*/ 0 w 78"/>
                  <a:gd name="T7" fmla="*/ 40 h 496"/>
                  <a:gd name="T8" fmla="*/ 18 w 78"/>
                  <a:gd name="T9" fmla="*/ 475 h 496"/>
                  <a:gd name="T10" fmla="*/ 19 w 78"/>
                  <a:gd name="T11" fmla="*/ 475 h 496"/>
                  <a:gd name="T12" fmla="*/ 19 w 78"/>
                  <a:gd name="T13" fmla="*/ 475 h 496"/>
                  <a:gd name="T14" fmla="*/ 40 w 78"/>
                  <a:gd name="T15" fmla="*/ 496 h 496"/>
                  <a:gd name="T16" fmla="*/ 61 w 78"/>
                  <a:gd name="T17" fmla="*/ 475 h 496"/>
                  <a:gd name="T18" fmla="*/ 61 w 78"/>
                  <a:gd name="T19" fmla="*/ 475 h 496"/>
                  <a:gd name="T20" fmla="*/ 61 w 78"/>
                  <a:gd name="T21" fmla="*/ 475 h 496"/>
                  <a:gd name="T22" fmla="*/ 77 w 78"/>
                  <a:gd name="T23" fmla="*/ 48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496">
                    <a:moveTo>
                      <a:pt x="77" y="48"/>
                    </a:moveTo>
                    <a:cubicBezTo>
                      <a:pt x="77" y="45"/>
                      <a:pt x="78" y="42"/>
                      <a:pt x="78" y="39"/>
                    </a:cubicBezTo>
                    <a:cubicBezTo>
                      <a:pt x="78" y="18"/>
                      <a:pt x="60" y="0"/>
                      <a:pt x="39" y="0"/>
                    </a:cubicBezTo>
                    <a:cubicBezTo>
                      <a:pt x="17" y="0"/>
                      <a:pt x="0" y="18"/>
                      <a:pt x="0" y="40"/>
                    </a:cubicBezTo>
                    <a:cubicBezTo>
                      <a:pt x="18" y="475"/>
                      <a:pt x="18" y="475"/>
                      <a:pt x="18" y="475"/>
                    </a:cubicBezTo>
                    <a:cubicBezTo>
                      <a:pt x="19" y="475"/>
                      <a:pt x="19" y="475"/>
                      <a:pt x="19" y="475"/>
                    </a:cubicBezTo>
                    <a:cubicBezTo>
                      <a:pt x="19" y="475"/>
                      <a:pt x="19" y="475"/>
                      <a:pt x="19" y="475"/>
                    </a:cubicBezTo>
                    <a:cubicBezTo>
                      <a:pt x="19" y="487"/>
                      <a:pt x="29" y="496"/>
                      <a:pt x="40" y="496"/>
                    </a:cubicBezTo>
                    <a:cubicBezTo>
                      <a:pt x="52" y="496"/>
                      <a:pt x="61" y="487"/>
                      <a:pt x="61" y="475"/>
                    </a:cubicBezTo>
                    <a:cubicBezTo>
                      <a:pt x="61" y="475"/>
                      <a:pt x="61" y="475"/>
                      <a:pt x="61" y="475"/>
                    </a:cubicBezTo>
                    <a:cubicBezTo>
                      <a:pt x="61" y="475"/>
                      <a:pt x="61" y="475"/>
                      <a:pt x="61" y="475"/>
                    </a:cubicBezTo>
                    <a:lnTo>
                      <a:pt x="77" y="4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3" name="isḻiḍe">
                <a:extLst>
                  <a:ext uri="{FF2B5EF4-FFF2-40B4-BE49-F238E27FC236}">
                    <a16:creationId xmlns:a16="http://schemas.microsoft.com/office/drawing/2014/main" id="{A6F3710B-0531-45C2-9011-FDE7E52F1277}"/>
                  </a:ext>
                </a:extLst>
              </p:cNvPr>
              <p:cNvSpPr/>
              <p:nvPr/>
            </p:nvSpPr>
            <p:spPr bwMode="auto">
              <a:xfrm rot="3026502">
                <a:off x="10421845" y="1424744"/>
                <a:ext cx="323354" cy="32265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  <a:extLst>
                <a:ext uri="{91240B29-F687-4f45-9708-019B960494DF}">
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16" name="iṡḻîďé">
              <a:extLst>
                <a:ext uri="{FF2B5EF4-FFF2-40B4-BE49-F238E27FC236}">
                  <a16:creationId xmlns:a16="http://schemas.microsoft.com/office/drawing/2014/main" id="{4F6B91DC-100F-4D16-A444-2C23AF25AB6E}"/>
                </a:ext>
              </a:extLst>
            </p:cNvPr>
            <p:cNvGrpSpPr/>
            <p:nvPr/>
          </p:nvGrpSpPr>
          <p:grpSpPr>
            <a:xfrm>
              <a:off x="1107937" y="2497056"/>
              <a:ext cx="2108063" cy="1075793"/>
              <a:chOff x="1107937" y="2799003"/>
              <a:chExt cx="2108063" cy="1075793"/>
            </a:xfrm>
          </p:grpSpPr>
          <p:sp>
            <p:nvSpPr>
              <p:cNvPr id="26" name="iṩľiḍê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107937" y="3186601"/>
                <a:ext cx="2108063" cy="6881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7" name="îṣḻïdê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107937" y="2799003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7" name="işľîḋê">
              <a:extLst>
                <a:ext uri="{FF2B5EF4-FFF2-40B4-BE49-F238E27FC236}">
                  <a16:creationId xmlns:a16="http://schemas.microsoft.com/office/drawing/2014/main" id="{C4B7765A-25A9-40A9-B5B2-D39035104517}"/>
                </a:ext>
              </a:extLst>
            </p:cNvPr>
            <p:cNvGrpSpPr/>
            <p:nvPr/>
          </p:nvGrpSpPr>
          <p:grpSpPr>
            <a:xfrm>
              <a:off x="3081000" y="5004877"/>
              <a:ext cx="2108063" cy="1075793"/>
              <a:chOff x="3081000" y="5306824"/>
              <a:chExt cx="2108063" cy="1075793"/>
            </a:xfrm>
          </p:grpSpPr>
          <p:sp>
            <p:nvSpPr>
              <p:cNvPr id="24" name="îṡļïḋê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3081000" y="5694422"/>
                <a:ext cx="2108063" cy="6881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5" name="îş1idè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3081000" y="5306824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8" name="iSḷïďé">
              <a:extLst>
                <a:ext uri="{FF2B5EF4-FFF2-40B4-BE49-F238E27FC236}">
                  <a16:creationId xmlns:a16="http://schemas.microsoft.com/office/drawing/2014/main" id="{453C5E96-C4F2-49C7-B5D7-C940F1CEA711}"/>
                </a:ext>
              </a:extLst>
            </p:cNvPr>
            <p:cNvGrpSpPr/>
            <p:nvPr/>
          </p:nvGrpSpPr>
          <p:grpSpPr>
            <a:xfrm>
              <a:off x="6914342" y="4202600"/>
              <a:ext cx="2108063" cy="1075793"/>
              <a:chOff x="6914342" y="4504547"/>
              <a:chExt cx="2108063" cy="1075793"/>
            </a:xfrm>
          </p:grpSpPr>
          <p:sp>
            <p:nvSpPr>
              <p:cNvPr id="22" name="íśliďé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6914342" y="4892145"/>
                <a:ext cx="2108063" cy="6881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3" name="í$1iďè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6914342" y="4504547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9" name="îṩ1idé">
              <a:extLst>
                <a:ext uri="{FF2B5EF4-FFF2-40B4-BE49-F238E27FC236}">
                  <a16:creationId xmlns:a16="http://schemas.microsoft.com/office/drawing/2014/main" id="{E2255FEE-20C1-4035-A1F5-0624AC61833C}"/>
                </a:ext>
              </a:extLst>
            </p:cNvPr>
            <p:cNvGrpSpPr/>
            <p:nvPr/>
          </p:nvGrpSpPr>
          <p:grpSpPr>
            <a:xfrm>
              <a:off x="5022937" y="1777053"/>
              <a:ext cx="2108063" cy="1075793"/>
              <a:chOff x="5022937" y="2079000"/>
              <a:chExt cx="2108063" cy="1075793"/>
            </a:xfrm>
          </p:grpSpPr>
          <p:sp>
            <p:nvSpPr>
              <p:cNvPr id="20" name="islíḍé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5022937" y="2466598"/>
                <a:ext cx="2108063" cy="6881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1" name="ïṥļîďe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5022937" y="2079000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4862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ḻ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ľiḑê">
            <a:extLst>
              <a:ext uri="{FF2B5EF4-FFF2-40B4-BE49-F238E27FC236}">
                <a16:creationId xmlns:a16="http://schemas.microsoft.com/office/drawing/2014/main" id="{F7851915-BB2B-4255-95F8-CE0387389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ŝḻîḑé">
            <a:extLst>
              <a:ext uri="{FF2B5EF4-FFF2-40B4-BE49-F238E27FC236}">
                <a16:creationId xmlns:a16="http://schemas.microsoft.com/office/drawing/2014/main" id="{B61A8A3B-9444-4ECB-A3B0-7A5760CD7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şḻiďê">
            <a:extLst>
              <a:ext uri="{FF2B5EF4-FFF2-40B4-BE49-F238E27FC236}">
                <a16:creationId xmlns:a16="http://schemas.microsoft.com/office/drawing/2014/main" id="{74C8FE9F-745D-4763-809C-E6D7DB42C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191" name="íşḻî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D5C881-636D-442C-98A9-AA058B8F6C5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62246"/>
            <a:ext cx="10850563" cy="4778217"/>
            <a:chOff x="669925" y="1130300"/>
            <a:chExt cx="10850563" cy="4778217"/>
          </a:xfrm>
        </p:grpSpPr>
        <p:sp>
          <p:nvSpPr>
            <p:cNvPr id="192" name="iŝlïďê">
              <a:extLst>
                <a:ext uri="{FF2B5EF4-FFF2-40B4-BE49-F238E27FC236}">
                  <a16:creationId xmlns:a16="http://schemas.microsoft.com/office/drawing/2014/main" id="{84950791-11F7-423C-BB61-6A9130DB665B}"/>
                </a:ext>
              </a:extLst>
            </p:cNvPr>
            <p:cNvSpPr/>
            <p:nvPr/>
          </p:nvSpPr>
          <p:spPr bwMode="auto">
            <a:xfrm>
              <a:off x="3621088" y="2063750"/>
              <a:ext cx="4949825" cy="2730500"/>
            </a:xfrm>
            <a:custGeom>
              <a:avLst/>
              <a:gdLst>
                <a:gd name="T0" fmla="*/ 1146 w 1317"/>
                <a:gd name="T1" fmla="*/ 19 h 725"/>
                <a:gd name="T2" fmla="*/ 975 w 1317"/>
                <a:gd name="T3" fmla="*/ 191 h 725"/>
                <a:gd name="T4" fmla="*/ 989 w 1317"/>
                <a:gd name="T5" fmla="*/ 259 h 725"/>
                <a:gd name="T6" fmla="*/ 912 w 1317"/>
                <a:gd name="T7" fmla="*/ 362 h 725"/>
                <a:gd name="T8" fmla="*/ 912 w 1317"/>
                <a:gd name="T9" fmla="*/ 362 h 725"/>
                <a:gd name="T10" fmla="*/ 884 w 1317"/>
                <a:gd name="T11" fmla="*/ 359 h 725"/>
                <a:gd name="T12" fmla="*/ 868 w 1317"/>
                <a:gd name="T13" fmla="*/ 360 h 725"/>
                <a:gd name="T14" fmla="*/ 868 w 1317"/>
                <a:gd name="T15" fmla="*/ 360 h 725"/>
                <a:gd name="T16" fmla="*/ 799 w 1317"/>
                <a:gd name="T17" fmla="*/ 249 h 725"/>
                <a:gd name="T18" fmla="*/ 819 w 1317"/>
                <a:gd name="T19" fmla="*/ 168 h 725"/>
                <a:gd name="T20" fmla="*/ 651 w 1317"/>
                <a:gd name="T21" fmla="*/ 0 h 725"/>
                <a:gd name="T22" fmla="*/ 483 w 1317"/>
                <a:gd name="T23" fmla="*/ 168 h 725"/>
                <a:gd name="T24" fmla="*/ 505 w 1317"/>
                <a:gd name="T25" fmla="*/ 250 h 725"/>
                <a:gd name="T26" fmla="*/ 505 w 1317"/>
                <a:gd name="T27" fmla="*/ 250 h 725"/>
                <a:gd name="T28" fmla="*/ 440 w 1317"/>
                <a:gd name="T29" fmla="*/ 339 h 725"/>
                <a:gd name="T30" fmla="*/ 441 w 1317"/>
                <a:gd name="T31" fmla="*/ 339 h 725"/>
                <a:gd name="T32" fmla="*/ 417 w 1317"/>
                <a:gd name="T33" fmla="*/ 337 h 725"/>
                <a:gd name="T34" fmla="*/ 356 w 1317"/>
                <a:gd name="T35" fmla="*/ 347 h 725"/>
                <a:gd name="T36" fmla="*/ 356 w 1317"/>
                <a:gd name="T37" fmla="*/ 347 h 725"/>
                <a:gd name="T38" fmla="*/ 285 w 1317"/>
                <a:gd name="T39" fmla="*/ 289 h 725"/>
                <a:gd name="T40" fmla="*/ 291 w 1317"/>
                <a:gd name="T41" fmla="*/ 245 h 725"/>
                <a:gd name="T42" fmla="*/ 146 w 1317"/>
                <a:gd name="T43" fmla="*/ 100 h 725"/>
                <a:gd name="T44" fmla="*/ 0 w 1317"/>
                <a:gd name="T45" fmla="*/ 245 h 725"/>
                <a:gd name="T46" fmla="*/ 146 w 1317"/>
                <a:gd name="T47" fmla="*/ 391 h 725"/>
                <a:gd name="T48" fmla="*/ 183 w 1317"/>
                <a:gd name="T49" fmla="*/ 386 h 725"/>
                <a:gd name="T50" fmla="*/ 237 w 1317"/>
                <a:gd name="T51" fmla="*/ 460 h 725"/>
                <a:gd name="T52" fmla="*/ 237 w 1317"/>
                <a:gd name="T53" fmla="*/ 460 h 725"/>
                <a:gd name="T54" fmla="*/ 223 w 1317"/>
                <a:gd name="T55" fmla="*/ 531 h 725"/>
                <a:gd name="T56" fmla="*/ 417 w 1317"/>
                <a:gd name="T57" fmla="*/ 725 h 725"/>
                <a:gd name="T58" fmla="*/ 611 w 1317"/>
                <a:gd name="T59" fmla="*/ 531 h 725"/>
                <a:gd name="T60" fmla="*/ 583 w 1317"/>
                <a:gd name="T61" fmla="*/ 430 h 725"/>
                <a:gd name="T62" fmla="*/ 637 w 1317"/>
                <a:gd name="T63" fmla="*/ 336 h 725"/>
                <a:gd name="T64" fmla="*/ 637 w 1317"/>
                <a:gd name="T65" fmla="*/ 336 h 725"/>
                <a:gd name="T66" fmla="*/ 651 w 1317"/>
                <a:gd name="T67" fmla="*/ 336 h 725"/>
                <a:gd name="T68" fmla="*/ 684 w 1317"/>
                <a:gd name="T69" fmla="*/ 333 h 725"/>
                <a:gd name="T70" fmla="*/ 770 w 1317"/>
                <a:gd name="T71" fmla="*/ 432 h 725"/>
                <a:gd name="T72" fmla="*/ 770 w 1317"/>
                <a:gd name="T73" fmla="*/ 432 h 725"/>
                <a:gd name="T74" fmla="*/ 758 w 1317"/>
                <a:gd name="T75" fmla="*/ 485 h 725"/>
                <a:gd name="T76" fmla="*/ 884 w 1317"/>
                <a:gd name="T77" fmla="*/ 611 h 725"/>
                <a:gd name="T78" fmla="*/ 1010 w 1317"/>
                <a:gd name="T79" fmla="*/ 485 h 725"/>
                <a:gd name="T80" fmla="*/ 1003 w 1317"/>
                <a:gd name="T81" fmla="*/ 443 h 725"/>
                <a:gd name="T82" fmla="*/ 1096 w 1317"/>
                <a:gd name="T83" fmla="*/ 355 h 725"/>
                <a:gd name="T84" fmla="*/ 1146 w 1317"/>
                <a:gd name="T85" fmla="*/ 362 h 725"/>
                <a:gd name="T86" fmla="*/ 1317 w 1317"/>
                <a:gd name="T87" fmla="*/ 191 h 725"/>
                <a:gd name="T88" fmla="*/ 1146 w 1317"/>
                <a:gd name="T89" fmla="*/ 19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7" h="725">
                  <a:moveTo>
                    <a:pt x="1146" y="19"/>
                  </a:moveTo>
                  <a:cubicBezTo>
                    <a:pt x="1051" y="19"/>
                    <a:pt x="975" y="96"/>
                    <a:pt x="975" y="191"/>
                  </a:cubicBezTo>
                  <a:cubicBezTo>
                    <a:pt x="975" y="215"/>
                    <a:pt x="980" y="238"/>
                    <a:pt x="989" y="259"/>
                  </a:cubicBezTo>
                  <a:cubicBezTo>
                    <a:pt x="1018" y="327"/>
                    <a:pt x="965" y="374"/>
                    <a:pt x="912" y="362"/>
                  </a:cubicBezTo>
                  <a:cubicBezTo>
                    <a:pt x="912" y="362"/>
                    <a:pt x="912" y="362"/>
                    <a:pt x="912" y="362"/>
                  </a:cubicBezTo>
                  <a:cubicBezTo>
                    <a:pt x="903" y="360"/>
                    <a:pt x="894" y="359"/>
                    <a:pt x="884" y="359"/>
                  </a:cubicBezTo>
                  <a:cubicBezTo>
                    <a:pt x="879" y="359"/>
                    <a:pt x="873" y="359"/>
                    <a:pt x="868" y="360"/>
                  </a:cubicBezTo>
                  <a:cubicBezTo>
                    <a:pt x="868" y="360"/>
                    <a:pt x="868" y="360"/>
                    <a:pt x="868" y="360"/>
                  </a:cubicBezTo>
                  <a:cubicBezTo>
                    <a:pt x="812" y="367"/>
                    <a:pt x="764" y="314"/>
                    <a:pt x="799" y="249"/>
                  </a:cubicBezTo>
                  <a:cubicBezTo>
                    <a:pt x="812" y="225"/>
                    <a:pt x="819" y="197"/>
                    <a:pt x="819" y="168"/>
                  </a:cubicBezTo>
                  <a:cubicBezTo>
                    <a:pt x="819" y="75"/>
                    <a:pt x="744" y="0"/>
                    <a:pt x="651" y="0"/>
                  </a:cubicBezTo>
                  <a:cubicBezTo>
                    <a:pt x="558" y="0"/>
                    <a:pt x="483" y="75"/>
                    <a:pt x="483" y="168"/>
                  </a:cubicBezTo>
                  <a:cubicBezTo>
                    <a:pt x="483" y="198"/>
                    <a:pt x="491" y="226"/>
                    <a:pt x="505" y="250"/>
                  </a:cubicBezTo>
                  <a:cubicBezTo>
                    <a:pt x="505" y="250"/>
                    <a:pt x="505" y="250"/>
                    <a:pt x="505" y="250"/>
                  </a:cubicBezTo>
                  <a:cubicBezTo>
                    <a:pt x="529" y="294"/>
                    <a:pt x="499" y="346"/>
                    <a:pt x="440" y="339"/>
                  </a:cubicBezTo>
                  <a:cubicBezTo>
                    <a:pt x="441" y="339"/>
                    <a:pt x="441" y="339"/>
                    <a:pt x="441" y="339"/>
                  </a:cubicBezTo>
                  <a:cubicBezTo>
                    <a:pt x="433" y="338"/>
                    <a:pt x="425" y="337"/>
                    <a:pt x="417" y="337"/>
                  </a:cubicBezTo>
                  <a:cubicBezTo>
                    <a:pt x="396" y="337"/>
                    <a:pt x="375" y="341"/>
                    <a:pt x="356" y="347"/>
                  </a:cubicBezTo>
                  <a:cubicBezTo>
                    <a:pt x="356" y="347"/>
                    <a:pt x="356" y="347"/>
                    <a:pt x="356" y="347"/>
                  </a:cubicBezTo>
                  <a:cubicBezTo>
                    <a:pt x="306" y="364"/>
                    <a:pt x="273" y="327"/>
                    <a:pt x="285" y="289"/>
                  </a:cubicBezTo>
                  <a:cubicBezTo>
                    <a:pt x="289" y="275"/>
                    <a:pt x="291" y="261"/>
                    <a:pt x="291" y="245"/>
                  </a:cubicBezTo>
                  <a:cubicBezTo>
                    <a:pt x="291" y="165"/>
                    <a:pt x="226" y="100"/>
                    <a:pt x="146" y="100"/>
                  </a:cubicBezTo>
                  <a:cubicBezTo>
                    <a:pt x="66" y="100"/>
                    <a:pt x="0" y="165"/>
                    <a:pt x="0" y="245"/>
                  </a:cubicBezTo>
                  <a:cubicBezTo>
                    <a:pt x="0" y="326"/>
                    <a:pt x="66" y="391"/>
                    <a:pt x="146" y="391"/>
                  </a:cubicBezTo>
                  <a:cubicBezTo>
                    <a:pt x="159" y="391"/>
                    <a:pt x="171" y="389"/>
                    <a:pt x="183" y="386"/>
                  </a:cubicBezTo>
                  <a:cubicBezTo>
                    <a:pt x="221" y="377"/>
                    <a:pt x="256" y="411"/>
                    <a:pt x="237" y="460"/>
                  </a:cubicBezTo>
                  <a:cubicBezTo>
                    <a:pt x="237" y="460"/>
                    <a:pt x="237" y="460"/>
                    <a:pt x="237" y="460"/>
                  </a:cubicBezTo>
                  <a:cubicBezTo>
                    <a:pt x="228" y="482"/>
                    <a:pt x="223" y="506"/>
                    <a:pt x="223" y="531"/>
                  </a:cubicBezTo>
                  <a:cubicBezTo>
                    <a:pt x="223" y="638"/>
                    <a:pt x="310" y="725"/>
                    <a:pt x="417" y="725"/>
                  </a:cubicBezTo>
                  <a:cubicBezTo>
                    <a:pt x="525" y="725"/>
                    <a:pt x="611" y="638"/>
                    <a:pt x="611" y="531"/>
                  </a:cubicBezTo>
                  <a:cubicBezTo>
                    <a:pt x="611" y="494"/>
                    <a:pt x="601" y="460"/>
                    <a:pt x="583" y="430"/>
                  </a:cubicBezTo>
                  <a:cubicBezTo>
                    <a:pt x="553" y="380"/>
                    <a:pt x="587" y="331"/>
                    <a:pt x="637" y="336"/>
                  </a:cubicBezTo>
                  <a:cubicBezTo>
                    <a:pt x="637" y="336"/>
                    <a:pt x="637" y="336"/>
                    <a:pt x="637" y="336"/>
                  </a:cubicBezTo>
                  <a:cubicBezTo>
                    <a:pt x="642" y="336"/>
                    <a:pt x="647" y="336"/>
                    <a:pt x="651" y="336"/>
                  </a:cubicBezTo>
                  <a:cubicBezTo>
                    <a:pt x="663" y="336"/>
                    <a:pt x="673" y="335"/>
                    <a:pt x="684" y="333"/>
                  </a:cubicBezTo>
                  <a:cubicBezTo>
                    <a:pt x="757" y="319"/>
                    <a:pt x="793" y="381"/>
                    <a:pt x="770" y="432"/>
                  </a:cubicBezTo>
                  <a:cubicBezTo>
                    <a:pt x="770" y="432"/>
                    <a:pt x="770" y="432"/>
                    <a:pt x="770" y="432"/>
                  </a:cubicBezTo>
                  <a:cubicBezTo>
                    <a:pt x="762" y="448"/>
                    <a:pt x="758" y="466"/>
                    <a:pt x="758" y="485"/>
                  </a:cubicBezTo>
                  <a:cubicBezTo>
                    <a:pt x="758" y="555"/>
                    <a:pt x="815" y="611"/>
                    <a:pt x="884" y="611"/>
                  </a:cubicBezTo>
                  <a:cubicBezTo>
                    <a:pt x="954" y="611"/>
                    <a:pt x="1010" y="555"/>
                    <a:pt x="1010" y="485"/>
                  </a:cubicBezTo>
                  <a:cubicBezTo>
                    <a:pt x="1010" y="470"/>
                    <a:pt x="1008" y="456"/>
                    <a:pt x="1003" y="443"/>
                  </a:cubicBezTo>
                  <a:cubicBezTo>
                    <a:pt x="985" y="392"/>
                    <a:pt x="1026" y="334"/>
                    <a:pt x="1096" y="355"/>
                  </a:cubicBezTo>
                  <a:cubicBezTo>
                    <a:pt x="1112" y="360"/>
                    <a:pt x="1129" y="362"/>
                    <a:pt x="1146" y="362"/>
                  </a:cubicBezTo>
                  <a:cubicBezTo>
                    <a:pt x="1241" y="362"/>
                    <a:pt x="1317" y="285"/>
                    <a:pt x="1317" y="191"/>
                  </a:cubicBezTo>
                  <a:cubicBezTo>
                    <a:pt x="1317" y="96"/>
                    <a:pt x="1241" y="19"/>
                    <a:pt x="1146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3" name="íŝlïḍé">
              <a:extLst>
                <a:ext uri="{FF2B5EF4-FFF2-40B4-BE49-F238E27FC236}">
                  <a16:creationId xmlns:a16="http://schemas.microsoft.com/office/drawing/2014/main" id="{4216A3E4-CF11-4AD5-AA03-5D632C5069A6}"/>
                </a:ext>
              </a:extLst>
            </p:cNvPr>
            <p:cNvSpPr/>
            <p:nvPr/>
          </p:nvSpPr>
          <p:spPr bwMode="auto">
            <a:xfrm>
              <a:off x="3684588" y="2500313"/>
              <a:ext cx="969963" cy="97472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4" name="işļíḑé">
              <a:extLst>
                <a:ext uri="{FF2B5EF4-FFF2-40B4-BE49-F238E27FC236}">
                  <a16:creationId xmlns:a16="http://schemas.microsoft.com/office/drawing/2014/main" id="{AED5F7E8-CA0F-4C69-8A69-0D0E41999269}"/>
                </a:ext>
              </a:extLst>
            </p:cNvPr>
            <p:cNvSpPr/>
            <p:nvPr/>
          </p:nvSpPr>
          <p:spPr bwMode="auto">
            <a:xfrm>
              <a:off x="4522788" y="3397250"/>
              <a:ext cx="1333500" cy="13366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5" name="î$ḻïḍê">
              <a:extLst>
                <a:ext uri="{FF2B5EF4-FFF2-40B4-BE49-F238E27FC236}">
                  <a16:creationId xmlns:a16="http://schemas.microsoft.com/office/drawing/2014/main" id="{1BFC899F-F399-4517-8E17-27F5D21F0BE2}"/>
                </a:ext>
              </a:extLst>
            </p:cNvPr>
            <p:cNvSpPr/>
            <p:nvPr/>
          </p:nvSpPr>
          <p:spPr bwMode="auto">
            <a:xfrm>
              <a:off x="5495926" y="2124075"/>
              <a:ext cx="1143000" cy="114458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6" name="işliḍe">
              <a:extLst>
                <a:ext uri="{FF2B5EF4-FFF2-40B4-BE49-F238E27FC236}">
                  <a16:creationId xmlns:a16="http://schemas.microsoft.com/office/drawing/2014/main" id="{290263CA-1A06-48BA-A25E-EADEA56E78B4}"/>
                </a:ext>
              </a:extLst>
            </p:cNvPr>
            <p:cNvSpPr/>
            <p:nvPr/>
          </p:nvSpPr>
          <p:spPr bwMode="auto">
            <a:xfrm>
              <a:off x="6529388" y="3475038"/>
              <a:ext cx="827088" cy="82867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7" name="iš1idê">
              <a:extLst>
                <a:ext uri="{FF2B5EF4-FFF2-40B4-BE49-F238E27FC236}">
                  <a16:creationId xmlns:a16="http://schemas.microsoft.com/office/drawing/2014/main" id="{5DD4D459-DE06-442F-9131-0F453B48863F}"/>
                </a:ext>
              </a:extLst>
            </p:cNvPr>
            <p:cNvSpPr/>
            <p:nvPr/>
          </p:nvSpPr>
          <p:spPr bwMode="auto">
            <a:xfrm>
              <a:off x="7345363" y="2198688"/>
              <a:ext cx="1165225" cy="11684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8" name="îşḷidê">
              <a:extLst>
                <a:ext uri="{FF2B5EF4-FFF2-40B4-BE49-F238E27FC236}">
                  <a16:creationId xmlns:a16="http://schemas.microsoft.com/office/drawing/2014/main" id="{F96C43B7-0F33-4356-8DAD-75B5E6E5987D}"/>
                </a:ext>
              </a:extLst>
            </p:cNvPr>
            <p:cNvSpPr/>
            <p:nvPr/>
          </p:nvSpPr>
          <p:spPr bwMode="auto">
            <a:xfrm>
              <a:off x="7664450" y="2585243"/>
              <a:ext cx="527050" cy="395287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9" name="íśļíďê">
              <a:extLst>
                <a:ext uri="{FF2B5EF4-FFF2-40B4-BE49-F238E27FC236}">
                  <a16:creationId xmlns:a16="http://schemas.microsoft.com/office/drawing/2014/main" id="{4BC5F753-9B14-4719-B566-2E13CF199304}"/>
                </a:ext>
              </a:extLst>
            </p:cNvPr>
            <p:cNvSpPr/>
            <p:nvPr/>
          </p:nvSpPr>
          <p:spPr bwMode="auto">
            <a:xfrm>
              <a:off x="6767664" y="3676006"/>
              <a:ext cx="350532" cy="426735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0" name="isľide">
              <a:extLst>
                <a:ext uri="{FF2B5EF4-FFF2-40B4-BE49-F238E27FC236}">
                  <a16:creationId xmlns:a16="http://schemas.microsoft.com/office/drawing/2014/main" id="{0FF1A17D-8F9B-48B0-A8D5-F9E4C7825C65}"/>
                </a:ext>
              </a:extLst>
            </p:cNvPr>
            <p:cNvSpPr/>
            <p:nvPr/>
          </p:nvSpPr>
          <p:spPr bwMode="auto">
            <a:xfrm>
              <a:off x="4854577" y="3798858"/>
              <a:ext cx="669922" cy="533456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1" name="íSľíďê">
              <a:extLst>
                <a:ext uri="{FF2B5EF4-FFF2-40B4-BE49-F238E27FC236}">
                  <a16:creationId xmlns:a16="http://schemas.microsoft.com/office/drawing/2014/main" id="{ACD002F7-39E7-4BB4-89A6-4AFF9F1917F9}"/>
                </a:ext>
              </a:extLst>
            </p:cNvPr>
            <p:cNvSpPr/>
            <p:nvPr/>
          </p:nvSpPr>
          <p:spPr bwMode="auto">
            <a:xfrm>
              <a:off x="3974917" y="2774306"/>
              <a:ext cx="389302" cy="426735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îṡľiďé">
              <a:extLst>
                <a:ext uri="{FF2B5EF4-FFF2-40B4-BE49-F238E27FC236}">
                  <a16:creationId xmlns:a16="http://schemas.microsoft.com/office/drawing/2014/main" id="{D46C0C3B-B655-4DB3-B4E1-9F52473B76F0}"/>
                </a:ext>
              </a:extLst>
            </p:cNvPr>
            <p:cNvSpPr/>
            <p:nvPr/>
          </p:nvSpPr>
          <p:spPr bwMode="auto">
            <a:xfrm>
              <a:off x="5822368" y="2432843"/>
              <a:ext cx="490114" cy="527050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cxnSp>
          <p:nvCxnSpPr>
            <p:cNvPr id="203" name="îsḻïḑé">
              <a:extLst>
                <a:ext uri="{FF2B5EF4-FFF2-40B4-BE49-F238E27FC236}">
                  <a16:creationId xmlns:a16="http://schemas.microsoft.com/office/drawing/2014/main" id="{C8736732-25C4-49A0-807F-09EBCC0D1422}"/>
                </a:ext>
              </a:extLst>
            </p:cNvPr>
            <p:cNvCxnSpPr/>
            <p:nvPr/>
          </p:nvCxnSpPr>
          <p:spPr>
            <a:xfrm flipH="1">
              <a:off x="669925" y="3564000"/>
              <a:ext cx="3176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ïṩ1iḑe">
              <a:extLst>
                <a:ext uri="{FF2B5EF4-FFF2-40B4-BE49-F238E27FC236}">
                  <a16:creationId xmlns:a16="http://schemas.microsoft.com/office/drawing/2014/main" id="{F34AB497-FA4A-48DD-9424-014AE3634F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2198688"/>
              <a:ext cx="475107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íŝḻíďè">
              <a:extLst>
                <a:ext uri="{FF2B5EF4-FFF2-40B4-BE49-F238E27FC236}">
                  <a16:creationId xmlns:a16="http://schemas.microsoft.com/office/drawing/2014/main" id="{FC02D141-1A32-4824-9B1C-EE247121B41F}"/>
                </a:ext>
              </a:extLst>
            </p:cNvPr>
            <p:cNvCxnSpPr/>
            <p:nvPr/>
          </p:nvCxnSpPr>
          <p:spPr>
            <a:xfrm>
              <a:off x="8510588" y="3429000"/>
              <a:ext cx="3009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6" name="îSḷïḑê">
              <a:extLst>
                <a:ext uri="{FF2B5EF4-FFF2-40B4-BE49-F238E27FC236}">
                  <a16:creationId xmlns:a16="http://schemas.microsoft.com/office/drawing/2014/main" id="{75359566-7BDE-41D9-926D-33A8709B2386}"/>
                </a:ext>
              </a:extLst>
            </p:cNvPr>
            <p:cNvGrpSpPr/>
            <p:nvPr/>
          </p:nvGrpSpPr>
          <p:grpSpPr>
            <a:xfrm>
              <a:off x="673099" y="2450779"/>
              <a:ext cx="2887663" cy="1017430"/>
              <a:chOff x="8661000" y="1781570"/>
              <a:chExt cx="2295000" cy="1017430"/>
            </a:xfrm>
          </p:grpSpPr>
          <p:sp>
            <p:nvSpPr>
              <p:cNvPr id="220" name="íṩ1ïḑê">
                <a:extLst>
                  <a:ext uri="{FF2B5EF4-FFF2-40B4-BE49-F238E27FC236}">
                    <a16:creationId xmlns:a16="http://schemas.microsoft.com/office/drawing/2014/main" id="{B1668C33-6D36-4D8A-9AF0-15506E79DA38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221" name="îṡľïďê">
                <a:extLst>
                  <a:ext uri="{FF2B5EF4-FFF2-40B4-BE49-F238E27FC236}">
                    <a16:creationId xmlns:a16="http://schemas.microsoft.com/office/drawing/2014/main" id="{73C0592E-34F8-4191-9AC5-74CC0FF4722B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grpSp>
          <p:nvGrpSpPr>
            <p:cNvPr id="207" name="ïṩļïdé">
              <a:extLst>
                <a:ext uri="{FF2B5EF4-FFF2-40B4-BE49-F238E27FC236}">
                  <a16:creationId xmlns:a16="http://schemas.microsoft.com/office/drawing/2014/main" id="{AB145E56-0FC2-47CE-8467-E2AD3D3CB8BF}"/>
                </a:ext>
              </a:extLst>
            </p:cNvPr>
            <p:cNvGrpSpPr/>
            <p:nvPr/>
          </p:nvGrpSpPr>
          <p:grpSpPr>
            <a:xfrm>
              <a:off x="2829668" y="1130300"/>
              <a:ext cx="2887663" cy="1017430"/>
              <a:chOff x="8661000" y="1781570"/>
              <a:chExt cx="2295000" cy="1017430"/>
            </a:xfrm>
          </p:grpSpPr>
          <p:sp>
            <p:nvSpPr>
              <p:cNvPr id="218" name="iṡľíďe">
                <a:extLst>
                  <a:ext uri="{FF2B5EF4-FFF2-40B4-BE49-F238E27FC236}">
                    <a16:creationId xmlns:a16="http://schemas.microsoft.com/office/drawing/2014/main" id="{170677A4-5522-4B07-88B2-C0721B0215B9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219" name="i$ľiḋê">
                <a:extLst>
                  <a:ext uri="{FF2B5EF4-FFF2-40B4-BE49-F238E27FC236}">
                    <a16:creationId xmlns:a16="http://schemas.microsoft.com/office/drawing/2014/main" id="{99ADCA68-F353-4542-AC9B-8E112506A489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grpSp>
          <p:nvGrpSpPr>
            <p:cNvPr id="208" name="ïṣļiḋe">
              <a:extLst>
                <a:ext uri="{FF2B5EF4-FFF2-40B4-BE49-F238E27FC236}">
                  <a16:creationId xmlns:a16="http://schemas.microsoft.com/office/drawing/2014/main" id="{8D5092DB-CEC1-4C64-B6C6-944E2412623A}"/>
                </a:ext>
              </a:extLst>
            </p:cNvPr>
            <p:cNvGrpSpPr/>
            <p:nvPr/>
          </p:nvGrpSpPr>
          <p:grpSpPr>
            <a:xfrm>
              <a:off x="8631239" y="2222658"/>
              <a:ext cx="2887663" cy="1017430"/>
              <a:chOff x="8661000" y="1781570"/>
              <a:chExt cx="2295000" cy="1017430"/>
            </a:xfrm>
          </p:grpSpPr>
          <p:sp>
            <p:nvSpPr>
              <p:cNvPr id="216" name="í$ḻíḑe">
                <a:extLst>
                  <a:ext uri="{FF2B5EF4-FFF2-40B4-BE49-F238E27FC236}">
                    <a16:creationId xmlns:a16="http://schemas.microsoft.com/office/drawing/2014/main" id="{A5BB6137-A913-4081-95E1-2D1900555D96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217" name="îṩḷiḍè">
                <a:extLst>
                  <a:ext uri="{FF2B5EF4-FFF2-40B4-BE49-F238E27FC236}">
                    <a16:creationId xmlns:a16="http://schemas.microsoft.com/office/drawing/2014/main" id="{530C7EBE-EC7A-4E36-8783-391C3BD1289E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grpSp>
          <p:nvGrpSpPr>
            <p:cNvPr id="209" name="îṧḻiďe">
              <a:extLst>
                <a:ext uri="{FF2B5EF4-FFF2-40B4-BE49-F238E27FC236}">
                  <a16:creationId xmlns:a16="http://schemas.microsoft.com/office/drawing/2014/main" id="{A7B7DF2C-2674-4D39-A743-0AC9C44AF99C}"/>
                </a:ext>
              </a:extLst>
            </p:cNvPr>
            <p:cNvGrpSpPr/>
            <p:nvPr/>
          </p:nvGrpSpPr>
          <p:grpSpPr>
            <a:xfrm>
              <a:off x="3730563" y="4891087"/>
              <a:ext cx="2887663" cy="1017430"/>
              <a:chOff x="8661000" y="1781570"/>
              <a:chExt cx="2295000" cy="1017430"/>
            </a:xfrm>
          </p:grpSpPr>
          <p:sp>
            <p:nvSpPr>
              <p:cNvPr id="214" name="îsļïḓè">
                <a:extLst>
                  <a:ext uri="{FF2B5EF4-FFF2-40B4-BE49-F238E27FC236}">
                    <a16:creationId xmlns:a16="http://schemas.microsoft.com/office/drawing/2014/main" id="{7259B28B-B346-4AE2-8386-641B2D10C033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215" name="íṡ1îdè">
                <a:extLst>
                  <a:ext uri="{FF2B5EF4-FFF2-40B4-BE49-F238E27FC236}">
                    <a16:creationId xmlns:a16="http://schemas.microsoft.com/office/drawing/2014/main" id="{8652353B-D13E-466E-A8F8-1AD5987CC793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grpSp>
          <p:nvGrpSpPr>
            <p:cNvPr id="210" name="íš1íḑê">
              <a:extLst>
                <a:ext uri="{FF2B5EF4-FFF2-40B4-BE49-F238E27FC236}">
                  <a16:creationId xmlns:a16="http://schemas.microsoft.com/office/drawing/2014/main" id="{4FA9256B-46A2-4766-A2D9-884622441724}"/>
                </a:ext>
              </a:extLst>
            </p:cNvPr>
            <p:cNvGrpSpPr/>
            <p:nvPr/>
          </p:nvGrpSpPr>
          <p:grpSpPr>
            <a:xfrm>
              <a:off x="7576528" y="3610038"/>
              <a:ext cx="3942374" cy="1017430"/>
              <a:chOff x="8661000" y="1781570"/>
              <a:chExt cx="2295000" cy="1017430"/>
            </a:xfrm>
          </p:grpSpPr>
          <p:sp>
            <p:nvSpPr>
              <p:cNvPr id="212" name="îŝḷiḓè">
                <a:extLst>
                  <a:ext uri="{FF2B5EF4-FFF2-40B4-BE49-F238E27FC236}">
                    <a16:creationId xmlns:a16="http://schemas.microsoft.com/office/drawing/2014/main" id="{5E12C58B-E8A1-4BCC-9F85-0D834291A528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de-DE" sz="2000" b="1" dirty="0"/>
                  <a:t>Text here</a:t>
                </a:r>
              </a:p>
            </p:txBody>
          </p:sp>
          <p:sp>
            <p:nvSpPr>
              <p:cNvPr id="213" name="íšḷiḍè">
                <a:extLst>
                  <a:ext uri="{FF2B5EF4-FFF2-40B4-BE49-F238E27FC236}">
                    <a16:creationId xmlns:a16="http://schemas.microsoft.com/office/drawing/2014/main" id="{ED8915C4-6125-4A31-8A70-B9333EAD9BA7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Copy paste fonts. Choose the only option to retain text.…</a:t>
                </a:r>
                <a:r>
                  <a:rPr lang="de-DE" sz="1200" dirty="0"/>
                  <a:t>.</a:t>
                </a:r>
              </a:p>
            </p:txBody>
          </p:sp>
        </p:grpSp>
        <p:cxnSp>
          <p:nvCxnSpPr>
            <p:cNvPr id="211" name="ïšḷíḍe">
              <a:extLst>
                <a:ext uri="{FF2B5EF4-FFF2-40B4-BE49-F238E27FC236}">
                  <a16:creationId xmlns:a16="http://schemas.microsoft.com/office/drawing/2014/main" id="{4750C3BC-3485-44E6-BBF6-40FA05861A2A}"/>
                </a:ext>
              </a:extLst>
            </p:cNvPr>
            <p:cNvCxnSpPr/>
            <p:nvPr/>
          </p:nvCxnSpPr>
          <p:spPr>
            <a:xfrm>
              <a:off x="6861000" y="4693761"/>
              <a:ext cx="465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942025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ľ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ľîďé">
            <a:extLst>
              <a:ext uri="{FF2B5EF4-FFF2-40B4-BE49-F238E27FC236}">
                <a16:creationId xmlns:a16="http://schemas.microsoft.com/office/drawing/2014/main" id="{B4A214F5-B825-4A83-84D9-3EDC0AFCF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ṡliḋe">
            <a:extLst>
              <a:ext uri="{FF2B5EF4-FFF2-40B4-BE49-F238E27FC236}">
                <a16:creationId xmlns:a16="http://schemas.microsoft.com/office/drawing/2014/main" id="{5581914C-F1E0-47D2-92BA-837C9260E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śľiḍê">
            <a:extLst>
              <a:ext uri="{FF2B5EF4-FFF2-40B4-BE49-F238E27FC236}">
                <a16:creationId xmlns:a16="http://schemas.microsoft.com/office/drawing/2014/main" id="{B170A6C3-5820-487D-A366-E5EEEE951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25" name="îṡ1î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75F45BD-DFF8-415D-8A58-2CB9DDACB266}"/>
              </a:ext>
            </a:extLst>
          </p:cNvPr>
          <p:cNvGrpSpPr>
            <a:grpSpLocks noChangeAspect="1"/>
          </p:cNvGrpSpPr>
          <p:nvPr/>
        </p:nvGrpSpPr>
        <p:grpSpPr>
          <a:xfrm>
            <a:off x="661180" y="1183054"/>
            <a:ext cx="10857720" cy="4762722"/>
            <a:chOff x="661180" y="1183054"/>
            <a:chExt cx="10857720" cy="4762722"/>
          </a:xfrm>
        </p:grpSpPr>
        <p:grpSp>
          <p:nvGrpSpPr>
            <p:cNvPr id="27" name="îşľïḓê">
              <a:extLst>
                <a:ext uri="{FF2B5EF4-FFF2-40B4-BE49-F238E27FC236}">
                  <a16:creationId xmlns:a16="http://schemas.microsoft.com/office/drawing/2014/main" id="{3CAF5CE8-7244-4E5F-B7FF-287077CB2931}"/>
                </a:ext>
              </a:extLst>
            </p:cNvPr>
            <p:cNvGrpSpPr/>
            <p:nvPr/>
          </p:nvGrpSpPr>
          <p:grpSpPr>
            <a:xfrm>
              <a:off x="5133717" y="2573242"/>
              <a:ext cx="1924566" cy="1924566"/>
              <a:chOff x="5152699" y="1544904"/>
              <a:chExt cx="1715532" cy="1715532"/>
            </a:xfrm>
          </p:grpSpPr>
          <p:sp>
            <p:nvSpPr>
              <p:cNvPr id="43" name="ísḷîdé">
                <a:extLst>
                  <a:ext uri="{FF2B5EF4-FFF2-40B4-BE49-F238E27FC236}">
                    <a16:creationId xmlns:a16="http://schemas.microsoft.com/office/drawing/2014/main" id="{5CDB2546-A661-4247-962F-489CE6AB0230}"/>
                  </a:ext>
                </a:extLst>
              </p:cNvPr>
              <p:cNvSpPr/>
              <p:nvPr/>
            </p:nvSpPr>
            <p:spPr>
              <a:xfrm>
                <a:off x="5152699" y="1544904"/>
                <a:ext cx="1715532" cy="171553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44" name="ïšḻíḓe">
                <a:extLst>
                  <a:ext uri="{FF2B5EF4-FFF2-40B4-BE49-F238E27FC236}">
                    <a16:creationId xmlns:a16="http://schemas.microsoft.com/office/drawing/2014/main" id="{CB5BCCEE-5BC2-485F-A901-B65B9945C4F8}"/>
                  </a:ext>
                </a:extLst>
              </p:cNvPr>
              <p:cNvSpPr/>
              <p:nvPr/>
            </p:nvSpPr>
            <p:spPr bwMode="auto">
              <a:xfrm>
                <a:off x="5625861" y="1981085"/>
                <a:ext cx="769207" cy="843170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8" name="išļîďe">
              <a:extLst>
                <a:ext uri="{FF2B5EF4-FFF2-40B4-BE49-F238E27FC236}">
                  <a16:creationId xmlns:a16="http://schemas.microsoft.com/office/drawing/2014/main" id="{D0881CD0-F993-4508-85D9-0A2D9AA699A1}"/>
                </a:ext>
              </a:extLst>
            </p:cNvPr>
            <p:cNvGrpSpPr/>
            <p:nvPr/>
          </p:nvGrpSpPr>
          <p:grpSpPr>
            <a:xfrm>
              <a:off x="4605170" y="4657441"/>
              <a:ext cx="2981660" cy="1288335"/>
              <a:chOff x="7166653" y="2137341"/>
              <a:chExt cx="1696691" cy="1288335"/>
            </a:xfrm>
          </p:grpSpPr>
          <p:sp>
            <p:nvSpPr>
              <p:cNvPr id="41" name="îṩ1îdé">
                <a:extLst>
                  <a:ext uri="{FF2B5EF4-FFF2-40B4-BE49-F238E27FC236}">
                    <a16:creationId xmlns:a16="http://schemas.microsoft.com/office/drawing/2014/main" id="{8922C99D-3067-4089-916C-6744ED0AE65B}"/>
                  </a:ext>
                </a:extLst>
              </p:cNvPr>
              <p:cNvSpPr/>
              <p:nvPr/>
            </p:nvSpPr>
            <p:spPr bwMode="auto">
              <a:xfrm>
                <a:off x="7166653" y="2579145"/>
                <a:ext cx="1696690" cy="8465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2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200" dirty="0"/>
                  <a:t>……</a:t>
                </a:r>
              </a:p>
            </p:txBody>
          </p:sp>
          <p:sp>
            <p:nvSpPr>
              <p:cNvPr id="42" name="iṩlíďê">
                <a:extLst>
                  <a:ext uri="{FF2B5EF4-FFF2-40B4-BE49-F238E27FC236}">
                    <a16:creationId xmlns:a16="http://schemas.microsoft.com/office/drawing/2014/main" id="{7E3CD2AC-1CC3-41A3-A0B7-A05781BC3DD8}"/>
                  </a:ext>
                </a:extLst>
              </p:cNvPr>
              <p:cNvSpPr txBox="1"/>
              <p:nvPr/>
            </p:nvSpPr>
            <p:spPr bwMode="auto">
              <a:xfrm>
                <a:off x="7166654" y="2137341"/>
                <a:ext cx="16966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9" name="iṡļíḑe">
              <a:extLst>
                <a:ext uri="{FF2B5EF4-FFF2-40B4-BE49-F238E27FC236}">
                  <a16:creationId xmlns:a16="http://schemas.microsoft.com/office/drawing/2014/main" id="{2A0ACDCD-CF3E-49FB-BB0F-0DFB118DB834}"/>
                </a:ext>
              </a:extLst>
            </p:cNvPr>
            <p:cNvGrpSpPr/>
            <p:nvPr/>
          </p:nvGrpSpPr>
          <p:grpSpPr>
            <a:xfrm>
              <a:off x="1926360" y="3247924"/>
              <a:ext cx="760556" cy="760556"/>
              <a:chOff x="1108364" y="2022764"/>
              <a:chExt cx="1126836" cy="1126836"/>
            </a:xfrm>
          </p:grpSpPr>
          <p:sp>
            <p:nvSpPr>
              <p:cNvPr id="39" name="íš1ïḋé">
                <a:extLst>
                  <a:ext uri="{FF2B5EF4-FFF2-40B4-BE49-F238E27FC236}">
                    <a16:creationId xmlns:a16="http://schemas.microsoft.com/office/drawing/2014/main" id="{AAAFFAB7-F56C-41B2-907D-1D75C5D97DA9}"/>
                  </a:ext>
                </a:extLst>
              </p:cNvPr>
              <p:cNvSpPr/>
              <p:nvPr/>
            </p:nvSpPr>
            <p:spPr>
              <a:xfrm>
                <a:off x="1108364" y="2022764"/>
                <a:ext cx="1126836" cy="112683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40" name="ï$ļiḍê">
                <a:extLst>
                  <a:ext uri="{FF2B5EF4-FFF2-40B4-BE49-F238E27FC236}">
                    <a16:creationId xmlns:a16="http://schemas.microsoft.com/office/drawing/2014/main" id="{CC17E1B6-2F05-49AE-9247-5A0E8D44C883}"/>
                  </a:ext>
                </a:extLst>
              </p:cNvPr>
              <p:cNvSpPr/>
              <p:nvPr/>
            </p:nvSpPr>
            <p:spPr bwMode="auto">
              <a:xfrm>
                <a:off x="1430264" y="2393862"/>
                <a:ext cx="483036" cy="384639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30" name="îS1iḋè">
              <a:extLst>
                <a:ext uri="{FF2B5EF4-FFF2-40B4-BE49-F238E27FC236}">
                  <a16:creationId xmlns:a16="http://schemas.microsoft.com/office/drawing/2014/main" id="{30410AD4-EC9A-4608-851F-3A4F6A453321}"/>
                </a:ext>
              </a:extLst>
            </p:cNvPr>
            <p:cNvGrpSpPr/>
            <p:nvPr/>
          </p:nvGrpSpPr>
          <p:grpSpPr>
            <a:xfrm>
              <a:off x="661180" y="1183054"/>
              <a:ext cx="3290916" cy="1945111"/>
              <a:chOff x="661180" y="1183054"/>
              <a:chExt cx="3290916" cy="1945111"/>
            </a:xfrm>
          </p:grpSpPr>
          <p:sp>
            <p:nvSpPr>
              <p:cNvPr id="37" name="ïšḻiḍé">
                <a:extLst>
                  <a:ext uri="{FF2B5EF4-FFF2-40B4-BE49-F238E27FC236}">
                    <a16:creationId xmlns:a16="http://schemas.microsoft.com/office/drawing/2014/main" id="{EB5731EC-06FE-41EB-8FE6-DDE299B8A6B1}"/>
                  </a:ext>
                </a:extLst>
              </p:cNvPr>
              <p:cNvSpPr/>
              <p:nvPr/>
            </p:nvSpPr>
            <p:spPr>
              <a:xfrm>
                <a:off x="661180" y="1183054"/>
                <a:ext cx="3290916" cy="5264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38" name="íṥḻïḋè">
                <a:extLst>
                  <a:ext uri="{FF2B5EF4-FFF2-40B4-BE49-F238E27FC236}">
                    <a16:creationId xmlns:a16="http://schemas.microsoft.com/office/drawing/2014/main" id="{6BA68AC2-C37B-4C68-99D2-8CFBE4EEC25A}"/>
                  </a:ext>
                </a:extLst>
              </p:cNvPr>
              <p:cNvSpPr/>
              <p:nvPr/>
            </p:nvSpPr>
            <p:spPr>
              <a:xfrm>
                <a:off x="663306" y="1709527"/>
                <a:ext cx="3286665" cy="1418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</a:t>
                </a:r>
                <a:r>
                  <a:rPr lang="en-US" altLang="zh-CN" sz="1100" dirty="0" err="1"/>
                  <a:t>fluent.Theme</a:t>
                </a:r>
                <a:r>
                  <a:rPr lang="en-US" altLang="zh-CN" sz="1100" dirty="0"/>
                  <a:t> color makes PPT more convenient to </a:t>
                </a:r>
                <a:r>
                  <a:rPr lang="en-US" altLang="zh-CN" sz="1100" dirty="0" err="1"/>
                  <a:t>change.Adjust</a:t>
                </a:r>
                <a:r>
                  <a:rPr lang="en-US" altLang="zh-CN" sz="1100" dirty="0"/>
                  <a:t> the spacing to adapt to Chinese typesetting, use the reference line in PP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31" name="íṧlíḋê">
              <a:extLst>
                <a:ext uri="{FF2B5EF4-FFF2-40B4-BE49-F238E27FC236}">
                  <a16:creationId xmlns:a16="http://schemas.microsoft.com/office/drawing/2014/main" id="{D5361956-BE72-4A88-B652-FD22EAE62F91}"/>
                </a:ext>
              </a:extLst>
            </p:cNvPr>
            <p:cNvGrpSpPr/>
            <p:nvPr/>
          </p:nvGrpSpPr>
          <p:grpSpPr>
            <a:xfrm>
              <a:off x="9493164" y="3247924"/>
              <a:ext cx="760556" cy="760556"/>
              <a:chOff x="1108364" y="2022764"/>
              <a:chExt cx="1126836" cy="1126836"/>
            </a:xfrm>
          </p:grpSpPr>
          <p:sp>
            <p:nvSpPr>
              <p:cNvPr id="35" name="iş1íḑê">
                <a:extLst>
                  <a:ext uri="{FF2B5EF4-FFF2-40B4-BE49-F238E27FC236}">
                    <a16:creationId xmlns:a16="http://schemas.microsoft.com/office/drawing/2014/main" id="{6353DF6C-2004-4576-ACE0-8D38451478AA}"/>
                  </a:ext>
                </a:extLst>
              </p:cNvPr>
              <p:cNvSpPr/>
              <p:nvPr/>
            </p:nvSpPr>
            <p:spPr>
              <a:xfrm>
                <a:off x="1108364" y="2022764"/>
                <a:ext cx="1126836" cy="112683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36" name="ïSḻíḓê">
                <a:extLst>
                  <a:ext uri="{FF2B5EF4-FFF2-40B4-BE49-F238E27FC236}">
                    <a16:creationId xmlns:a16="http://schemas.microsoft.com/office/drawing/2014/main" id="{38534140-94BB-455C-A3E4-722DC2CF5D1B}"/>
                  </a:ext>
                </a:extLst>
              </p:cNvPr>
              <p:cNvSpPr/>
              <p:nvPr/>
            </p:nvSpPr>
            <p:spPr bwMode="auto">
              <a:xfrm>
                <a:off x="1430264" y="2366227"/>
                <a:ext cx="483036" cy="439906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32" name="ïšlíḍé">
              <a:extLst>
                <a:ext uri="{FF2B5EF4-FFF2-40B4-BE49-F238E27FC236}">
                  <a16:creationId xmlns:a16="http://schemas.microsoft.com/office/drawing/2014/main" id="{D178EBE4-1740-4540-9D9F-437DA10484B2}"/>
                </a:ext>
              </a:extLst>
            </p:cNvPr>
            <p:cNvGrpSpPr/>
            <p:nvPr/>
          </p:nvGrpSpPr>
          <p:grpSpPr>
            <a:xfrm>
              <a:off x="8227984" y="1183054"/>
              <a:ext cx="3290916" cy="1945111"/>
              <a:chOff x="661180" y="1183054"/>
              <a:chExt cx="3290916" cy="1945111"/>
            </a:xfrm>
          </p:grpSpPr>
          <p:sp>
            <p:nvSpPr>
              <p:cNvPr id="33" name="ísľíḍé">
                <a:extLst>
                  <a:ext uri="{FF2B5EF4-FFF2-40B4-BE49-F238E27FC236}">
                    <a16:creationId xmlns:a16="http://schemas.microsoft.com/office/drawing/2014/main" id="{7C006B05-44D7-42F6-ABD8-B02A5EA048E0}"/>
                  </a:ext>
                </a:extLst>
              </p:cNvPr>
              <p:cNvSpPr/>
              <p:nvPr/>
            </p:nvSpPr>
            <p:spPr>
              <a:xfrm>
                <a:off x="661180" y="1183054"/>
                <a:ext cx="3290916" cy="5264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</a:p>
            </p:txBody>
          </p:sp>
          <p:sp>
            <p:nvSpPr>
              <p:cNvPr id="34" name="îş1íḑé">
                <a:extLst>
                  <a:ext uri="{FF2B5EF4-FFF2-40B4-BE49-F238E27FC236}">
                    <a16:creationId xmlns:a16="http://schemas.microsoft.com/office/drawing/2014/main" id="{DBA8EF31-9DFB-4F4A-A9A0-33B9BA470511}"/>
                  </a:ext>
                </a:extLst>
              </p:cNvPr>
              <p:cNvSpPr/>
              <p:nvPr/>
            </p:nvSpPr>
            <p:spPr>
              <a:xfrm>
                <a:off x="663306" y="1709527"/>
                <a:ext cx="3286665" cy="1418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</a:t>
                </a:r>
                <a:r>
                  <a:rPr lang="en-US" altLang="zh-CN" sz="1100" dirty="0" err="1"/>
                  <a:t>fluent.Theme</a:t>
                </a:r>
                <a:r>
                  <a:rPr lang="en-US" altLang="zh-CN" sz="1100" dirty="0"/>
                  <a:t> color makes PPT more convenient to </a:t>
                </a:r>
                <a:r>
                  <a:rPr lang="en-US" altLang="zh-CN" sz="1100" dirty="0" err="1"/>
                  <a:t>change.Adjust</a:t>
                </a:r>
                <a:r>
                  <a:rPr lang="en-US" altLang="zh-CN" sz="1100" dirty="0"/>
                  <a:t> the spacing to adapt to Chinese typesetting, use the reference line in PP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526708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śḻi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ṩliḋè">
            <a:extLst>
              <a:ext uri="{FF2B5EF4-FFF2-40B4-BE49-F238E27FC236}">
                <a16:creationId xmlns:a16="http://schemas.microsoft.com/office/drawing/2014/main" id="{A5580DD8-9C08-4831-AD49-9B85320A7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şḻidè">
            <a:extLst>
              <a:ext uri="{FF2B5EF4-FFF2-40B4-BE49-F238E27FC236}">
                <a16:creationId xmlns:a16="http://schemas.microsoft.com/office/drawing/2014/main" id="{F3A266BA-D7DF-4046-8CF3-815913B12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ľîde">
            <a:extLst>
              <a:ext uri="{FF2B5EF4-FFF2-40B4-BE49-F238E27FC236}">
                <a16:creationId xmlns:a16="http://schemas.microsoft.com/office/drawing/2014/main" id="{9251FA73-649B-472C-8AD3-BE15A01BB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îṥļíḓ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37D1208-8D88-4DE7-8E96-69B22D6F171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298666"/>
            <a:ext cx="12192000" cy="5559334"/>
            <a:chOff x="0" y="1298666"/>
            <a:chExt cx="12192000" cy="5559334"/>
          </a:xfrm>
        </p:grpSpPr>
        <p:sp>
          <p:nvSpPr>
            <p:cNvPr id="6" name="ïŝľíďè">
              <a:extLst>
                <a:ext uri="{FF2B5EF4-FFF2-40B4-BE49-F238E27FC236}">
                  <a16:creationId xmlns:a16="http://schemas.microsoft.com/office/drawing/2014/main" id="{990EB01B-561E-4CDD-B483-CC794E85EA28}"/>
                </a:ext>
              </a:extLst>
            </p:cNvPr>
            <p:cNvSpPr/>
            <p:nvPr/>
          </p:nvSpPr>
          <p:spPr>
            <a:xfrm>
              <a:off x="0" y="3127989"/>
              <a:ext cx="12192000" cy="37300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7" name="ïšḷïdê">
              <a:extLst>
                <a:ext uri="{FF2B5EF4-FFF2-40B4-BE49-F238E27FC236}">
                  <a16:creationId xmlns:a16="http://schemas.microsoft.com/office/drawing/2014/main" id="{091BE961-5846-4969-BF53-766DF9BC21DB}"/>
                </a:ext>
              </a:extLst>
            </p:cNvPr>
            <p:cNvGrpSpPr/>
            <p:nvPr/>
          </p:nvGrpSpPr>
          <p:grpSpPr>
            <a:xfrm>
              <a:off x="1101292" y="1298666"/>
              <a:ext cx="2169621" cy="2177590"/>
              <a:chOff x="1651689" y="1298666"/>
              <a:chExt cx="2169621" cy="2177590"/>
            </a:xfrm>
          </p:grpSpPr>
          <p:grpSp>
            <p:nvGrpSpPr>
              <p:cNvPr id="51" name="ísḻïḓè">
                <a:extLst>
                  <a:ext uri="{FF2B5EF4-FFF2-40B4-BE49-F238E27FC236}">
                    <a16:creationId xmlns:a16="http://schemas.microsoft.com/office/drawing/2014/main" id="{AE582BDE-2FF3-429B-87D4-D980D2903435}"/>
                  </a:ext>
                </a:extLst>
              </p:cNvPr>
              <p:cNvGrpSpPr/>
              <p:nvPr/>
            </p:nvGrpSpPr>
            <p:grpSpPr>
              <a:xfrm>
                <a:off x="1981049" y="1298666"/>
                <a:ext cx="1510909" cy="1055688"/>
                <a:chOff x="1086342" y="5061311"/>
                <a:chExt cx="1510909" cy="1055688"/>
              </a:xfrm>
            </p:grpSpPr>
            <p:grpSp>
              <p:nvGrpSpPr>
                <p:cNvPr id="53" name="ïṣḻïdé">
                  <a:extLst>
                    <a:ext uri="{FF2B5EF4-FFF2-40B4-BE49-F238E27FC236}">
                      <a16:creationId xmlns:a16="http://schemas.microsoft.com/office/drawing/2014/main" id="{D3573858-3048-454F-B6A3-C0F201001C1E}"/>
                    </a:ext>
                  </a:extLst>
                </p:cNvPr>
                <p:cNvGrpSpPr/>
                <p:nvPr/>
              </p:nvGrpSpPr>
              <p:grpSpPr>
                <a:xfrm>
                  <a:off x="1086342" y="5061311"/>
                  <a:ext cx="1510909" cy="1055688"/>
                  <a:chOff x="2144713" y="2039938"/>
                  <a:chExt cx="1511300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57" name="íšlïḍé">
                    <a:extLst>
                      <a:ext uri="{FF2B5EF4-FFF2-40B4-BE49-F238E27FC236}">
                        <a16:creationId xmlns:a16="http://schemas.microsoft.com/office/drawing/2014/main" id="{AEAB45FD-78E6-41E0-871A-E764488B7438}"/>
                      </a:ext>
                    </a:extLst>
                  </p:cNvPr>
                  <p:cNvSpPr/>
                  <p:nvPr/>
                </p:nvSpPr>
                <p:spPr>
                  <a:xfrm>
                    <a:off x="2603500" y="2039938"/>
                    <a:ext cx="274638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8" name="îŝḷîḋé">
                    <a:extLst>
                      <a:ext uri="{FF2B5EF4-FFF2-40B4-BE49-F238E27FC236}">
                        <a16:creationId xmlns:a16="http://schemas.microsoft.com/office/drawing/2014/main" id="{0F50B648-BDA5-4018-8693-2FC04516FA4C}"/>
                      </a:ext>
                    </a:extLst>
                  </p:cNvPr>
                  <p:cNvSpPr/>
                  <p:nvPr/>
                </p:nvSpPr>
                <p:spPr>
                  <a:xfrm>
                    <a:off x="3141663" y="2095501"/>
                    <a:ext cx="279400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9" name="ïśḻîde">
                    <a:extLst>
                      <a:ext uri="{FF2B5EF4-FFF2-40B4-BE49-F238E27FC236}">
                        <a16:creationId xmlns:a16="http://schemas.microsoft.com/office/drawing/2014/main" id="{59320CA8-9453-4858-9392-4223CCAD33BB}"/>
                      </a:ext>
                    </a:extLst>
                  </p:cNvPr>
                  <p:cNvSpPr/>
                  <p:nvPr/>
                </p:nvSpPr>
                <p:spPr>
                  <a:xfrm>
                    <a:off x="2922588" y="2039938"/>
                    <a:ext cx="219075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0" name="îś1ídê">
                    <a:extLst>
                      <a:ext uri="{FF2B5EF4-FFF2-40B4-BE49-F238E27FC236}">
                        <a16:creationId xmlns:a16="http://schemas.microsoft.com/office/drawing/2014/main" id="{C52349DD-4996-4CF3-9BDD-D46967B1B9B1}"/>
                      </a:ext>
                    </a:extLst>
                  </p:cNvPr>
                  <p:cNvSpPr/>
                  <p:nvPr/>
                </p:nvSpPr>
                <p:spPr>
                  <a:xfrm>
                    <a:off x="3368675" y="2278063"/>
                    <a:ext cx="209550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1" name="iṣḷiḑe">
                    <a:extLst>
                      <a:ext uri="{FF2B5EF4-FFF2-40B4-BE49-F238E27FC236}">
                        <a16:creationId xmlns:a16="http://schemas.microsoft.com/office/drawing/2014/main" id="{EE8B4ABA-6BB2-4AD9-9972-2D0406B88877}"/>
                      </a:ext>
                    </a:extLst>
                  </p:cNvPr>
                  <p:cNvSpPr/>
                  <p:nvPr/>
                </p:nvSpPr>
                <p:spPr>
                  <a:xfrm>
                    <a:off x="2198688" y="2278063"/>
                    <a:ext cx="233363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2" name="ïSļïde">
                    <a:extLst>
                      <a:ext uri="{FF2B5EF4-FFF2-40B4-BE49-F238E27FC236}">
                        <a16:creationId xmlns:a16="http://schemas.microsoft.com/office/drawing/2014/main" id="{2D82B18E-56DC-4782-9F0F-014267583974}"/>
                      </a:ext>
                    </a:extLst>
                  </p:cNvPr>
                  <p:cNvSpPr/>
                  <p:nvPr/>
                </p:nvSpPr>
                <p:spPr>
                  <a:xfrm>
                    <a:off x="2381250" y="2119313"/>
                    <a:ext cx="23018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3" name="iSľiḋè">
                    <a:extLst>
                      <a:ext uri="{FF2B5EF4-FFF2-40B4-BE49-F238E27FC236}">
                        <a16:creationId xmlns:a16="http://schemas.microsoft.com/office/drawing/2014/main" id="{93855F42-9AF5-4095-9953-A5E8B5C3F4D1}"/>
                      </a:ext>
                    </a:extLst>
                  </p:cNvPr>
                  <p:cNvSpPr/>
                  <p:nvPr/>
                </p:nvSpPr>
                <p:spPr>
                  <a:xfrm>
                    <a:off x="2144713" y="2557463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4" name="íşḷídè">
                    <a:extLst>
                      <a:ext uri="{FF2B5EF4-FFF2-40B4-BE49-F238E27FC236}">
                        <a16:creationId xmlns:a16="http://schemas.microsoft.com/office/drawing/2014/main" id="{E3D5F77D-8633-49F4-8EB1-3B839372F401}"/>
                      </a:ext>
                    </a:extLst>
                  </p:cNvPr>
                  <p:cNvSpPr/>
                  <p:nvPr/>
                </p:nvSpPr>
                <p:spPr>
                  <a:xfrm>
                    <a:off x="2144713" y="2819401"/>
                    <a:ext cx="166688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5" name="íśľîḋê">
                    <a:extLst>
                      <a:ext uri="{FF2B5EF4-FFF2-40B4-BE49-F238E27FC236}">
                        <a16:creationId xmlns:a16="http://schemas.microsoft.com/office/drawing/2014/main" id="{3ACAF746-ECED-4D2C-9C85-3C6A7FF9D840}"/>
                      </a:ext>
                    </a:extLst>
                  </p:cNvPr>
                  <p:cNvSpPr/>
                  <p:nvPr/>
                </p:nvSpPr>
                <p:spPr>
                  <a:xfrm>
                    <a:off x="3490913" y="2498726"/>
                    <a:ext cx="165100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66" name="íšḷíḓê">
                    <a:extLst>
                      <a:ext uri="{FF2B5EF4-FFF2-40B4-BE49-F238E27FC236}">
                        <a16:creationId xmlns:a16="http://schemas.microsoft.com/office/drawing/2014/main" id="{45950FF0-7389-42D3-8B0F-C17966B914F2}"/>
                      </a:ext>
                    </a:extLst>
                  </p:cNvPr>
                  <p:cNvSpPr/>
                  <p:nvPr/>
                </p:nvSpPr>
                <p:spPr>
                  <a:xfrm>
                    <a:off x="3508375" y="2819401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54" name="ïṣ1îḓè">
                  <a:extLst>
                    <a:ext uri="{FF2B5EF4-FFF2-40B4-BE49-F238E27FC236}">
                      <a16:creationId xmlns:a16="http://schemas.microsoft.com/office/drawing/2014/main" id="{E775CFA5-B3C0-4C8A-A35E-73714F612B86}"/>
                    </a:ext>
                  </a:extLst>
                </p:cNvPr>
                <p:cNvGrpSpPr/>
                <p:nvPr/>
              </p:nvGrpSpPr>
              <p:grpSpPr>
                <a:xfrm rot="-4132320">
                  <a:off x="1475652" y="5406677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55" name="ïSlïḍe">
                    <a:extLst>
                      <a:ext uri="{FF2B5EF4-FFF2-40B4-BE49-F238E27FC236}">
                        <a16:creationId xmlns:a16="http://schemas.microsoft.com/office/drawing/2014/main" id="{2E40FE29-45D8-46DD-901D-4EF4B08C6619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6" name="ïṡ1îde">
                    <a:extLst>
                      <a:ext uri="{FF2B5EF4-FFF2-40B4-BE49-F238E27FC236}">
                        <a16:creationId xmlns:a16="http://schemas.microsoft.com/office/drawing/2014/main" id="{B308DBAA-5640-4D5E-8228-C53FBBC4761D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52" name="iṧļíḑè">
                <a:extLst>
                  <a:ext uri="{FF2B5EF4-FFF2-40B4-BE49-F238E27FC236}">
                    <a16:creationId xmlns:a16="http://schemas.microsoft.com/office/drawing/2014/main" id="{E1F621A7-9C76-4A43-B825-EF9AA8D9025C}"/>
                  </a:ext>
                </a:extLst>
              </p:cNvPr>
              <p:cNvSpPr/>
              <p:nvPr/>
            </p:nvSpPr>
            <p:spPr bwMode="auto">
              <a:xfrm>
                <a:off x="1651689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8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î$ḻïḍe">
              <a:extLst>
                <a:ext uri="{FF2B5EF4-FFF2-40B4-BE49-F238E27FC236}">
                  <a16:creationId xmlns:a16="http://schemas.microsoft.com/office/drawing/2014/main" id="{E96ED9BB-FC11-4269-81C1-E8161871535B}"/>
                </a:ext>
              </a:extLst>
            </p:cNvPr>
            <p:cNvGrpSpPr/>
            <p:nvPr/>
          </p:nvGrpSpPr>
          <p:grpSpPr>
            <a:xfrm>
              <a:off x="8921088" y="1298666"/>
              <a:ext cx="2169621" cy="2177590"/>
              <a:chOff x="8415128" y="1298666"/>
              <a:chExt cx="2169621" cy="2177590"/>
            </a:xfrm>
          </p:grpSpPr>
          <p:grpSp>
            <p:nvGrpSpPr>
              <p:cNvPr id="35" name="íṣľîḍé">
                <a:extLst>
                  <a:ext uri="{FF2B5EF4-FFF2-40B4-BE49-F238E27FC236}">
                    <a16:creationId xmlns:a16="http://schemas.microsoft.com/office/drawing/2014/main" id="{8B69B088-1452-45B7-89A7-2866FBF2A96D}"/>
                  </a:ext>
                </a:extLst>
              </p:cNvPr>
              <p:cNvGrpSpPr/>
              <p:nvPr/>
            </p:nvGrpSpPr>
            <p:grpSpPr>
              <a:xfrm>
                <a:off x="8744488" y="1298666"/>
                <a:ext cx="1510909" cy="1184304"/>
                <a:chOff x="1112168" y="3510486"/>
                <a:chExt cx="1510909" cy="1184304"/>
              </a:xfrm>
            </p:grpSpPr>
            <p:grpSp>
              <p:nvGrpSpPr>
                <p:cNvPr id="37" name="íŝlîḑê">
                  <a:extLst>
                    <a:ext uri="{FF2B5EF4-FFF2-40B4-BE49-F238E27FC236}">
                      <a16:creationId xmlns:a16="http://schemas.microsoft.com/office/drawing/2014/main" id="{982057F6-BC3C-4F5C-B190-062514312216}"/>
                    </a:ext>
                  </a:extLst>
                </p:cNvPr>
                <p:cNvGrpSpPr/>
                <p:nvPr/>
              </p:nvGrpSpPr>
              <p:grpSpPr>
                <a:xfrm>
                  <a:off x="1112168" y="3510486"/>
                  <a:ext cx="1510909" cy="1055688"/>
                  <a:chOff x="2144713" y="2039938"/>
                  <a:chExt cx="1511300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41" name="iṣḻíḓê">
                    <a:extLst>
                      <a:ext uri="{FF2B5EF4-FFF2-40B4-BE49-F238E27FC236}">
                        <a16:creationId xmlns:a16="http://schemas.microsoft.com/office/drawing/2014/main" id="{C82A97E2-9D27-4C50-9B0A-DD3F38A85767}"/>
                      </a:ext>
                    </a:extLst>
                  </p:cNvPr>
                  <p:cNvSpPr/>
                  <p:nvPr/>
                </p:nvSpPr>
                <p:spPr>
                  <a:xfrm>
                    <a:off x="2603500" y="2039938"/>
                    <a:ext cx="274638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2" name="ïšḷîḍê">
                    <a:extLst>
                      <a:ext uri="{FF2B5EF4-FFF2-40B4-BE49-F238E27FC236}">
                        <a16:creationId xmlns:a16="http://schemas.microsoft.com/office/drawing/2014/main" id="{EC652E0B-E461-4F05-8F09-9B3F2C01E9D8}"/>
                      </a:ext>
                    </a:extLst>
                  </p:cNvPr>
                  <p:cNvSpPr/>
                  <p:nvPr/>
                </p:nvSpPr>
                <p:spPr>
                  <a:xfrm>
                    <a:off x="3141663" y="2095501"/>
                    <a:ext cx="279400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3" name="íṥ1ïďè">
                    <a:extLst>
                      <a:ext uri="{FF2B5EF4-FFF2-40B4-BE49-F238E27FC236}">
                        <a16:creationId xmlns:a16="http://schemas.microsoft.com/office/drawing/2014/main" id="{3397C951-A405-409B-BF19-A2218A363A63}"/>
                      </a:ext>
                    </a:extLst>
                  </p:cNvPr>
                  <p:cNvSpPr/>
                  <p:nvPr/>
                </p:nvSpPr>
                <p:spPr>
                  <a:xfrm>
                    <a:off x="2922588" y="2039938"/>
                    <a:ext cx="219075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4" name="íSļiḑê">
                    <a:extLst>
                      <a:ext uri="{FF2B5EF4-FFF2-40B4-BE49-F238E27FC236}">
                        <a16:creationId xmlns:a16="http://schemas.microsoft.com/office/drawing/2014/main" id="{B17E80F6-ECAD-4658-8C6B-95D4890455E9}"/>
                      </a:ext>
                    </a:extLst>
                  </p:cNvPr>
                  <p:cNvSpPr/>
                  <p:nvPr/>
                </p:nvSpPr>
                <p:spPr>
                  <a:xfrm>
                    <a:off x="3368675" y="2278063"/>
                    <a:ext cx="209550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5" name="îś1íḍè">
                    <a:extLst>
                      <a:ext uri="{FF2B5EF4-FFF2-40B4-BE49-F238E27FC236}">
                        <a16:creationId xmlns:a16="http://schemas.microsoft.com/office/drawing/2014/main" id="{C69060CC-6B90-4ECB-890B-327B0C69AF95}"/>
                      </a:ext>
                    </a:extLst>
                  </p:cNvPr>
                  <p:cNvSpPr/>
                  <p:nvPr/>
                </p:nvSpPr>
                <p:spPr>
                  <a:xfrm>
                    <a:off x="2198688" y="2278063"/>
                    <a:ext cx="233363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6" name="ïṥlîdê">
                    <a:extLst>
                      <a:ext uri="{FF2B5EF4-FFF2-40B4-BE49-F238E27FC236}">
                        <a16:creationId xmlns:a16="http://schemas.microsoft.com/office/drawing/2014/main" id="{9D6CC999-A7EF-44D6-B971-94F905F50D27}"/>
                      </a:ext>
                    </a:extLst>
                  </p:cNvPr>
                  <p:cNvSpPr/>
                  <p:nvPr/>
                </p:nvSpPr>
                <p:spPr>
                  <a:xfrm>
                    <a:off x="2381250" y="2119313"/>
                    <a:ext cx="23018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7" name="í$ľidé">
                    <a:extLst>
                      <a:ext uri="{FF2B5EF4-FFF2-40B4-BE49-F238E27FC236}">
                        <a16:creationId xmlns:a16="http://schemas.microsoft.com/office/drawing/2014/main" id="{A1456EF3-2C5D-46B7-928B-344F2BF17F5C}"/>
                      </a:ext>
                    </a:extLst>
                  </p:cNvPr>
                  <p:cNvSpPr/>
                  <p:nvPr/>
                </p:nvSpPr>
                <p:spPr>
                  <a:xfrm>
                    <a:off x="2144713" y="2557463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8" name="íŝlíḋê">
                    <a:extLst>
                      <a:ext uri="{FF2B5EF4-FFF2-40B4-BE49-F238E27FC236}">
                        <a16:creationId xmlns:a16="http://schemas.microsoft.com/office/drawing/2014/main" id="{EC5D1C2B-AE33-4FC4-A997-6E318FC2A7BF}"/>
                      </a:ext>
                    </a:extLst>
                  </p:cNvPr>
                  <p:cNvSpPr/>
                  <p:nvPr/>
                </p:nvSpPr>
                <p:spPr>
                  <a:xfrm>
                    <a:off x="2144713" y="2819401"/>
                    <a:ext cx="166688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9" name="îṩḷïdé">
                    <a:extLst>
                      <a:ext uri="{FF2B5EF4-FFF2-40B4-BE49-F238E27FC236}">
                        <a16:creationId xmlns:a16="http://schemas.microsoft.com/office/drawing/2014/main" id="{4532C79B-F9CD-4C28-923A-E9ABFC4CF370}"/>
                      </a:ext>
                    </a:extLst>
                  </p:cNvPr>
                  <p:cNvSpPr/>
                  <p:nvPr/>
                </p:nvSpPr>
                <p:spPr>
                  <a:xfrm>
                    <a:off x="3490913" y="2498726"/>
                    <a:ext cx="165100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50" name="ís1iḓé">
                    <a:extLst>
                      <a:ext uri="{FF2B5EF4-FFF2-40B4-BE49-F238E27FC236}">
                        <a16:creationId xmlns:a16="http://schemas.microsoft.com/office/drawing/2014/main" id="{B050338A-F41B-4C6B-B43B-DE01BD7612BD}"/>
                      </a:ext>
                    </a:extLst>
                  </p:cNvPr>
                  <p:cNvSpPr/>
                  <p:nvPr/>
                </p:nvSpPr>
                <p:spPr>
                  <a:xfrm>
                    <a:off x="3508375" y="2819401"/>
                    <a:ext cx="147638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38" name="îśľíḓê">
                  <a:extLst>
                    <a:ext uri="{FF2B5EF4-FFF2-40B4-BE49-F238E27FC236}">
                      <a16:creationId xmlns:a16="http://schemas.microsoft.com/office/drawing/2014/main" id="{F2ECE4EB-F01E-42A5-8D01-A7D8FDBBE697}"/>
                    </a:ext>
                  </a:extLst>
                </p:cNvPr>
                <p:cNvGrpSpPr/>
                <p:nvPr/>
              </p:nvGrpSpPr>
              <p:grpSpPr>
                <a:xfrm rot="463676">
                  <a:off x="1694912" y="4032975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39" name="îŝľiḍê">
                    <a:extLst>
                      <a:ext uri="{FF2B5EF4-FFF2-40B4-BE49-F238E27FC236}">
                        <a16:creationId xmlns:a16="http://schemas.microsoft.com/office/drawing/2014/main" id="{FDD88356-053F-4AB2-9631-361B8CEEB34C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40" name="iṡḻiḓê">
                    <a:extLst>
                      <a:ext uri="{FF2B5EF4-FFF2-40B4-BE49-F238E27FC236}">
                        <a16:creationId xmlns:a16="http://schemas.microsoft.com/office/drawing/2014/main" id="{B8A560B9-75B7-4ABD-B6A3-AF063EFE9543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36" name="íś1íďê">
                <a:extLst>
                  <a:ext uri="{FF2B5EF4-FFF2-40B4-BE49-F238E27FC236}">
                    <a16:creationId xmlns:a16="http://schemas.microsoft.com/office/drawing/2014/main" id="{D7EC541C-146F-41FE-BFB5-580F6CC6BE1E}"/>
                  </a:ext>
                </a:extLst>
              </p:cNvPr>
              <p:cNvSpPr/>
              <p:nvPr/>
            </p:nvSpPr>
            <p:spPr bwMode="auto">
              <a:xfrm>
                <a:off x="8415128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16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îSľîḋê">
              <a:extLst>
                <a:ext uri="{FF2B5EF4-FFF2-40B4-BE49-F238E27FC236}">
                  <a16:creationId xmlns:a16="http://schemas.microsoft.com/office/drawing/2014/main" id="{9827F00E-8145-4713-8AB1-484ED3A1E16F}"/>
                </a:ext>
              </a:extLst>
            </p:cNvPr>
            <p:cNvSpPr/>
            <p:nvPr/>
          </p:nvSpPr>
          <p:spPr bwMode="auto">
            <a:xfrm>
              <a:off x="673100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" name="ïśľïḍê">
              <a:extLst>
                <a:ext uri="{FF2B5EF4-FFF2-40B4-BE49-F238E27FC236}">
                  <a16:creationId xmlns:a16="http://schemas.microsoft.com/office/drawing/2014/main" id="{7AFDE116-5166-4311-81C8-A9DAC68DB44F}"/>
                </a:ext>
              </a:extLst>
            </p:cNvPr>
            <p:cNvSpPr txBox="1"/>
            <p:nvPr/>
          </p:nvSpPr>
          <p:spPr bwMode="auto">
            <a:xfrm>
              <a:off x="673100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grpSp>
          <p:nvGrpSpPr>
            <p:cNvPr id="11" name="išḻíḓè">
              <a:extLst>
                <a:ext uri="{FF2B5EF4-FFF2-40B4-BE49-F238E27FC236}">
                  <a16:creationId xmlns:a16="http://schemas.microsoft.com/office/drawing/2014/main" id="{5796C050-5D61-4EC6-BC17-2981403F3C93}"/>
                </a:ext>
              </a:extLst>
            </p:cNvPr>
            <p:cNvGrpSpPr/>
            <p:nvPr/>
          </p:nvGrpSpPr>
          <p:grpSpPr>
            <a:xfrm>
              <a:off x="5011190" y="1298666"/>
              <a:ext cx="2169621" cy="2177590"/>
              <a:chOff x="5011189" y="1298666"/>
              <a:chExt cx="2169621" cy="2177590"/>
            </a:xfrm>
          </p:grpSpPr>
          <p:grpSp>
            <p:nvGrpSpPr>
              <p:cNvPr id="19" name="íṥḻïḓê">
                <a:extLst>
                  <a:ext uri="{FF2B5EF4-FFF2-40B4-BE49-F238E27FC236}">
                    <a16:creationId xmlns:a16="http://schemas.microsoft.com/office/drawing/2014/main" id="{A2E0FA34-1192-4993-905D-D0514EC55D63}"/>
                  </a:ext>
                </a:extLst>
              </p:cNvPr>
              <p:cNvGrpSpPr/>
              <p:nvPr/>
            </p:nvGrpSpPr>
            <p:grpSpPr>
              <a:xfrm>
                <a:off x="5340546" y="1298666"/>
                <a:ext cx="1510907" cy="1055688"/>
                <a:chOff x="1112165" y="1916231"/>
                <a:chExt cx="1510907" cy="1055688"/>
              </a:xfrm>
            </p:grpSpPr>
            <p:grpSp>
              <p:nvGrpSpPr>
                <p:cNvPr id="21" name="îśľiḑè">
                  <a:extLst>
                    <a:ext uri="{FF2B5EF4-FFF2-40B4-BE49-F238E27FC236}">
                      <a16:creationId xmlns:a16="http://schemas.microsoft.com/office/drawing/2014/main" id="{4F606DAB-385C-4C5B-AD3D-57DFD190870C}"/>
                    </a:ext>
                  </a:extLst>
                </p:cNvPr>
                <p:cNvGrpSpPr/>
                <p:nvPr/>
              </p:nvGrpSpPr>
              <p:grpSpPr>
                <a:xfrm>
                  <a:off x="1112165" y="1916231"/>
                  <a:ext cx="1510907" cy="1055688"/>
                  <a:chOff x="1112165" y="1916231"/>
                  <a:chExt cx="1510907" cy="1055688"/>
                </a:xfrm>
                <a:solidFill>
                  <a:schemeClr val="bg1">
                    <a:lumMod val="85000"/>
                  </a:schemeClr>
                </a:solidFill>
              </p:grpSpPr>
              <p:sp>
                <p:nvSpPr>
                  <p:cNvPr id="25" name="íṩľîḓé">
                    <a:extLst>
                      <a:ext uri="{FF2B5EF4-FFF2-40B4-BE49-F238E27FC236}">
                        <a16:creationId xmlns:a16="http://schemas.microsoft.com/office/drawing/2014/main" id="{C46D68FF-7F0E-41B3-B403-93E0E0832C69}"/>
                      </a:ext>
                    </a:extLst>
                  </p:cNvPr>
                  <p:cNvSpPr/>
                  <p:nvPr/>
                </p:nvSpPr>
                <p:spPr>
                  <a:xfrm>
                    <a:off x="1570833" y="1916231"/>
                    <a:ext cx="274567" cy="1666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5" h="94" extrusionOk="0">
                        <a:moveTo>
                          <a:pt x="27" y="94"/>
                        </a:moveTo>
                        <a:cubicBezTo>
                          <a:pt x="67" y="77"/>
                          <a:pt x="110" y="68"/>
                          <a:pt x="155" y="66"/>
                        </a:cubicBezTo>
                        <a:cubicBezTo>
                          <a:pt x="155" y="0"/>
                          <a:pt x="155" y="0"/>
                          <a:pt x="155" y="0"/>
                        </a:cubicBezTo>
                        <a:cubicBezTo>
                          <a:pt x="100" y="2"/>
                          <a:pt x="48" y="14"/>
                          <a:pt x="0" y="35"/>
                        </a:cubicBezTo>
                        <a:lnTo>
                          <a:pt x="27" y="9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700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6" name="íşļíde">
                    <a:extLst>
                      <a:ext uri="{FF2B5EF4-FFF2-40B4-BE49-F238E27FC236}">
                        <a16:creationId xmlns:a16="http://schemas.microsoft.com/office/drawing/2014/main" id="{A329E6B1-945D-495C-B86D-8A51E2E0C523}"/>
                      </a:ext>
                    </a:extLst>
                  </p:cNvPr>
                  <p:cNvSpPr/>
                  <p:nvPr/>
                </p:nvSpPr>
                <p:spPr>
                  <a:xfrm>
                    <a:off x="2108856" y="1971794"/>
                    <a:ext cx="279327" cy="2333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7" h="132" extrusionOk="0">
                        <a:moveTo>
                          <a:pt x="0" y="61"/>
                        </a:moveTo>
                        <a:cubicBezTo>
                          <a:pt x="41" y="78"/>
                          <a:pt x="79" y="102"/>
                          <a:pt x="111" y="132"/>
                        </a:cubicBezTo>
                        <a:cubicBezTo>
                          <a:pt x="157" y="85"/>
                          <a:pt x="157" y="85"/>
                          <a:pt x="157" y="85"/>
                        </a:cubicBezTo>
                        <a:cubicBezTo>
                          <a:pt x="118" y="49"/>
                          <a:pt x="73" y="20"/>
                          <a:pt x="23" y="0"/>
                        </a:cubicBezTo>
                        <a:lnTo>
                          <a:pt x="0" y="6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7" name="íś1iďê">
                    <a:extLst>
                      <a:ext uri="{FF2B5EF4-FFF2-40B4-BE49-F238E27FC236}">
                        <a16:creationId xmlns:a16="http://schemas.microsoft.com/office/drawing/2014/main" id="{603F2588-7CD7-44D7-84D9-6BB39CE67F9A}"/>
                      </a:ext>
                    </a:extLst>
                  </p:cNvPr>
                  <p:cNvSpPr/>
                  <p:nvPr/>
                </p:nvSpPr>
                <p:spPr>
                  <a:xfrm>
                    <a:off x="1889838" y="1916231"/>
                    <a:ext cx="219018" cy="149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84" extrusionOk="0">
                        <a:moveTo>
                          <a:pt x="0" y="66"/>
                        </a:moveTo>
                        <a:cubicBezTo>
                          <a:pt x="35" y="67"/>
                          <a:pt x="69" y="73"/>
                          <a:pt x="100" y="84"/>
                        </a:cubicBezTo>
                        <a:cubicBezTo>
                          <a:pt x="123" y="22"/>
                          <a:pt x="123" y="22"/>
                          <a:pt x="123" y="22"/>
                        </a:cubicBezTo>
                        <a:cubicBezTo>
                          <a:pt x="84" y="9"/>
                          <a:pt x="43" y="2"/>
                          <a:pt x="0" y="0"/>
                        </a:cubicBezTo>
                        <a:lnTo>
                          <a:pt x="0" y="6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47500" lnSpcReduction="2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8" name="ïSļîďè">
                    <a:extLst>
                      <a:ext uri="{FF2B5EF4-FFF2-40B4-BE49-F238E27FC236}">
                        <a16:creationId xmlns:a16="http://schemas.microsoft.com/office/drawing/2014/main" id="{4F8D9135-EA0A-42A8-A4D9-68EB83C537FC}"/>
                      </a:ext>
                    </a:extLst>
                  </p:cNvPr>
                  <p:cNvSpPr/>
                  <p:nvPr/>
                </p:nvSpPr>
                <p:spPr>
                  <a:xfrm>
                    <a:off x="2335809" y="2154356"/>
                    <a:ext cx="209496" cy="2301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8" h="130" extrusionOk="0">
                        <a:moveTo>
                          <a:pt x="46" y="0"/>
                        </a:move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3" y="71"/>
                          <a:pt x="43" y="99"/>
                          <a:pt x="58" y="130"/>
                        </a:cubicBezTo>
                        <a:cubicBezTo>
                          <a:pt x="118" y="102"/>
                          <a:pt x="118" y="102"/>
                          <a:pt x="118" y="102"/>
                        </a:cubicBezTo>
                        <a:cubicBezTo>
                          <a:pt x="99" y="65"/>
                          <a:pt x="75" y="30"/>
                          <a:pt x="4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9" name="ïŝľîḋê">
                    <a:extLst>
                      <a:ext uri="{FF2B5EF4-FFF2-40B4-BE49-F238E27FC236}">
                        <a16:creationId xmlns:a16="http://schemas.microsoft.com/office/drawing/2014/main" id="{98840CFE-030D-42F9-9CAC-0EDA5E4316DE}"/>
                      </a:ext>
                    </a:extLst>
                  </p:cNvPr>
                  <p:cNvSpPr/>
                  <p:nvPr/>
                </p:nvSpPr>
                <p:spPr>
                  <a:xfrm>
                    <a:off x="1166126" y="2154356"/>
                    <a:ext cx="233302" cy="2794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2" h="157" extrusionOk="0">
                        <a:moveTo>
                          <a:pt x="62" y="157"/>
                        </a:moveTo>
                        <a:cubicBezTo>
                          <a:pt x="78" y="115"/>
                          <a:pt x="103" y="78"/>
                          <a:pt x="132" y="46"/>
                        </a:cubicBezTo>
                        <a:cubicBezTo>
                          <a:pt x="86" y="0"/>
                          <a:pt x="86" y="0"/>
                          <a:pt x="86" y="0"/>
                        </a:cubicBezTo>
                        <a:cubicBezTo>
                          <a:pt x="49" y="38"/>
                          <a:pt x="20" y="84"/>
                          <a:pt x="0" y="134"/>
                        </a:cubicBezTo>
                        <a:lnTo>
                          <a:pt x="62" y="15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0" name="îṧļïḍê">
                    <a:extLst>
                      <a:ext uri="{FF2B5EF4-FFF2-40B4-BE49-F238E27FC236}">
                        <a16:creationId xmlns:a16="http://schemas.microsoft.com/office/drawing/2014/main" id="{EDF2838A-BCE8-48BA-A1F8-3CBE8AF96FF0}"/>
                      </a:ext>
                    </a:extLst>
                  </p:cNvPr>
                  <p:cNvSpPr/>
                  <p:nvPr/>
                </p:nvSpPr>
                <p:spPr>
                  <a:xfrm>
                    <a:off x="1348640" y="1995606"/>
                    <a:ext cx="230128" cy="2095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" h="118" extrusionOk="0">
                        <a:moveTo>
                          <a:pt x="47" y="118"/>
                        </a:moveTo>
                        <a:cubicBezTo>
                          <a:pt x="72" y="95"/>
                          <a:pt x="100" y="75"/>
                          <a:pt x="130" y="60"/>
                        </a:cubicBezTo>
                        <a:cubicBezTo>
                          <a:pt x="103" y="0"/>
                          <a:pt x="103" y="0"/>
                          <a:pt x="103" y="0"/>
                        </a:cubicBezTo>
                        <a:cubicBezTo>
                          <a:pt x="65" y="19"/>
                          <a:pt x="31" y="43"/>
                          <a:pt x="0" y="71"/>
                        </a:cubicBezTo>
                        <a:lnTo>
                          <a:pt x="47" y="11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fontScale="92500"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1" name="íṥ1ídé">
                    <a:extLst>
                      <a:ext uri="{FF2B5EF4-FFF2-40B4-BE49-F238E27FC236}">
                        <a16:creationId xmlns:a16="http://schemas.microsoft.com/office/drawing/2014/main" id="{79D300B0-8B5C-445D-9E83-7FC33C5A8717}"/>
                      </a:ext>
                    </a:extLst>
                  </p:cNvPr>
                  <p:cNvSpPr/>
                  <p:nvPr/>
                </p:nvSpPr>
                <p:spPr>
                  <a:xfrm>
                    <a:off x="1112165" y="2433756"/>
                    <a:ext cx="147600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3" extrusionOk="0">
                        <a:moveTo>
                          <a:pt x="66" y="123"/>
                        </a:moveTo>
                        <a:cubicBezTo>
                          <a:pt x="67" y="88"/>
                          <a:pt x="73" y="54"/>
                          <a:pt x="83" y="23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9" y="39"/>
                          <a:pt x="1" y="80"/>
                          <a:pt x="0" y="123"/>
                        </a:cubicBezTo>
                        <a:lnTo>
                          <a:pt x="66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2" name="ïšľïḑè">
                    <a:extLst>
                      <a:ext uri="{FF2B5EF4-FFF2-40B4-BE49-F238E27FC236}">
                        <a16:creationId xmlns:a16="http://schemas.microsoft.com/office/drawing/2014/main" id="{B5D33D98-33AD-40B5-8731-643970386E45}"/>
                      </a:ext>
                    </a:extLst>
                  </p:cNvPr>
                  <p:cNvSpPr/>
                  <p:nvPr/>
                </p:nvSpPr>
                <p:spPr>
                  <a:xfrm>
                    <a:off x="1112165" y="2695694"/>
                    <a:ext cx="166645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" h="155" extrusionOk="0">
                        <a:moveTo>
                          <a:pt x="0" y="0"/>
                        </a:moveTo>
                        <a:cubicBezTo>
                          <a:pt x="1" y="55"/>
                          <a:pt x="13" y="107"/>
                          <a:pt x="34" y="155"/>
                        </a:cubicBezTo>
                        <a:cubicBezTo>
                          <a:pt x="94" y="127"/>
                          <a:pt x="94" y="127"/>
                          <a:pt x="94" y="127"/>
                        </a:cubicBezTo>
                        <a:cubicBezTo>
                          <a:pt x="77" y="88"/>
                          <a:pt x="67" y="45"/>
                          <a:pt x="66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3" name="îṡľíḍé">
                    <a:extLst>
                      <a:ext uri="{FF2B5EF4-FFF2-40B4-BE49-F238E27FC236}">
                        <a16:creationId xmlns:a16="http://schemas.microsoft.com/office/drawing/2014/main" id="{5CB60169-EAAF-42E1-8D08-CE6E393DE75B}"/>
                      </a:ext>
                    </a:extLst>
                  </p:cNvPr>
                  <p:cNvSpPr/>
                  <p:nvPr/>
                </p:nvSpPr>
                <p:spPr>
                  <a:xfrm>
                    <a:off x="2458015" y="2375019"/>
                    <a:ext cx="165057" cy="276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" h="156" extrusionOk="0">
                        <a:moveTo>
                          <a:pt x="93" y="156"/>
                        </a:moveTo>
                        <a:cubicBezTo>
                          <a:pt x="92" y="101"/>
                          <a:pt x="80" y="48"/>
                          <a:pt x="59" y="0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16" y="68"/>
                          <a:pt x="26" y="111"/>
                          <a:pt x="28" y="156"/>
                        </a:cubicBezTo>
                        <a:lnTo>
                          <a:pt x="93" y="15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34" name="ïšļiḑe">
                    <a:extLst>
                      <a:ext uri="{FF2B5EF4-FFF2-40B4-BE49-F238E27FC236}">
                        <a16:creationId xmlns:a16="http://schemas.microsoft.com/office/drawing/2014/main" id="{DE55427D-250C-43C7-869A-54C252862C5F}"/>
                      </a:ext>
                    </a:extLst>
                  </p:cNvPr>
                  <p:cNvSpPr/>
                  <p:nvPr/>
                </p:nvSpPr>
                <p:spPr>
                  <a:xfrm>
                    <a:off x="2475472" y="2695694"/>
                    <a:ext cx="147600" cy="21748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3" h="122" extrusionOk="0">
                        <a:moveTo>
                          <a:pt x="18" y="0"/>
                        </a:moveTo>
                        <a:cubicBezTo>
                          <a:pt x="17" y="34"/>
                          <a:pt x="10" y="68"/>
                          <a:pt x="0" y="100"/>
                        </a:cubicBezTo>
                        <a:cubicBezTo>
                          <a:pt x="62" y="122"/>
                          <a:pt x="62" y="122"/>
                          <a:pt x="62" y="122"/>
                        </a:cubicBezTo>
                        <a:cubicBezTo>
                          <a:pt x="75" y="84"/>
                          <a:pt x="82" y="42"/>
                          <a:pt x="8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 lnSpcReduction="10000"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  <p:grpSp>
              <p:nvGrpSpPr>
                <p:cNvPr id="22" name="íṧḷîďè">
                  <a:extLst>
                    <a:ext uri="{FF2B5EF4-FFF2-40B4-BE49-F238E27FC236}">
                      <a16:creationId xmlns:a16="http://schemas.microsoft.com/office/drawing/2014/main" id="{860E9DA4-184F-4264-9065-2513180A87D6}"/>
                    </a:ext>
                  </a:extLst>
                </p:cNvPr>
                <p:cNvGrpSpPr/>
                <p:nvPr/>
              </p:nvGrpSpPr>
              <p:grpSpPr>
                <a:xfrm rot="-1489316">
                  <a:off x="1566779" y="2279879"/>
                  <a:ext cx="646113" cy="661815"/>
                  <a:chOff x="2724150" y="2305051"/>
                  <a:chExt cx="646113" cy="661988"/>
                </a:xfrm>
                <a:solidFill>
                  <a:schemeClr val="accent1"/>
                </a:solidFill>
              </p:grpSpPr>
              <p:sp>
                <p:nvSpPr>
                  <p:cNvPr id="23" name="îṩḻiḓè">
                    <a:extLst>
                      <a:ext uri="{FF2B5EF4-FFF2-40B4-BE49-F238E27FC236}">
                        <a16:creationId xmlns:a16="http://schemas.microsoft.com/office/drawing/2014/main" id="{E860A465-90B4-48D1-B3A6-18310253BCA0}"/>
                      </a:ext>
                    </a:extLst>
                  </p:cNvPr>
                  <p:cNvSpPr/>
                  <p:nvPr/>
                </p:nvSpPr>
                <p:spPr>
                  <a:xfrm>
                    <a:off x="2724150" y="2644776"/>
                    <a:ext cx="325438" cy="3222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3" h="182" extrusionOk="0">
                        <a:moveTo>
                          <a:pt x="180" y="76"/>
                        </a:moveTo>
                        <a:cubicBezTo>
                          <a:pt x="183" y="101"/>
                          <a:pt x="175" y="128"/>
                          <a:pt x="157" y="147"/>
                        </a:cubicBezTo>
                        <a:cubicBezTo>
                          <a:pt x="124" y="181"/>
                          <a:pt x="69" y="182"/>
                          <a:pt x="35" y="150"/>
                        </a:cubicBezTo>
                        <a:cubicBezTo>
                          <a:pt x="1" y="117"/>
                          <a:pt x="0" y="62"/>
                          <a:pt x="33" y="28"/>
                        </a:cubicBezTo>
                        <a:cubicBezTo>
                          <a:pt x="52" y="9"/>
                          <a:pt x="78" y="0"/>
                          <a:pt x="103" y="3"/>
                        </a:cubicBezTo>
                        <a:cubicBezTo>
                          <a:pt x="61" y="39"/>
                          <a:pt x="61" y="39"/>
                          <a:pt x="61" y="39"/>
                        </a:cubicBezTo>
                        <a:cubicBezTo>
                          <a:pt x="42" y="55"/>
                          <a:pt x="37" y="74"/>
                          <a:pt x="39" y="92"/>
                        </a:cubicBezTo>
                        <a:cubicBezTo>
                          <a:pt x="40" y="105"/>
                          <a:pt x="46" y="118"/>
                          <a:pt x="56" y="128"/>
                        </a:cubicBezTo>
                        <a:cubicBezTo>
                          <a:pt x="67" y="138"/>
                          <a:pt x="80" y="143"/>
                          <a:pt x="94" y="143"/>
                        </a:cubicBezTo>
                        <a:cubicBezTo>
                          <a:pt x="111" y="145"/>
                          <a:pt x="130" y="139"/>
                          <a:pt x="145" y="120"/>
                        </a:cubicBezTo>
                        <a:cubicBezTo>
                          <a:pt x="180" y="76"/>
                          <a:pt x="180" y="76"/>
                          <a:pt x="180" y="7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  <p:sp>
                <p:nvSpPr>
                  <p:cNvPr id="24" name="ïṥḻïḑe">
                    <a:extLst>
                      <a:ext uri="{FF2B5EF4-FFF2-40B4-BE49-F238E27FC236}">
                        <a16:creationId xmlns:a16="http://schemas.microsoft.com/office/drawing/2014/main" id="{13685B26-76A9-45CF-A5FB-F69B827E4BE2}"/>
                      </a:ext>
                    </a:extLst>
                  </p:cNvPr>
                  <p:cNvSpPr/>
                  <p:nvPr/>
                </p:nvSpPr>
                <p:spPr>
                  <a:xfrm>
                    <a:off x="2765425" y="2305051"/>
                    <a:ext cx="604838" cy="6207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1" h="350" extrusionOk="0">
                        <a:moveTo>
                          <a:pt x="341" y="11"/>
                        </a:moveTo>
                        <a:cubicBezTo>
                          <a:pt x="247" y="128"/>
                          <a:pt x="247" y="128"/>
                          <a:pt x="247" y="128"/>
                        </a:cubicBezTo>
                        <a:cubicBezTo>
                          <a:pt x="109" y="300"/>
                          <a:pt x="109" y="300"/>
                          <a:pt x="109" y="300"/>
                        </a:cubicBezTo>
                        <a:cubicBezTo>
                          <a:pt x="70" y="350"/>
                          <a:pt x="0" y="284"/>
                          <a:pt x="49" y="242"/>
                        </a:cubicBezTo>
                        <a:cubicBezTo>
                          <a:pt x="216" y="99"/>
                          <a:pt x="216" y="99"/>
                          <a:pt x="216" y="99"/>
                        </a:cubicBezTo>
                        <a:cubicBezTo>
                          <a:pt x="330" y="0"/>
                          <a:pt x="330" y="0"/>
                          <a:pt x="330" y="0"/>
                        </a:cubicBezTo>
                        <a:cubicBezTo>
                          <a:pt x="341" y="11"/>
                          <a:pt x="341" y="11"/>
                          <a:pt x="341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91440" tIns="45720" rIns="91440" bIns="45720" anchor="t" anchorCtr="0">
                    <a:norm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900">
                      <a:solidFill>
                        <a:schemeClr val="dk1"/>
                      </a:solidFill>
                    </a:endParaRPr>
                  </a:p>
                </p:txBody>
              </p:sp>
            </p:grpSp>
          </p:grpSp>
          <p:sp>
            <p:nvSpPr>
              <p:cNvPr id="20" name="ï$1ïďê">
                <a:extLst>
                  <a:ext uri="{FF2B5EF4-FFF2-40B4-BE49-F238E27FC236}">
                    <a16:creationId xmlns:a16="http://schemas.microsoft.com/office/drawing/2014/main" id="{C93C3B74-D126-4A70-8F36-B7F4816D8BA3}"/>
                  </a:ext>
                </a:extLst>
              </p:cNvPr>
              <p:cNvSpPr/>
              <p:nvPr/>
            </p:nvSpPr>
            <p:spPr bwMode="auto">
              <a:xfrm>
                <a:off x="5011189" y="2781300"/>
                <a:ext cx="2169621" cy="69495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2000" b="1" i="1" dirty="0">
                    <a:solidFill>
                      <a:schemeClr val="bg1"/>
                    </a:solidFill>
                  </a:rPr>
                  <a:t>120 km</a:t>
                </a:r>
                <a:r>
                  <a:rPr lang="en-US" altLang="zh-CN" sz="2000" b="1" i="1" dirty="0">
                    <a:solidFill>
                      <a:schemeClr val="bg1"/>
                    </a:solidFill>
                  </a:rPr>
                  <a:t>/h</a:t>
                </a:r>
                <a:endParaRPr lang="en-US" sz="2000" b="1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îsľïdé">
              <a:extLst>
                <a:ext uri="{FF2B5EF4-FFF2-40B4-BE49-F238E27FC236}">
                  <a16:creationId xmlns:a16="http://schemas.microsoft.com/office/drawing/2014/main" id="{038FC6B2-31FE-4DB7-A1B6-5FCDF0A46ED1}"/>
                </a:ext>
              </a:extLst>
            </p:cNvPr>
            <p:cNvSpPr/>
            <p:nvPr/>
          </p:nvSpPr>
          <p:spPr bwMode="auto">
            <a:xfrm>
              <a:off x="4582998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íṡ1iďe">
              <a:extLst>
                <a:ext uri="{FF2B5EF4-FFF2-40B4-BE49-F238E27FC236}">
                  <a16:creationId xmlns:a16="http://schemas.microsoft.com/office/drawing/2014/main" id="{F6806D8F-5159-44B4-987E-028A448ADD7C}"/>
                </a:ext>
              </a:extLst>
            </p:cNvPr>
            <p:cNvSpPr txBox="1"/>
            <p:nvPr/>
          </p:nvSpPr>
          <p:spPr bwMode="auto">
            <a:xfrm>
              <a:off x="4582998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4" name="ïṡḻide">
              <a:extLst>
                <a:ext uri="{FF2B5EF4-FFF2-40B4-BE49-F238E27FC236}">
                  <a16:creationId xmlns:a16="http://schemas.microsoft.com/office/drawing/2014/main" id="{090CD17C-0B02-4439-9DCE-26929461CA2A}"/>
                </a:ext>
              </a:extLst>
            </p:cNvPr>
            <p:cNvSpPr/>
            <p:nvPr/>
          </p:nvSpPr>
          <p:spPr bwMode="auto">
            <a:xfrm>
              <a:off x="8492896" y="4256567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íṥļiḑê">
              <a:extLst>
                <a:ext uri="{FF2B5EF4-FFF2-40B4-BE49-F238E27FC236}">
                  <a16:creationId xmlns:a16="http://schemas.microsoft.com/office/drawing/2014/main" id="{81F3937B-97AC-42DA-9F37-60CE25A642D0}"/>
                </a:ext>
              </a:extLst>
            </p:cNvPr>
            <p:cNvSpPr txBox="1"/>
            <p:nvPr/>
          </p:nvSpPr>
          <p:spPr bwMode="auto">
            <a:xfrm>
              <a:off x="8492896" y="3649662"/>
              <a:ext cx="302600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6" name="îşlîdè">
              <a:extLst>
                <a:ext uri="{FF2B5EF4-FFF2-40B4-BE49-F238E27FC236}">
                  <a16:creationId xmlns:a16="http://schemas.microsoft.com/office/drawing/2014/main" id="{E1CFA625-0317-4FE3-9DD1-20162C831ED6}"/>
                </a:ext>
              </a:extLst>
            </p:cNvPr>
            <p:cNvSpPr/>
            <p:nvPr/>
          </p:nvSpPr>
          <p:spPr bwMode="auto">
            <a:xfrm>
              <a:off x="673100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" name="ïṩḻidé">
              <a:extLst>
                <a:ext uri="{FF2B5EF4-FFF2-40B4-BE49-F238E27FC236}">
                  <a16:creationId xmlns:a16="http://schemas.microsoft.com/office/drawing/2014/main" id="{227D3F7E-F1F2-4D2F-9E17-0617520D2EB1}"/>
                </a:ext>
              </a:extLst>
            </p:cNvPr>
            <p:cNvSpPr/>
            <p:nvPr/>
          </p:nvSpPr>
          <p:spPr bwMode="auto">
            <a:xfrm>
              <a:off x="4582998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8" name="ïṣľíďè">
              <a:extLst>
                <a:ext uri="{FF2B5EF4-FFF2-40B4-BE49-F238E27FC236}">
                  <a16:creationId xmlns:a16="http://schemas.microsoft.com/office/drawing/2014/main" id="{B39D22B3-DD0C-4751-905F-7A259A8858E9}"/>
                </a:ext>
              </a:extLst>
            </p:cNvPr>
            <p:cNvSpPr/>
            <p:nvPr/>
          </p:nvSpPr>
          <p:spPr bwMode="auto">
            <a:xfrm>
              <a:off x="8492896" y="5090335"/>
              <a:ext cx="3026004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7355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ṧ1iḍè">
            <a:extLst>
              <a:ext uri="{FF2B5EF4-FFF2-40B4-BE49-F238E27FC236}">
                <a16:creationId xmlns:a16="http://schemas.microsoft.com/office/drawing/2014/main" id="{A1CCCD36-4C39-4E3A-B506-56C675035009}"/>
              </a:ext>
            </a:extLst>
          </p:cNvPr>
          <p:cNvSpPr/>
          <p:nvPr/>
        </p:nvSpPr>
        <p:spPr bwMode="auto">
          <a:xfrm>
            <a:off x="6295230" y="2892532"/>
            <a:ext cx="2636738" cy="245689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5879" y="0"/>
                  <a:pt x="5931" y="11296"/>
                  <a:pt x="3163" y="17598"/>
                </a:cubicBezTo>
                <a:cubicBezTo>
                  <a:pt x="2360" y="19429"/>
                  <a:pt x="1260" y="20819"/>
                  <a:pt x="0" y="21600"/>
                </a:cubicBezTo>
                <a:lnTo>
                  <a:pt x="21600" y="21600"/>
                </a:lnTo>
                <a:cubicBezTo>
                  <a:pt x="20339" y="20819"/>
                  <a:pt x="19239" y="19429"/>
                  <a:pt x="18436" y="17598"/>
                </a:cubicBezTo>
                <a:cubicBezTo>
                  <a:pt x="15668" y="11296"/>
                  <a:pt x="15720" y="0"/>
                  <a:pt x="1080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9" name="iṥļîḋe">
            <a:extLst>
              <a:ext uri="{FF2B5EF4-FFF2-40B4-BE49-F238E27FC236}">
                <a16:creationId xmlns:a16="http://schemas.microsoft.com/office/drawing/2014/main" id="{52A4B7C0-58FA-4690-9FCF-C2212BA8AE76}"/>
              </a:ext>
            </a:extLst>
          </p:cNvPr>
          <p:cNvSpPr/>
          <p:nvPr/>
        </p:nvSpPr>
        <p:spPr bwMode="auto">
          <a:xfrm>
            <a:off x="8594681" y="3909004"/>
            <a:ext cx="2636738" cy="144041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5879" y="0"/>
                  <a:pt x="5931" y="11296"/>
                  <a:pt x="3163" y="17598"/>
                </a:cubicBezTo>
                <a:cubicBezTo>
                  <a:pt x="2360" y="19429"/>
                  <a:pt x="1260" y="20819"/>
                  <a:pt x="0" y="21600"/>
                </a:cubicBezTo>
                <a:lnTo>
                  <a:pt x="21600" y="21600"/>
                </a:lnTo>
                <a:cubicBezTo>
                  <a:pt x="20339" y="20819"/>
                  <a:pt x="19239" y="19429"/>
                  <a:pt x="18436" y="17598"/>
                </a:cubicBezTo>
                <a:cubicBezTo>
                  <a:pt x="15668" y="11296"/>
                  <a:pt x="15720" y="0"/>
                  <a:pt x="1080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3" name="íŝlïdè">
            <a:extLst>
              <a:ext uri="{FF2B5EF4-FFF2-40B4-BE49-F238E27FC236}">
                <a16:creationId xmlns:a16="http://schemas.microsoft.com/office/drawing/2014/main" id="{C03A4354-8828-4B2B-8F98-BA1B68F866BF}"/>
              </a:ext>
            </a:extLst>
          </p:cNvPr>
          <p:cNvSpPr/>
          <p:nvPr/>
        </p:nvSpPr>
        <p:spPr bwMode="auto">
          <a:xfrm>
            <a:off x="1717557" y="2411910"/>
            <a:ext cx="2636738" cy="293751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5879" y="0"/>
                  <a:pt x="5931" y="11296"/>
                  <a:pt x="3163" y="17598"/>
                </a:cubicBezTo>
                <a:cubicBezTo>
                  <a:pt x="2360" y="19429"/>
                  <a:pt x="1260" y="20819"/>
                  <a:pt x="0" y="21600"/>
                </a:cubicBezTo>
                <a:lnTo>
                  <a:pt x="21600" y="21600"/>
                </a:lnTo>
                <a:cubicBezTo>
                  <a:pt x="20339" y="20819"/>
                  <a:pt x="19239" y="19429"/>
                  <a:pt x="18436" y="17598"/>
                </a:cubicBezTo>
                <a:cubicBezTo>
                  <a:pt x="15668" y="11296"/>
                  <a:pt x="15720" y="0"/>
                  <a:pt x="10800" y="0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5" name="iṧlíḍé">
            <a:extLst>
              <a:ext uri="{FF2B5EF4-FFF2-40B4-BE49-F238E27FC236}">
                <a16:creationId xmlns:a16="http://schemas.microsoft.com/office/drawing/2014/main" id="{8F06E5F2-797E-48EC-A633-6C06A794BA91}"/>
              </a:ext>
            </a:extLst>
          </p:cNvPr>
          <p:cNvSpPr/>
          <p:nvPr/>
        </p:nvSpPr>
        <p:spPr bwMode="auto">
          <a:xfrm>
            <a:off x="4189634" y="4198715"/>
            <a:ext cx="2636738" cy="115070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5879" y="0"/>
                  <a:pt x="5931" y="11296"/>
                  <a:pt x="3163" y="17598"/>
                </a:cubicBezTo>
                <a:cubicBezTo>
                  <a:pt x="2360" y="19429"/>
                  <a:pt x="1260" y="20819"/>
                  <a:pt x="0" y="21600"/>
                </a:cubicBezTo>
                <a:lnTo>
                  <a:pt x="21600" y="21600"/>
                </a:lnTo>
                <a:cubicBezTo>
                  <a:pt x="20339" y="20819"/>
                  <a:pt x="19239" y="19429"/>
                  <a:pt x="18436" y="17598"/>
                </a:cubicBezTo>
                <a:cubicBezTo>
                  <a:pt x="15668" y="11296"/>
                  <a:pt x="15720" y="0"/>
                  <a:pt x="1080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2" name="îSḷiḓê">
            <a:extLst>
              <a:ext uri="{FF2B5EF4-FFF2-40B4-BE49-F238E27FC236}">
                <a16:creationId xmlns:a16="http://schemas.microsoft.com/office/drawing/2014/main" id="{3F16B810-363C-4DD9-B651-F7C66E7EE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šḻiḑè">
            <a:extLst>
              <a:ext uri="{FF2B5EF4-FFF2-40B4-BE49-F238E27FC236}">
                <a16:creationId xmlns:a16="http://schemas.microsoft.com/office/drawing/2014/main" id="{B8F68EF5-3677-40F3-AB6A-504AE71E6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şḻîďé">
            <a:extLst>
              <a:ext uri="{FF2B5EF4-FFF2-40B4-BE49-F238E27FC236}">
                <a16:creationId xmlns:a16="http://schemas.microsoft.com/office/drawing/2014/main" id="{FB194CEE-F6E9-4D9A-AE2E-D53986618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isľí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2E22449-9B91-4398-9C4D-68CB65B806E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470790" y="1579856"/>
            <a:ext cx="10006210" cy="4373981"/>
            <a:chOff x="1470790" y="1579856"/>
            <a:chExt cx="10006210" cy="4373981"/>
          </a:xfrm>
        </p:grpSpPr>
        <p:cxnSp>
          <p:nvCxnSpPr>
            <p:cNvPr id="10" name="iṥḷiḑe">
              <a:extLst>
                <a:ext uri="{FF2B5EF4-FFF2-40B4-BE49-F238E27FC236}">
                  <a16:creationId xmlns:a16="http://schemas.microsoft.com/office/drawing/2014/main" id="{AB6E12A7-4531-432B-AFEF-B0C3A8B676E4}"/>
                </a:ext>
              </a:extLst>
            </p:cNvPr>
            <p:cNvCxnSpPr/>
            <p:nvPr/>
          </p:nvCxnSpPr>
          <p:spPr>
            <a:xfrm>
              <a:off x="3034740" y="3079883"/>
              <a:ext cx="0" cy="2282018"/>
            </a:xfrm>
            <a:prstGeom prst="line">
              <a:avLst/>
            </a:prstGeom>
            <a:ln>
              <a:solidFill>
                <a:schemeClr val="bg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ïṧľîḋè">
              <a:extLst>
                <a:ext uri="{FF2B5EF4-FFF2-40B4-BE49-F238E27FC236}">
                  <a16:creationId xmlns:a16="http://schemas.microsoft.com/office/drawing/2014/main" id="{9F55ECE1-3C0A-4231-B2AA-0EFD90BB66E4}"/>
                </a:ext>
              </a:extLst>
            </p:cNvPr>
            <p:cNvCxnSpPr/>
            <p:nvPr/>
          </p:nvCxnSpPr>
          <p:spPr>
            <a:xfrm>
              <a:off x="5501356" y="4793790"/>
              <a:ext cx="0" cy="568112"/>
            </a:xfrm>
            <a:prstGeom prst="line">
              <a:avLst/>
            </a:prstGeom>
            <a:ln>
              <a:solidFill>
                <a:schemeClr val="bg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îšḻîḑè">
              <a:extLst>
                <a:ext uri="{FF2B5EF4-FFF2-40B4-BE49-F238E27FC236}">
                  <a16:creationId xmlns:a16="http://schemas.microsoft.com/office/drawing/2014/main" id="{325089BA-4133-45F9-B570-8D78FAA812B5}"/>
                </a:ext>
              </a:extLst>
            </p:cNvPr>
            <p:cNvCxnSpPr/>
            <p:nvPr/>
          </p:nvCxnSpPr>
          <p:spPr>
            <a:xfrm>
              <a:off x="7607132" y="3404353"/>
              <a:ext cx="0" cy="1957549"/>
            </a:xfrm>
            <a:prstGeom prst="line">
              <a:avLst/>
            </a:prstGeom>
            <a:ln>
              <a:solidFill>
                <a:schemeClr val="bg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iśliḑe">
              <a:extLst>
                <a:ext uri="{FF2B5EF4-FFF2-40B4-BE49-F238E27FC236}">
                  <a16:creationId xmlns:a16="http://schemas.microsoft.com/office/drawing/2014/main" id="{6DA92AEE-EDB5-4CC5-89A7-98071E6AC993}"/>
                </a:ext>
              </a:extLst>
            </p:cNvPr>
            <p:cNvCxnSpPr/>
            <p:nvPr/>
          </p:nvCxnSpPr>
          <p:spPr>
            <a:xfrm>
              <a:off x="9913050" y="4331539"/>
              <a:ext cx="0" cy="1030363"/>
            </a:xfrm>
            <a:prstGeom prst="line">
              <a:avLst/>
            </a:prstGeom>
            <a:ln>
              <a:solidFill>
                <a:schemeClr val="bg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íṣḻîde">
              <a:extLst>
                <a:ext uri="{FF2B5EF4-FFF2-40B4-BE49-F238E27FC236}">
                  <a16:creationId xmlns:a16="http://schemas.microsoft.com/office/drawing/2014/main" id="{1BD3D5DB-59D2-4602-A0F6-B3C79660E329}"/>
                </a:ext>
              </a:extLst>
            </p:cNvPr>
            <p:cNvSpPr txBox="1"/>
            <p:nvPr/>
          </p:nvSpPr>
          <p:spPr>
            <a:xfrm>
              <a:off x="2078919" y="5424375"/>
              <a:ext cx="1911642" cy="529462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de-DE" sz="1400" b="1" dirty="0"/>
                <a:t>Text here</a:t>
              </a:r>
            </a:p>
          </p:txBody>
        </p:sp>
        <p:sp>
          <p:nvSpPr>
            <p:cNvPr id="15" name="iśḻîde">
              <a:extLst>
                <a:ext uri="{FF2B5EF4-FFF2-40B4-BE49-F238E27FC236}">
                  <a16:creationId xmlns:a16="http://schemas.microsoft.com/office/drawing/2014/main" id="{85119AEF-A19F-497B-9A0E-E9F6A1231886}"/>
                </a:ext>
              </a:extLst>
            </p:cNvPr>
            <p:cNvSpPr txBox="1"/>
            <p:nvPr/>
          </p:nvSpPr>
          <p:spPr>
            <a:xfrm>
              <a:off x="4545535" y="5424375"/>
              <a:ext cx="1911642" cy="529462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de-DE" sz="1400" b="1" dirty="0"/>
                <a:t>Text here</a:t>
              </a:r>
            </a:p>
          </p:txBody>
        </p:sp>
        <p:sp>
          <p:nvSpPr>
            <p:cNvPr id="16" name="işlïdê">
              <a:extLst>
                <a:ext uri="{FF2B5EF4-FFF2-40B4-BE49-F238E27FC236}">
                  <a16:creationId xmlns:a16="http://schemas.microsoft.com/office/drawing/2014/main" id="{198F57AA-E177-479C-B3FD-221912FE1E76}"/>
                </a:ext>
              </a:extLst>
            </p:cNvPr>
            <p:cNvSpPr txBox="1"/>
            <p:nvPr/>
          </p:nvSpPr>
          <p:spPr>
            <a:xfrm>
              <a:off x="6651311" y="5424375"/>
              <a:ext cx="1911642" cy="529462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de-DE" sz="1400" b="1" dirty="0"/>
                <a:t>Text here</a:t>
              </a:r>
            </a:p>
          </p:txBody>
        </p:sp>
        <p:sp>
          <p:nvSpPr>
            <p:cNvPr id="17" name="ïṣļîde">
              <a:extLst>
                <a:ext uri="{FF2B5EF4-FFF2-40B4-BE49-F238E27FC236}">
                  <a16:creationId xmlns:a16="http://schemas.microsoft.com/office/drawing/2014/main" id="{1174CD5A-3360-4BFE-B7D1-419A8F67CC2E}"/>
                </a:ext>
              </a:extLst>
            </p:cNvPr>
            <p:cNvSpPr txBox="1"/>
            <p:nvPr/>
          </p:nvSpPr>
          <p:spPr>
            <a:xfrm>
              <a:off x="8795933" y="5424375"/>
              <a:ext cx="2261048" cy="529462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de-DE" sz="1400" b="1" dirty="0"/>
                <a:t>Text here</a:t>
              </a:r>
            </a:p>
          </p:txBody>
        </p:sp>
        <p:sp>
          <p:nvSpPr>
            <p:cNvPr id="18" name="îṣļïḍê">
              <a:extLst>
                <a:ext uri="{FF2B5EF4-FFF2-40B4-BE49-F238E27FC236}">
                  <a16:creationId xmlns:a16="http://schemas.microsoft.com/office/drawing/2014/main" id="{1D651DA5-9BA2-4AAB-85ED-28142C5CBE89}"/>
                </a:ext>
              </a:extLst>
            </p:cNvPr>
            <p:cNvSpPr txBox="1"/>
            <p:nvPr/>
          </p:nvSpPr>
          <p:spPr>
            <a:xfrm>
              <a:off x="1470790" y="1579856"/>
              <a:ext cx="312790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</a:t>
              </a:r>
            </a:p>
          </p:txBody>
        </p:sp>
        <p:sp>
          <p:nvSpPr>
            <p:cNvPr id="19" name="ïSḻîḓê">
              <a:extLst>
                <a:ext uri="{FF2B5EF4-FFF2-40B4-BE49-F238E27FC236}">
                  <a16:creationId xmlns:a16="http://schemas.microsoft.com/office/drawing/2014/main" id="{939CC625-9A06-4136-8FD5-AE281D43E9E6}"/>
                </a:ext>
              </a:extLst>
            </p:cNvPr>
            <p:cNvSpPr txBox="1"/>
            <p:nvPr/>
          </p:nvSpPr>
          <p:spPr>
            <a:xfrm>
              <a:off x="6054523" y="2230998"/>
              <a:ext cx="312790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</a:t>
              </a:r>
            </a:p>
          </p:txBody>
        </p:sp>
        <p:sp>
          <p:nvSpPr>
            <p:cNvPr id="20" name="í$ḷiḍe">
              <a:extLst>
                <a:ext uri="{FF2B5EF4-FFF2-40B4-BE49-F238E27FC236}">
                  <a16:creationId xmlns:a16="http://schemas.microsoft.com/office/drawing/2014/main" id="{226B810C-0097-451B-A51B-A594A992651E}"/>
                </a:ext>
              </a:extLst>
            </p:cNvPr>
            <p:cNvSpPr txBox="1"/>
            <p:nvPr/>
          </p:nvSpPr>
          <p:spPr>
            <a:xfrm>
              <a:off x="8349100" y="3128588"/>
              <a:ext cx="312790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</a:t>
              </a:r>
            </a:p>
          </p:txBody>
        </p:sp>
        <p:sp>
          <p:nvSpPr>
            <p:cNvPr id="21" name="íSḷîḍé">
              <a:extLst>
                <a:ext uri="{FF2B5EF4-FFF2-40B4-BE49-F238E27FC236}">
                  <a16:creationId xmlns:a16="http://schemas.microsoft.com/office/drawing/2014/main" id="{CB4E375B-9103-45FD-8CD1-65BCB9C289C4}"/>
                </a:ext>
              </a:extLst>
            </p:cNvPr>
            <p:cNvSpPr txBox="1"/>
            <p:nvPr/>
          </p:nvSpPr>
          <p:spPr>
            <a:xfrm>
              <a:off x="3944053" y="3493241"/>
              <a:ext cx="312790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</a:t>
              </a:r>
            </a:p>
          </p:txBody>
        </p:sp>
      </p:grpSp>
      <p:cxnSp>
        <p:nvCxnSpPr>
          <p:cNvPr id="31" name="iślídê">
            <a:extLst>
              <a:ext uri="{FF2B5EF4-FFF2-40B4-BE49-F238E27FC236}">
                <a16:creationId xmlns:a16="http://schemas.microsoft.com/office/drawing/2014/main" id="{0A6C10FC-F32B-4571-BB55-D8712DEF1373}"/>
              </a:ext>
            </a:extLst>
          </p:cNvPr>
          <p:cNvCxnSpPr>
            <a:cxnSpLocks/>
          </p:cNvCxnSpPr>
          <p:nvPr/>
        </p:nvCxnSpPr>
        <p:spPr>
          <a:xfrm flipH="1">
            <a:off x="692463" y="5349422"/>
            <a:ext cx="108070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917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ļï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$ḻiḓe">
            <a:extLst>
              <a:ext uri="{FF2B5EF4-FFF2-40B4-BE49-F238E27FC236}">
                <a16:creationId xmlns:a16="http://schemas.microsoft.com/office/drawing/2014/main" id="{0D6204AC-30FA-4D47-A47C-0B07356C1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ṣlíḍê">
            <a:extLst>
              <a:ext uri="{FF2B5EF4-FFF2-40B4-BE49-F238E27FC236}">
                <a16:creationId xmlns:a16="http://schemas.microsoft.com/office/drawing/2014/main" id="{933DB97B-C7F0-43FD-9B82-B489B1C38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ṣ1îdê">
            <a:extLst>
              <a:ext uri="{FF2B5EF4-FFF2-40B4-BE49-F238E27FC236}">
                <a16:creationId xmlns:a16="http://schemas.microsoft.com/office/drawing/2014/main" id="{CBDEE2DB-DB32-4AC7-A8C1-2AA85EE4F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íşli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047DEE9-97AD-486B-B5CC-26B1347DF24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6432" y="1922294"/>
            <a:ext cx="10854056" cy="2637937"/>
            <a:chOff x="666432" y="1922294"/>
            <a:chExt cx="10854056" cy="2637937"/>
          </a:xfrm>
        </p:grpSpPr>
        <p:grpSp>
          <p:nvGrpSpPr>
            <p:cNvPr id="6" name="îṩḻïdê">
              <a:extLst>
                <a:ext uri="{FF2B5EF4-FFF2-40B4-BE49-F238E27FC236}">
                  <a16:creationId xmlns:a16="http://schemas.microsoft.com/office/drawing/2014/main" id="{CEAAAD59-8715-46BF-AAB2-6FCE6D96C153}"/>
                </a:ext>
              </a:extLst>
            </p:cNvPr>
            <p:cNvGrpSpPr/>
            <p:nvPr/>
          </p:nvGrpSpPr>
          <p:grpSpPr>
            <a:xfrm>
              <a:off x="4190889" y="2297769"/>
              <a:ext cx="3810222" cy="2262462"/>
              <a:chOff x="7719397" y="1123950"/>
              <a:chExt cx="3810222" cy="2262462"/>
            </a:xfrm>
          </p:grpSpPr>
          <p:sp>
            <p:nvSpPr>
              <p:cNvPr id="13" name="íṩliḓe">
                <a:extLst>
                  <a:ext uri="{FF2B5EF4-FFF2-40B4-BE49-F238E27FC236}">
                    <a16:creationId xmlns:a16="http://schemas.microsoft.com/office/drawing/2014/main" id="{1FBFA950-E0F4-4AC7-9FA0-7D144288573E}"/>
                  </a:ext>
                </a:extLst>
              </p:cNvPr>
              <p:cNvSpPr/>
              <p:nvPr/>
            </p:nvSpPr>
            <p:spPr bwMode="auto">
              <a:xfrm>
                <a:off x="9688240" y="1192234"/>
                <a:ext cx="452948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4" name="iṩlîḑé">
                <a:extLst>
                  <a:ext uri="{FF2B5EF4-FFF2-40B4-BE49-F238E27FC236}">
                    <a16:creationId xmlns:a16="http://schemas.microsoft.com/office/drawing/2014/main" id="{2E6BD4C0-E6AD-48FF-83FE-622CD742BB45}"/>
                  </a:ext>
                </a:extLst>
              </p:cNvPr>
              <p:cNvSpPr/>
              <p:nvPr/>
            </p:nvSpPr>
            <p:spPr bwMode="auto">
              <a:xfrm>
                <a:off x="10382455" y="1192234"/>
                <a:ext cx="450671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5" name="íšḻíḍé">
                <a:extLst>
                  <a:ext uri="{FF2B5EF4-FFF2-40B4-BE49-F238E27FC236}">
                    <a16:creationId xmlns:a16="http://schemas.microsoft.com/office/drawing/2014/main" id="{AC486653-3006-4808-93B2-F55F8305AEC2}"/>
                  </a:ext>
                </a:extLst>
              </p:cNvPr>
              <p:cNvSpPr/>
              <p:nvPr/>
            </p:nvSpPr>
            <p:spPr bwMode="auto">
              <a:xfrm>
                <a:off x="11078948" y="1192234"/>
                <a:ext cx="450671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6" name="ïšḷîḑe">
                <a:extLst>
                  <a:ext uri="{FF2B5EF4-FFF2-40B4-BE49-F238E27FC236}">
                    <a16:creationId xmlns:a16="http://schemas.microsoft.com/office/drawing/2014/main" id="{72056F7C-EEC8-4CD3-9F57-E1C5696AB1CA}"/>
                  </a:ext>
                </a:extLst>
              </p:cNvPr>
              <p:cNvSpPr/>
              <p:nvPr/>
            </p:nvSpPr>
            <p:spPr bwMode="auto">
              <a:xfrm rot="1080000">
                <a:off x="9032718" y="1123950"/>
                <a:ext cx="450671" cy="2164588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7" name="íṩľïḋe">
                <a:extLst>
                  <a:ext uri="{FF2B5EF4-FFF2-40B4-BE49-F238E27FC236}">
                    <a16:creationId xmlns:a16="http://schemas.microsoft.com/office/drawing/2014/main" id="{6F77D8F2-431D-4511-890E-F909A4EE3DF8}"/>
                  </a:ext>
                </a:extLst>
              </p:cNvPr>
              <p:cNvSpPr/>
              <p:nvPr/>
            </p:nvSpPr>
            <p:spPr bwMode="auto">
              <a:xfrm rot="1800000">
                <a:off x="8397680" y="1142159"/>
                <a:ext cx="450671" cy="2164588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8" name="isļídê">
                <a:extLst>
                  <a:ext uri="{FF2B5EF4-FFF2-40B4-BE49-F238E27FC236}">
                    <a16:creationId xmlns:a16="http://schemas.microsoft.com/office/drawing/2014/main" id="{EBA05214-011A-465A-BED9-C3D4FA315F9B}"/>
                  </a:ext>
                </a:extLst>
              </p:cNvPr>
              <p:cNvSpPr/>
              <p:nvPr/>
            </p:nvSpPr>
            <p:spPr bwMode="auto">
              <a:xfrm rot="2580000">
                <a:off x="7719397" y="1221824"/>
                <a:ext cx="450671" cy="2164588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  <p:cxnSp>
          <p:nvCxnSpPr>
            <p:cNvPr id="7" name="îṧḻïḑé">
              <a:extLst>
                <a:ext uri="{FF2B5EF4-FFF2-40B4-BE49-F238E27FC236}">
                  <a16:creationId xmlns:a16="http://schemas.microsoft.com/office/drawing/2014/main" id="{17C22A0F-3E43-462C-9E9A-FCA9AA225BD5}"/>
                </a:ext>
              </a:extLst>
            </p:cNvPr>
            <p:cNvCxnSpPr/>
            <p:nvPr/>
          </p:nvCxnSpPr>
          <p:spPr>
            <a:xfrm flipH="1">
              <a:off x="669925" y="4104000"/>
              <a:ext cx="284337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îṣľíḓê">
              <a:extLst>
                <a:ext uri="{FF2B5EF4-FFF2-40B4-BE49-F238E27FC236}">
                  <a16:creationId xmlns:a16="http://schemas.microsoft.com/office/drawing/2014/main" id="{F3534C19-8D06-479C-8943-B09C94209F54}"/>
                </a:ext>
              </a:extLst>
            </p:cNvPr>
            <p:cNvCxnSpPr>
              <a:cxnSpLocks/>
            </p:cNvCxnSpPr>
            <p:nvPr/>
          </p:nvCxnSpPr>
          <p:spPr>
            <a:xfrm>
              <a:off x="8001111" y="4528364"/>
              <a:ext cx="351937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iṡ1íde">
              <a:extLst>
                <a:ext uri="{FF2B5EF4-FFF2-40B4-BE49-F238E27FC236}">
                  <a16:creationId xmlns:a16="http://schemas.microsoft.com/office/drawing/2014/main" id="{7ACDC91B-6258-4C12-AD17-EA4DFF8E5172}"/>
                </a:ext>
              </a:extLst>
            </p:cNvPr>
            <p:cNvSpPr/>
            <p:nvPr/>
          </p:nvSpPr>
          <p:spPr bwMode="auto">
            <a:xfrm>
              <a:off x="666432" y="2335174"/>
              <a:ext cx="3523335" cy="1318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You can use the icon library in </a:t>
              </a:r>
              <a:r>
                <a:rPr lang="en-US" altLang="zh-CN" sz="1100" dirty="0" err="1"/>
                <a:t>iSlide</a:t>
              </a:r>
              <a:r>
                <a:rPr lang="en-US" altLang="zh-CN" sz="1100" dirty="0"/>
                <a:t>  (www.islide.cc) to filter and replace existing icon elements with one click.</a:t>
              </a:r>
            </a:p>
          </p:txBody>
        </p:sp>
        <p:sp>
          <p:nvSpPr>
            <p:cNvPr id="10" name="iŝḻiďè">
              <a:extLst>
                <a:ext uri="{FF2B5EF4-FFF2-40B4-BE49-F238E27FC236}">
                  <a16:creationId xmlns:a16="http://schemas.microsoft.com/office/drawing/2014/main" id="{DE854719-7801-43D5-BBEF-8426BE8937D1}"/>
                </a:ext>
              </a:extLst>
            </p:cNvPr>
            <p:cNvSpPr txBox="1"/>
            <p:nvPr/>
          </p:nvSpPr>
          <p:spPr bwMode="auto">
            <a:xfrm>
              <a:off x="666432" y="1922294"/>
              <a:ext cx="352333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</a:p>
          </p:txBody>
        </p:sp>
        <p:sp>
          <p:nvSpPr>
            <p:cNvPr id="11" name="ï$1iḑè">
              <a:extLst>
                <a:ext uri="{FF2B5EF4-FFF2-40B4-BE49-F238E27FC236}">
                  <a16:creationId xmlns:a16="http://schemas.microsoft.com/office/drawing/2014/main" id="{6B44A7BF-F5F6-4313-9C24-D14FCE98933A}"/>
                </a:ext>
              </a:extLst>
            </p:cNvPr>
            <p:cNvSpPr/>
            <p:nvPr/>
          </p:nvSpPr>
          <p:spPr bwMode="auto">
            <a:xfrm>
              <a:off x="7997153" y="3190316"/>
              <a:ext cx="3523335" cy="1318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 algn="r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You can use the icon library in </a:t>
              </a:r>
              <a:r>
                <a:rPr lang="en-US" altLang="zh-CN" sz="1100" dirty="0" err="1"/>
                <a:t>iSlide</a:t>
              </a:r>
              <a:r>
                <a:rPr lang="en-US" altLang="zh-CN" sz="1100" dirty="0"/>
                <a:t>  (www.islide.cc) to filter and replace existing icon elements with one click.</a:t>
              </a:r>
            </a:p>
          </p:txBody>
        </p:sp>
        <p:sp>
          <p:nvSpPr>
            <p:cNvPr id="12" name="išḷïḓé">
              <a:extLst>
                <a:ext uri="{FF2B5EF4-FFF2-40B4-BE49-F238E27FC236}">
                  <a16:creationId xmlns:a16="http://schemas.microsoft.com/office/drawing/2014/main" id="{AF219FA8-263C-453F-A124-9EA3FBD44EF6}"/>
                </a:ext>
              </a:extLst>
            </p:cNvPr>
            <p:cNvSpPr txBox="1"/>
            <p:nvPr/>
          </p:nvSpPr>
          <p:spPr bwMode="auto">
            <a:xfrm>
              <a:off x="7997153" y="2777436"/>
              <a:ext cx="352333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3414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ľ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ļîḓê">
            <a:extLst>
              <a:ext uri="{FF2B5EF4-FFF2-40B4-BE49-F238E27FC236}">
                <a16:creationId xmlns:a16="http://schemas.microsoft.com/office/drawing/2014/main" id="{473B41DE-DC13-429F-8BB4-FED374498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ŝḻíḋè">
            <a:extLst>
              <a:ext uri="{FF2B5EF4-FFF2-40B4-BE49-F238E27FC236}">
                <a16:creationId xmlns:a16="http://schemas.microsoft.com/office/drawing/2014/main" id="{19C69E7F-FEB0-402E-8B65-E6A625993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ṩḻîdè">
            <a:extLst>
              <a:ext uri="{FF2B5EF4-FFF2-40B4-BE49-F238E27FC236}">
                <a16:creationId xmlns:a16="http://schemas.microsoft.com/office/drawing/2014/main" id="{5862769C-0724-4625-9BF5-DA29FFAFD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5" name="îṥ1ïḋ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45BE76D-6FC8-4551-8397-29929F3861E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281507"/>
            <a:ext cx="10858500" cy="4372979"/>
            <a:chOff x="660400" y="1281507"/>
            <a:chExt cx="10858500" cy="4372979"/>
          </a:xfrm>
        </p:grpSpPr>
        <p:cxnSp>
          <p:nvCxnSpPr>
            <p:cNvPr id="6" name="iśļîḓe">
              <a:extLst>
                <a:ext uri="{FF2B5EF4-FFF2-40B4-BE49-F238E27FC236}">
                  <a16:creationId xmlns:a16="http://schemas.microsoft.com/office/drawing/2014/main" id="{E7E7385A-D648-4056-8ECF-46AA56F1F353}"/>
                </a:ext>
              </a:extLst>
            </p:cNvPr>
            <p:cNvCxnSpPr/>
            <p:nvPr/>
          </p:nvCxnSpPr>
          <p:spPr>
            <a:xfrm>
              <a:off x="6444324" y="5316109"/>
              <a:ext cx="5074576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ï$ḷiḑe">
              <a:extLst>
                <a:ext uri="{FF2B5EF4-FFF2-40B4-BE49-F238E27FC236}">
                  <a16:creationId xmlns:a16="http://schemas.microsoft.com/office/drawing/2014/main" id="{F80EBDF9-2244-496E-968A-5840D4DBDB4D}"/>
                </a:ext>
              </a:extLst>
            </p:cNvPr>
            <p:cNvGrpSpPr/>
            <p:nvPr/>
          </p:nvGrpSpPr>
          <p:grpSpPr>
            <a:xfrm>
              <a:off x="4046032" y="1609914"/>
              <a:ext cx="4087236" cy="4044572"/>
              <a:chOff x="4046032" y="1609914"/>
              <a:chExt cx="4087236" cy="4044572"/>
            </a:xfrm>
          </p:grpSpPr>
          <p:sp>
            <p:nvSpPr>
              <p:cNvPr id="18" name="î$ľidê">
                <a:extLst>
                  <a:ext uri="{FF2B5EF4-FFF2-40B4-BE49-F238E27FC236}">
                    <a16:creationId xmlns:a16="http://schemas.microsoft.com/office/drawing/2014/main" id="{BF1AD776-424B-49DF-921E-37522484EE2C}"/>
                  </a:ext>
                </a:extLst>
              </p:cNvPr>
              <p:cNvSpPr/>
              <p:nvPr/>
            </p:nvSpPr>
            <p:spPr bwMode="auto">
              <a:xfrm>
                <a:off x="4445370" y="1609914"/>
                <a:ext cx="2658837" cy="2732219"/>
              </a:xfrm>
              <a:custGeom>
                <a:avLst/>
                <a:gdLst>
                  <a:gd name="T0" fmla="*/ 547 w 1071"/>
                  <a:gd name="T1" fmla="*/ 0 h 1101"/>
                  <a:gd name="T2" fmla="*/ 0 w 1071"/>
                  <a:gd name="T3" fmla="*/ 547 h 1101"/>
                  <a:gd name="T4" fmla="*/ 263 w 1071"/>
                  <a:gd name="T5" fmla="*/ 1015 h 1101"/>
                  <a:gd name="T6" fmla="*/ 213 w 1071"/>
                  <a:gd name="T7" fmla="*/ 1101 h 1101"/>
                  <a:gd name="T8" fmla="*/ 604 w 1071"/>
                  <a:gd name="T9" fmla="*/ 1101 h 1101"/>
                  <a:gd name="T10" fmla="*/ 409 w 1071"/>
                  <a:gd name="T11" fmla="*/ 762 h 1101"/>
                  <a:gd name="T12" fmla="*/ 359 w 1071"/>
                  <a:gd name="T13" fmla="*/ 847 h 1101"/>
                  <a:gd name="T14" fmla="*/ 193 w 1071"/>
                  <a:gd name="T15" fmla="*/ 547 h 1101"/>
                  <a:gd name="T16" fmla="*/ 547 w 1071"/>
                  <a:gd name="T17" fmla="*/ 194 h 1101"/>
                  <a:gd name="T18" fmla="*/ 859 w 1071"/>
                  <a:gd name="T19" fmla="*/ 381 h 1101"/>
                  <a:gd name="T20" fmla="*/ 938 w 1071"/>
                  <a:gd name="T21" fmla="*/ 375 h 1101"/>
                  <a:gd name="T22" fmla="*/ 1071 w 1071"/>
                  <a:gd name="T23" fmla="*/ 390 h 1101"/>
                  <a:gd name="T24" fmla="*/ 547 w 1071"/>
                  <a:gd name="T25" fmla="*/ 0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1" h="1101">
                    <a:moveTo>
                      <a:pt x="547" y="0"/>
                    </a:moveTo>
                    <a:cubicBezTo>
                      <a:pt x="245" y="0"/>
                      <a:pt x="0" y="245"/>
                      <a:pt x="0" y="547"/>
                    </a:cubicBezTo>
                    <a:cubicBezTo>
                      <a:pt x="0" y="745"/>
                      <a:pt x="105" y="919"/>
                      <a:pt x="263" y="1015"/>
                    </a:cubicBezTo>
                    <a:cubicBezTo>
                      <a:pt x="213" y="1101"/>
                      <a:pt x="213" y="1101"/>
                      <a:pt x="213" y="1101"/>
                    </a:cubicBezTo>
                    <a:cubicBezTo>
                      <a:pt x="604" y="1101"/>
                      <a:pt x="604" y="1101"/>
                      <a:pt x="604" y="1101"/>
                    </a:cubicBezTo>
                    <a:cubicBezTo>
                      <a:pt x="409" y="762"/>
                      <a:pt x="409" y="762"/>
                      <a:pt x="409" y="762"/>
                    </a:cubicBezTo>
                    <a:cubicBezTo>
                      <a:pt x="359" y="847"/>
                      <a:pt x="359" y="847"/>
                      <a:pt x="359" y="847"/>
                    </a:cubicBezTo>
                    <a:cubicBezTo>
                      <a:pt x="260" y="785"/>
                      <a:pt x="193" y="674"/>
                      <a:pt x="193" y="547"/>
                    </a:cubicBezTo>
                    <a:cubicBezTo>
                      <a:pt x="193" y="352"/>
                      <a:pt x="352" y="194"/>
                      <a:pt x="547" y="194"/>
                    </a:cubicBezTo>
                    <a:cubicBezTo>
                      <a:pt x="682" y="194"/>
                      <a:pt x="799" y="269"/>
                      <a:pt x="859" y="381"/>
                    </a:cubicBezTo>
                    <a:cubicBezTo>
                      <a:pt x="885" y="377"/>
                      <a:pt x="911" y="375"/>
                      <a:pt x="938" y="375"/>
                    </a:cubicBezTo>
                    <a:cubicBezTo>
                      <a:pt x="984" y="375"/>
                      <a:pt x="1029" y="380"/>
                      <a:pt x="1071" y="390"/>
                    </a:cubicBezTo>
                    <a:cubicBezTo>
                      <a:pt x="1004" y="165"/>
                      <a:pt x="795" y="0"/>
                      <a:pt x="5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1200"/>
              </a:p>
            </p:txBody>
          </p:sp>
          <p:sp>
            <p:nvSpPr>
              <p:cNvPr id="19" name="íŝḷíďè">
                <a:extLst>
                  <a:ext uri="{FF2B5EF4-FFF2-40B4-BE49-F238E27FC236}">
                    <a16:creationId xmlns:a16="http://schemas.microsoft.com/office/drawing/2014/main" id="{10ABBF39-1BE6-4E49-B911-68743524AF2A}"/>
                  </a:ext>
                </a:extLst>
              </p:cNvPr>
              <p:cNvSpPr/>
              <p:nvPr/>
            </p:nvSpPr>
            <p:spPr bwMode="auto">
              <a:xfrm>
                <a:off x="5488084" y="2604844"/>
                <a:ext cx="2645184" cy="2750991"/>
              </a:xfrm>
              <a:custGeom>
                <a:avLst/>
                <a:gdLst>
                  <a:gd name="T0" fmla="*/ 518 w 1065"/>
                  <a:gd name="T1" fmla="*/ 14 h 1108"/>
                  <a:gd name="T2" fmla="*/ 245 w 1065"/>
                  <a:gd name="T3" fmla="*/ 87 h 1108"/>
                  <a:gd name="T4" fmla="*/ 195 w 1065"/>
                  <a:gd name="T5" fmla="*/ 0 h 1108"/>
                  <a:gd name="T6" fmla="*/ 0 w 1065"/>
                  <a:gd name="T7" fmla="*/ 339 h 1108"/>
                  <a:gd name="T8" fmla="*/ 391 w 1065"/>
                  <a:gd name="T9" fmla="*/ 339 h 1108"/>
                  <a:gd name="T10" fmla="*/ 342 w 1065"/>
                  <a:gd name="T11" fmla="*/ 254 h 1108"/>
                  <a:gd name="T12" fmla="*/ 518 w 1065"/>
                  <a:gd name="T13" fmla="*/ 208 h 1108"/>
                  <a:gd name="T14" fmla="*/ 872 w 1065"/>
                  <a:gd name="T15" fmla="*/ 561 h 1108"/>
                  <a:gd name="T16" fmla="*/ 518 w 1065"/>
                  <a:gd name="T17" fmla="*/ 915 h 1108"/>
                  <a:gd name="T18" fmla="*/ 505 w 1065"/>
                  <a:gd name="T19" fmla="*/ 915 h 1108"/>
                  <a:gd name="T20" fmla="*/ 385 w 1065"/>
                  <a:gd name="T21" fmla="*/ 1092 h 1108"/>
                  <a:gd name="T22" fmla="*/ 518 w 1065"/>
                  <a:gd name="T23" fmla="*/ 1108 h 1108"/>
                  <a:gd name="T24" fmla="*/ 1065 w 1065"/>
                  <a:gd name="T25" fmla="*/ 561 h 1108"/>
                  <a:gd name="T26" fmla="*/ 518 w 1065"/>
                  <a:gd name="T27" fmla="*/ 14 h 1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65" h="1108">
                    <a:moveTo>
                      <a:pt x="518" y="14"/>
                    </a:moveTo>
                    <a:cubicBezTo>
                      <a:pt x="419" y="14"/>
                      <a:pt x="326" y="41"/>
                      <a:pt x="245" y="87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391" y="339"/>
                      <a:pt x="391" y="339"/>
                      <a:pt x="391" y="339"/>
                    </a:cubicBezTo>
                    <a:cubicBezTo>
                      <a:pt x="342" y="254"/>
                      <a:pt x="342" y="254"/>
                      <a:pt x="342" y="254"/>
                    </a:cubicBezTo>
                    <a:cubicBezTo>
                      <a:pt x="394" y="225"/>
                      <a:pt x="454" y="208"/>
                      <a:pt x="518" y="208"/>
                    </a:cubicBezTo>
                    <a:cubicBezTo>
                      <a:pt x="713" y="208"/>
                      <a:pt x="872" y="366"/>
                      <a:pt x="872" y="561"/>
                    </a:cubicBezTo>
                    <a:cubicBezTo>
                      <a:pt x="872" y="757"/>
                      <a:pt x="713" y="915"/>
                      <a:pt x="518" y="915"/>
                    </a:cubicBezTo>
                    <a:cubicBezTo>
                      <a:pt x="514" y="915"/>
                      <a:pt x="509" y="915"/>
                      <a:pt x="505" y="915"/>
                    </a:cubicBezTo>
                    <a:cubicBezTo>
                      <a:pt x="476" y="981"/>
                      <a:pt x="435" y="1041"/>
                      <a:pt x="385" y="1092"/>
                    </a:cubicBezTo>
                    <a:cubicBezTo>
                      <a:pt x="428" y="1103"/>
                      <a:pt x="472" y="1108"/>
                      <a:pt x="518" y="1108"/>
                    </a:cubicBezTo>
                    <a:cubicBezTo>
                      <a:pt x="820" y="1108"/>
                      <a:pt x="1065" y="863"/>
                      <a:pt x="1065" y="561"/>
                    </a:cubicBezTo>
                    <a:cubicBezTo>
                      <a:pt x="1065" y="259"/>
                      <a:pt x="820" y="14"/>
                      <a:pt x="518" y="1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1200"/>
              </a:p>
            </p:txBody>
          </p:sp>
          <p:sp>
            <p:nvSpPr>
              <p:cNvPr id="20" name="îşḷïḍè">
                <a:extLst>
                  <a:ext uri="{FF2B5EF4-FFF2-40B4-BE49-F238E27FC236}">
                    <a16:creationId xmlns:a16="http://schemas.microsoft.com/office/drawing/2014/main" id="{8E58F9AC-6D11-4738-A892-B7F47E5F33BA}"/>
                  </a:ext>
                </a:extLst>
              </p:cNvPr>
              <p:cNvSpPr/>
              <p:nvPr/>
            </p:nvSpPr>
            <p:spPr bwMode="auto">
              <a:xfrm>
                <a:off x="4046032" y="3376214"/>
                <a:ext cx="2938715" cy="2278272"/>
              </a:xfrm>
              <a:custGeom>
                <a:avLst/>
                <a:gdLst>
                  <a:gd name="T0" fmla="*/ 1184 w 1184"/>
                  <a:gd name="T1" fmla="*/ 388 h 917"/>
                  <a:gd name="T2" fmla="*/ 988 w 1184"/>
                  <a:gd name="T3" fmla="*/ 49 h 917"/>
                  <a:gd name="T4" fmla="*/ 793 w 1184"/>
                  <a:gd name="T5" fmla="*/ 388 h 917"/>
                  <a:gd name="T6" fmla="*/ 900 w 1184"/>
                  <a:gd name="T7" fmla="*/ 388 h 917"/>
                  <a:gd name="T8" fmla="*/ 547 w 1184"/>
                  <a:gd name="T9" fmla="*/ 724 h 917"/>
                  <a:gd name="T10" fmla="*/ 193 w 1184"/>
                  <a:gd name="T11" fmla="*/ 370 h 917"/>
                  <a:gd name="T12" fmla="*/ 242 w 1184"/>
                  <a:gd name="T13" fmla="*/ 192 h 917"/>
                  <a:gd name="T14" fmla="*/ 145 w 1184"/>
                  <a:gd name="T15" fmla="*/ 0 h 917"/>
                  <a:gd name="T16" fmla="*/ 0 w 1184"/>
                  <a:gd name="T17" fmla="*/ 370 h 917"/>
                  <a:gd name="T18" fmla="*/ 547 w 1184"/>
                  <a:gd name="T19" fmla="*/ 917 h 917"/>
                  <a:gd name="T20" fmla="*/ 1094 w 1184"/>
                  <a:gd name="T21" fmla="*/ 388 h 917"/>
                  <a:gd name="T22" fmla="*/ 1184 w 1184"/>
                  <a:gd name="T23" fmla="*/ 388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4" h="917">
                    <a:moveTo>
                      <a:pt x="1184" y="388"/>
                    </a:moveTo>
                    <a:cubicBezTo>
                      <a:pt x="988" y="49"/>
                      <a:pt x="988" y="49"/>
                      <a:pt x="988" y="49"/>
                    </a:cubicBezTo>
                    <a:cubicBezTo>
                      <a:pt x="793" y="388"/>
                      <a:pt x="793" y="388"/>
                      <a:pt x="793" y="388"/>
                    </a:cubicBezTo>
                    <a:cubicBezTo>
                      <a:pt x="900" y="388"/>
                      <a:pt x="900" y="388"/>
                      <a:pt x="900" y="388"/>
                    </a:cubicBezTo>
                    <a:cubicBezTo>
                      <a:pt x="891" y="575"/>
                      <a:pt x="737" y="724"/>
                      <a:pt x="547" y="724"/>
                    </a:cubicBezTo>
                    <a:cubicBezTo>
                      <a:pt x="352" y="724"/>
                      <a:pt x="193" y="566"/>
                      <a:pt x="193" y="370"/>
                    </a:cubicBezTo>
                    <a:cubicBezTo>
                      <a:pt x="193" y="305"/>
                      <a:pt x="211" y="244"/>
                      <a:pt x="242" y="192"/>
                    </a:cubicBezTo>
                    <a:cubicBezTo>
                      <a:pt x="198" y="134"/>
                      <a:pt x="165" y="69"/>
                      <a:pt x="145" y="0"/>
                    </a:cubicBezTo>
                    <a:cubicBezTo>
                      <a:pt x="55" y="97"/>
                      <a:pt x="0" y="227"/>
                      <a:pt x="0" y="370"/>
                    </a:cubicBezTo>
                    <a:cubicBezTo>
                      <a:pt x="0" y="672"/>
                      <a:pt x="245" y="917"/>
                      <a:pt x="547" y="917"/>
                    </a:cubicBezTo>
                    <a:cubicBezTo>
                      <a:pt x="843" y="917"/>
                      <a:pt x="1085" y="682"/>
                      <a:pt x="1094" y="388"/>
                    </a:cubicBezTo>
                    <a:lnTo>
                      <a:pt x="1184" y="38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1200"/>
              </a:p>
            </p:txBody>
          </p:sp>
        </p:grpSp>
        <p:grpSp>
          <p:nvGrpSpPr>
            <p:cNvPr id="8" name="ïṣļîḍè">
              <a:extLst>
                <a:ext uri="{FF2B5EF4-FFF2-40B4-BE49-F238E27FC236}">
                  <a16:creationId xmlns:a16="http://schemas.microsoft.com/office/drawing/2014/main" id="{5924912D-DC31-4CF6-87CE-6F3BE00EC966}"/>
                </a:ext>
              </a:extLst>
            </p:cNvPr>
            <p:cNvGrpSpPr/>
            <p:nvPr/>
          </p:nvGrpSpPr>
          <p:grpSpPr>
            <a:xfrm>
              <a:off x="660400" y="3947092"/>
              <a:ext cx="3122475" cy="1276945"/>
              <a:chOff x="669925" y="2112827"/>
              <a:chExt cx="3122475" cy="1276945"/>
            </a:xfrm>
          </p:grpSpPr>
          <p:sp>
            <p:nvSpPr>
              <p:cNvPr id="16" name="íṩḻïḑe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669927" y="2554631"/>
                <a:ext cx="3122473" cy="83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6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6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7" name="îşḻîd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669925" y="2112827"/>
                <a:ext cx="312247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" name="ïśľíḑé">
              <a:extLst>
                <a:ext uri="{FF2B5EF4-FFF2-40B4-BE49-F238E27FC236}">
                  <a16:creationId xmlns:a16="http://schemas.microsoft.com/office/drawing/2014/main" id="{9D142F7A-8998-410A-8521-A9CEED588DF3}"/>
                </a:ext>
              </a:extLst>
            </p:cNvPr>
            <p:cNvGrpSpPr/>
            <p:nvPr/>
          </p:nvGrpSpPr>
          <p:grpSpPr>
            <a:xfrm>
              <a:off x="7216840" y="1281507"/>
              <a:ext cx="4302060" cy="1276945"/>
              <a:chOff x="7216840" y="1281507"/>
              <a:chExt cx="4302060" cy="1276945"/>
            </a:xfrm>
          </p:grpSpPr>
          <p:sp>
            <p:nvSpPr>
              <p:cNvPr id="14" name="iṣľiďê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7216842" y="1723311"/>
                <a:ext cx="4302057" cy="83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5" name="íšḷíḋ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7216840" y="1281507"/>
                <a:ext cx="430206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10" name="îšḷiḓé">
              <a:extLst>
                <a:ext uri="{FF2B5EF4-FFF2-40B4-BE49-F238E27FC236}">
                  <a16:creationId xmlns:a16="http://schemas.microsoft.com/office/drawing/2014/main" id="{52F48EE1-067F-444A-ABE2-6A477A7B92AE}"/>
                </a:ext>
              </a:extLst>
            </p:cNvPr>
            <p:cNvCxnSpPr/>
            <p:nvPr/>
          </p:nvCxnSpPr>
          <p:spPr>
            <a:xfrm flipV="1">
              <a:off x="7104207" y="2558452"/>
              <a:ext cx="441469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ïṣ1îḓê">
              <a:extLst>
                <a:ext uri="{FF2B5EF4-FFF2-40B4-BE49-F238E27FC236}">
                  <a16:creationId xmlns:a16="http://schemas.microsoft.com/office/drawing/2014/main" id="{19D6AB8A-7A7B-4B36-914D-5A06A59FE8D9}"/>
                </a:ext>
              </a:extLst>
            </p:cNvPr>
            <p:cNvGrpSpPr/>
            <p:nvPr/>
          </p:nvGrpSpPr>
          <p:grpSpPr>
            <a:xfrm>
              <a:off x="8245901" y="4039164"/>
              <a:ext cx="3272999" cy="1276945"/>
              <a:chOff x="8245901" y="4039164"/>
              <a:chExt cx="3272999" cy="1276945"/>
            </a:xfrm>
          </p:grpSpPr>
          <p:sp>
            <p:nvSpPr>
              <p:cNvPr id="12" name="íşḻïde">
                <a:extLst>
                  <a:ext uri="{FF2B5EF4-FFF2-40B4-BE49-F238E27FC236}">
                    <a16:creationId xmlns:a16="http://schemas.microsoft.com/office/drawing/2014/main" id="{C01E5CF9-947B-444F-980F-D2AC73F1A14F}"/>
                  </a:ext>
                </a:extLst>
              </p:cNvPr>
              <p:cNvSpPr/>
              <p:nvPr/>
            </p:nvSpPr>
            <p:spPr bwMode="auto">
              <a:xfrm>
                <a:off x="8245903" y="4480968"/>
                <a:ext cx="3272997" cy="83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" name="ïṩ1ïḍê">
                <a:extLst>
                  <a:ext uri="{FF2B5EF4-FFF2-40B4-BE49-F238E27FC236}">
                    <a16:creationId xmlns:a16="http://schemas.microsoft.com/office/drawing/2014/main" id="{1E6C4472-04E0-4414-BB88-CAA67673ABD1}"/>
                  </a:ext>
                </a:extLst>
              </p:cNvPr>
              <p:cNvSpPr txBox="1"/>
              <p:nvPr/>
            </p:nvSpPr>
            <p:spPr bwMode="auto">
              <a:xfrm>
                <a:off x="8245901" y="4039164"/>
                <a:ext cx="327299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2683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ļi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śḷïde">
            <a:extLst>
              <a:ext uri="{FF2B5EF4-FFF2-40B4-BE49-F238E27FC236}">
                <a16:creationId xmlns:a16="http://schemas.microsoft.com/office/drawing/2014/main" id="{D76E33EF-7C3B-4CF0-A531-7ACE0A1C1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ṧļïḍê">
            <a:extLst>
              <a:ext uri="{FF2B5EF4-FFF2-40B4-BE49-F238E27FC236}">
                <a16:creationId xmlns:a16="http://schemas.microsoft.com/office/drawing/2014/main" id="{EB259DA8-221F-430A-8B87-624727D42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ṣḷíḓê">
            <a:extLst>
              <a:ext uri="{FF2B5EF4-FFF2-40B4-BE49-F238E27FC236}">
                <a16:creationId xmlns:a16="http://schemas.microsoft.com/office/drawing/2014/main" id="{740A538E-1765-47B8-9CE0-DF6CBED07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25" name="ïṥḷîḍ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70C0391-3079-49EB-8B73-1EE6A4845E68}"/>
              </a:ext>
            </a:extLst>
          </p:cNvPr>
          <p:cNvGrpSpPr>
            <a:grpSpLocks noChangeAspect="1"/>
          </p:cNvGrpSpPr>
          <p:nvPr/>
        </p:nvGrpSpPr>
        <p:grpSpPr>
          <a:xfrm>
            <a:off x="1963813" y="1144066"/>
            <a:ext cx="8264374" cy="4966312"/>
            <a:chOff x="1963813" y="1144066"/>
            <a:chExt cx="8264374" cy="4966312"/>
          </a:xfrm>
        </p:grpSpPr>
        <p:grpSp>
          <p:nvGrpSpPr>
            <p:cNvPr id="126" name="ïŝľïdé">
              <a:extLst>
                <a:ext uri="{FF2B5EF4-FFF2-40B4-BE49-F238E27FC236}">
                  <a16:creationId xmlns:a16="http://schemas.microsoft.com/office/drawing/2014/main" id="{64BA8F62-0EBA-4F9B-9D30-6DE3A8454CE8}"/>
                </a:ext>
              </a:extLst>
            </p:cNvPr>
            <p:cNvGrpSpPr/>
            <p:nvPr/>
          </p:nvGrpSpPr>
          <p:grpSpPr>
            <a:xfrm>
              <a:off x="1963813" y="2397124"/>
              <a:ext cx="2463802" cy="2463802"/>
              <a:chOff x="1177988" y="1114426"/>
              <a:chExt cx="2463802" cy="2463802"/>
            </a:xfrm>
          </p:grpSpPr>
          <p:sp>
            <p:nvSpPr>
              <p:cNvPr id="147" name="iṧlíḋé">
                <a:extLst>
                  <a:ext uri="{FF2B5EF4-FFF2-40B4-BE49-F238E27FC236}">
                    <a16:creationId xmlns:a16="http://schemas.microsoft.com/office/drawing/2014/main" id="{880C6DD5-7AA4-4C88-B967-DF267F07FA04}"/>
                  </a:ext>
                </a:extLst>
              </p:cNvPr>
              <p:cNvSpPr/>
              <p:nvPr/>
            </p:nvSpPr>
            <p:spPr>
              <a:xfrm>
                <a:off x="1177988" y="1114426"/>
                <a:ext cx="2463802" cy="2463802"/>
              </a:xfrm>
              <a:prstGeom prst="ellipse">
                <a:avLst/>
              </a:prstGeom>
              <a:solidFill>
                <a:schemeClr val="accent1">
                  <a:alpha val="90000"/>
                </a:schemeClr>
              </a:solidFill>
              <a:ln w="5715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íṣḻïḓè">
                <a:extLst>
                  <a:ext uri="{FF2B5EF4-FFF2-40B4-BE49-F238E27FC236}">
                    <a16:creationId xmlns:a16="http://schemas.microsoft.com/office/drawing/2014/main" id="{A8D7331B-C748-4074-A5BB-41BC6E0B76C6}"/>
                  </a:ext>
                </a:extLst>
              </p:cNvPr>
              <p:cNvSpPr/>
              <p:nvPr/>
            </p:nvSpPr>
            <p:spPr>
              <a:xfrm>
                <a:off x="1846892" y="1928649"/>
                <a:ext cx="1087521" cy="865989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7" name="îsḻiḍê">
              <a:extLst>
                <a:ext uri="{FF2B5EF4-FFF2-40B4-BE49-F238E27FC236}">
                  <a16:creationId xmlns:a16="http://schemas.microsoft.com/office/drawing/2014/main" id="{F0909D06-FF66-4653-ABD5-F2520AA927C7}"/>
                </a:ext>
              </a:extLst>
            </p:cNvPr>
            <p:cNvGrpSpPr/>
            <p:nvPr/>
          </p:nvGrpSpPr>
          <p:grpSpPr>
            <a:xfrm>
              <a:off x="5802290" y="2397124"/>
              <a:ext cx="2463802" cy="2463802"/>
              <a:chOff x="6092802" y="1114426"/>
              <a:chExt cx="2463802" cy="2463802"/>
            </a:xfrm>
          </p:grpSpPr>
          <p:sp>
            <p:nvSpPr>
              <p:cNvPr id="145" name="ïṩľîdê">
                <a:extLst>
                  <a:ext uri="{FF2B5EF4-FFF2-40B4-BE49-F238E27FC236}">
                    <a16:creationId xmlns:a16="http://schemas.microsoft.com/office/drawing/2014/main" id="{0F8075A2-EE30-4C16-B30F-2337A6CDC6BD}"/>
                  </a:ext>
                </a:extLst>
              </p:cNvPr>
              <p:cNvSpPr/>
              <p:nvPr/>
            </p:nvSpPr>
            <p:spPr>
              <a:xfrm>
                <a:off x="6092802" y="1114426"/>
                <a:ext cx="2463802" cy="2463802"/>
              </a:xfrm>
              <a:prstGeom prst="ellipse">
                <a:avLst/>
              </a:prstGeom>
              <a:solidFill>
                <a:schemeClr val="accent1">
                  <a:alpha val="90000"/>
                </a:schemeClr>
              </a:solidFill>
              <a:ln w="5715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6" name="iŝḻïďè">
                <a:extLst>
                  <a:ext uri="{FF2B5EF4-FFF2-40B4-BE49-F238E27FC236}">
                    <a16:creationId xmlns:a16="http://schemas.microsoft.com/office/drawing/2014/main" id="{76353618-CC1D-4657-A3F0-2375E9F5177A}"/>
                  </a:ext>
                </a:extLst>
              </p:cNvPr>
              <p:cNvSpPr/>
              <p:nvPr/>
            </p:nvSpPr>
            <p:spPr>
              <a:xfrm>
                <a:off x="6822997" y="1928649"/>
                <a:ext cx="1003412" cy="835355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8" name="îsḷïḓé">
              <a:extLst>
                <a:ext uri="{FF2B5EF4-FFF2-40B4-BE49-F238E27FC236}">
                  <a16:creationId xmlns:a16="http://schemas.microsoft.com/office/drawing/2014/main" id="{4BF81E43-5751-4F93-868F-940882CD7D59}"/>
                </a:ext>
              </a:extLst>
            </p:cNvPr>
            <p:cNvGrpSpPr/>
            <p:nvPr/>
          </p:nvGrpSpPr>
          <p:grpSpPr>
            <a:xfrm>
              <a:off x="7764385" y="2397124"/>
              <a:ext cx="2463802" cy="2463802"/>
              <a:chOff x="8550210" y="1114426"/>
              <a:chExt cx="2463802" cy="2463802"/>
            </a:xfrm>
          </p:grpSpPr>
          <p:sp>
            <p:nvSpPr>
              <p:cNvPr id="143" name="îślíḋe">
                <a:extLst>
                  <a:ext uri="{FF2B5EF4-FFF2-40B4-BE49-F238E27FC236}">
                    <a16:creationId xmlns:a16="http://schemas.microsoft.com/office/drawing/2014/main" id="{41C5B673-6F8F-49CC-ADBE-99FBAD26637A}"/>
                  </a:ext>
                </a:extLst>
              </p:cNvPr>
              <p:cNvSpPr/>
              <p:nvPr/>
            </p:nvSpPr>
            <p:spPr>
              <a:xfrm>
                <a:off x="8550210" y="1114426"/>
                <a:ext cx="2463802" cy="2463802"/>
              </a:xfrm>
              <a:prstGeom prst="ellipse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  <a:ln w="5715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ï$ḷíďè">
                <a:extLst>
                  <a:ext uri="{FF2B5EF4-FFF2-40B4-BE49-F238E27FC236}">
                    <a16:creationId xmlns:a16="http://schemas.microsoft.com/office/drawing/2014/main" id="{EC87BC36-F4E5-493B-9060-9A17FA89A6ED}"/>
                  </a:ext>
                </a:extLst>
              </p:cNvPr>
              <p:cNvSpPr/>
              <p:nvPr/>
            </p:nvSpPr>
            <p:spPr>
              <a:xfrm>
                <a:off x="9324413" y="1844620"/>
                <a:ext cx="915395" cy="100341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9" name="ïṧlîďé">
              <a:extLst>
                <a:ext uri="{FF2B5EF4-FFF2-40B4-BE49-F238E27FC236}">
                  <a16:creationId xmlns:a16="http://schemas.microsoft.com/office/drawing/2014/main" id="{1D2D61B1-B194-4C13-8F85-AA15E2F3E358}"/>
                </a:ext>
              </a:extLst>
            </p:cNvPr>
            <p:cNvGrpSpPr/>
            <p:nvPr/>
          </p:nvGrpSpPr>
          <p:grpSpPr>
            <a:xfrm>
              <a:off x="3840195" y="2397124"/>
              <a:ext cx="2463802" cy="2463802"/>
              <a:chOff x="3635395" y="1114426"/>
              <a:chExt cx="2463802" cy="2463802"/>
            </a:xfrm>
          </p:grpSpPr>
          <p:sp>
            <p:nvSpPr>
              <p:cNvPr id="141" name="íṩḷíḋé">
                <a:extLst>
                  <a:ext uri="{FF2B5EF4-FFF2-40B4-BE49-F238E27FC236}">
                    <a16:creationId xmlns:a16="http://schemas.microsoft.com/office/drawing/2014/main" id="{ED62BFD8-BDD3-4B6E-AD4A-783181DC6FE5}"/>
                  </a:ext>
                </a:extLst>
              </p:cNvPr>
              <p:cNvSpPr/>
              <p:nvPr/>
            </p:nvSpPr>
            <p:spPr>
              <a:xfrm>
                <a:off x="3635395" y="1114426"/>
                <a:ext cx="2463802" cy="2463802"/>
              </a:xfrm>
              <a:prstGeom prst="ellipse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  <a:ln w="5715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îṡļîdé">
                <a:extLst>
                  <a:ext uri="{FF2B5EF4-FFF2-40B4-BE49-F238E27FC236}">
                    <a16:creationId xmlns:a16="http://schemas.microsoft.com/office/drawing/2014/main" id="{9B3F40F9-84F7-43E8-B368-E1A2B119C6CE}"/>
                  </a:ext>
                </a:extLst>
              </p:cNvPr>
              <p:cNvSpPr/>
              <p:nvPr/>
            </p:nvSpPr>
            <p:spPr>
              <a:xfrm>
                <a:off x="4365590" y="1889416"/>
                <a:ext cx="1003412" cy="913821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îṧľíḑe">
              <a:extLst>
                <a:ext uri="{FF2B5EF4-FFF2-40B4-BE49-F238E27FC236}">
                  <a16:creationId xmlns:a16="http://schemas.microsoft.com/office/drawing/2014/main" id="{FD64DA60-3B46-4262-9ED5-7D096AD08109}"/>
                </a:ext>
              </a:extLst>
            </p:cNvPr>
            <p:cNvGrpSpPr/>
            <p:nvPr/>
          </p:nvGrpSpPr>
          <p:grpSpPr>
            <a:xfrm>
              <a:off x="2020963" y="4949284"/>
              <a:ext cx="2349501" cy="1161094"/>
              <a:chOff x="1898649" y="4982530"/>
              <a:chExt cx="2349501" cy="1161094"/>
            </a:xfrm>
          </p:grpSpPr>
          <p:sp>
            <p:nvSpPr>
              <p:cNvPr id="139" name="îŝlíḑê">
                <a:extLst>
                  <a:ext uri="{FF2B5EF4-FFF2-40B4-BE49-F238E27FC236}">
                    <a16:creationId xmlns:a16="http://schemas.microsoft.com/office/drawing/2014/main" id="{C51D861C-68B9-421A-991E-CE46E4BEF699}"/>
                  </a:ext>
                </a:extLst>
              </p:cNvPr>
              <p:cNvSpPr txBox="1"/>
              <p:nvPr/>
            </p:nvSpPr>
            <p:spPr>
              <a:xfrm flipH="1">
                <a:off x="1898649" y="5429617"/>
                <a:ext cx="2349500" cy="7140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0" name="iṥḷîde">
                <a:extLst>
                  <a:ext uri="{FF2B5EF4-FFF2-40B4-BE49-F238E27FC236}">
                    <a16:creationId xmlns:a16="http://schemas.microsoft.com/office/drawing/2014/main" id="{2B37CE87-BB70-4B47-8B77-4B71F0181D25}"/>
                  </a:ext>
                </a:extLst>
              </p:cNvPr>
              <p:cNvSpPr/>
              <p:nvPr/>
            </p:nvSpPr>
            <p:spPr>
              <a:xfrm flipH="1">
                <a:off x="1898650" y="4982530"/>
                <a:ext cx="2349500" cy="447087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sp>
          <p:nvSpPr>
            <p:cNvPr id="131" name="is1iḑe">
              <a:extLst>
                <a:ext uri="{FF2B5EF4-FFF2-40B4-BE49-F238E27FC236}">
                  <a16:creationId xmlns:a16="http://schemas.microsoft.com/office/drawing/2014/main" id="{7CE02AF1-5B06-462A-9B6B-895EC529725A}"/>
                </a:ext>
              </a:extLst>
            </p:cNvPr>
            <p:cNvSpPr txBox="1"/>
            <p:nvPr/>
          </p:nvSpPr>
          <p:spPr>
            <a:xfrm flipH="1">
              <a:off x="5859441" y="5396371"/>
              <a:ext cx="2349500" cy="71400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2" name="ï$1îḓê">
              <a:extLst>
                <a:ext uri="{FF2B5EF4-FFF2-40B4-BE49-F238E27FC236}">
                  <a16:creationId xmlns:a16="http://schemas.microsoft.com/office/drawing/2014/main" id="{A216FC70-7E5F-49D0-9265-783248193704}"/>
                </a:ext>
              </a:extLst>
            </p:cNvPr>
            <p:cNvSpPr/>
            <p:nvPr/>
          </p:nvSpPr>
          <p:spPr>
            <a:xfrm flipH="1">
              <a:off x="5859441" y="4949284"/>
              <a:ext cx="2349500" cy="447087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grpSp>
          <p:nvGrpSpPr>
            <p:cNvPr id="133" name="îṩ1iďe">
              <a:extLst>
                <a:ext uri="{FF2B5EF4-FFF2-40B4-BE49-F238E27FC236}">
                  <a16:creationId xmlns:a16="http://schemas.microsoft.com/office/drawing/2014/main" id="{81A662BD-8510-4355-B098-63BB9D900C13}"/>
                </a:ext>
              </a:extLst>
            </p:cNvPr>
            <p:cNvGrpSpPr/>
            <p:nvPr/>
          </p:nvGrpSpPr>
          <p:grpSpPr>
            <a:xfrm>
              <a:off x="3897345" y="1144066"/>
              <a:ext cx="2349501" cy="1161094"/>
              <a:chOff x="1898649" y="4982530"/>
              <a:chExt cx="2349501" cy="1161094"/>
            </a:xfrm>
          </p:grpSpPr>
          <p:sp>
            <p:nvSpPr>
              <p:cNvPr id="137" name="ïṩliďè">
                <a:extLst>
                  <a:ext uri="{FF2B5EF4-FFF2-40B4-BE49-F238E27FC236}">
                    <a16:creationId xmlns:a16="http://schemas.microsoft.com/office/drawing/2014/main" id="{43EA03AC-F183-4C3B-B305-577D2CAA7A01}"/>
                  </a:ext>
                </a:extLst>
              </p:cNvPr>
              <p:cNvSpPr txBox="1"/>
              <p:nvPr/>
            </p:nvSpPr>
            <p:spPr>
              <a:xfrm flipH="1">
                <a:off x="1898649" y="5429617"/>
                <a:ext cx="2349500" cy="7140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8" name="íşḻïḍé">
                <a:extLst>
                  <a:ext uri="{FF2B5EF4-FFF2-40B4-BE49-F238E27FC236}">
                    <a16:creationId xmlns:a16="http://schemas.microsoft.com/office/drawing/2014/main" id="{98B5A685-2B47-4EA7-BDF9-5A5AF7506C8D}"/>
                  </a:ext>
                </a:extLst>
              </p:cNvPr>
              <p:cNvSpPr/>
              <p:nvPr/>
            </p:nvSpPr>
            <p:spPr>
              <a:xfrm flipH="1">
                <a:off x="1898650" y="4982530"/>
                <a:ext cx="2349500" cy="447087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grpSp>
          <p:nvGrpSpPr>
            <p:cNvPr id="134" name="ïSľíḑê">
              <a:extLst>
                <a:ext uri="{FF2B5EF4-FFF2-40B4-BE49-F238E27FC236}">
                  <a16:creationId xmlns:a16="http://schemas.microsoft.com/office/drawing/2014/main" id="{39B5D587-3D53-46DD-B95A-7C17B2E627D4}"/>
                </a:ext>
              </a:extLst>
            </p:cNvPr>
            <p:cNvGrpSpPr/>
            <p:nvPr/>
          </p:nvGrpSpPr>
          <p:grpSpPr>
            <a:xfrm>
              <a:off x="7821535" y="1144066"/>
              <a:ext cx="2349501" cy="1161094"/>
              <a:chOff x="1898649" y="4982530"/>
              <a:chExt cx="2349501" cy="1161094"/>
            </a:xfrm>
          </p:grpSpPr>
          <p:sp>
            <p:nvSpPr>
              <p:cNvPr id="135" name="íṣliḍè">
                <a:extLst>
                  <a:ext uri="{FF2B5EF4-FFF2-40B4-BE49-F238E27FC236}">
                    <a16:creationId xmlns:a16="http://schemas.microsoft.com/office/drawing/2014/main" id="{54FF4BB2-A572-4C3B-838C-ED1FE0FA597E}"/>
                  </a:ext>
                </a:extLst>
              </p:cNvPr>
              <p:cNvSpPr txBox="1"/>
              <p:nvPr/>
            </p:nvSpPr>
            <p:spPr>
              <a:xfrm flipH="1">
                <a:off x="1898649" y="5429617"/>
                <a:ext cx="2349500" cy="7140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6" name="iš1íḓe">
                <a:extLst>
                  <a:ext uri="{FF2B5EF4-FFF2-40B4-BE49-F238E27FC236}">
                    <a16:creationId xmlns:a16="http://schemas.microsoft.com/office/drawing/2014/main" id="{485F6E38-B2BA-41AE-9CAF-6CAE6D7C5FD7}"/>
                  </a:ext>
                </a:extLst>
              </p:cNvPr>
              <p:cNvSpPr/>
              <p:nvPr/>
            </p:nvSpPr>
            <p:spPr>
              <a:xfrm flipH="1">
                <a:off x="1898650" y="4982530"/>
                <a:ext cx="2349500" cy="447087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885197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ḷ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lïḑé">
            <a:extLst>
              <a:ext uri="{FF2B5EF4-FFF2-40B4-BE49-F238E27FC236}">
                <a16:creationId xmlns:a16="http://schemas.microsoft.com/office/drawing/2014/main" id="{ECC1F2B7-3837-484F-9191-E9C61795F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şḷíďé">
            <a:extLst>
              <a:ext uri="{FF2B5EF4-FFF2-40B4-BE49-F238E27FC236}">
                <a16:creationId xmlns:a16="http://schemas.microsoft.com/office/drawing/2014/main" id="{E2C04AE5-0433-4769-842B-071D6C190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ḻiḑè">
            <a:extLst>
              <a:ext uri="{FF2B5EF4-FFF2-40B4-BE49-F238E27FC236}">
                <a16:creationId xmlns:a16="http://schemas.microsoft.com/office/drawing/2014/main" id="{2D205B11-9C84-4762-B6A3-330DBCE74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iš1ï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65280A5-9F2B-48AF-81A1-29A39C2DDC7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474850"/>
            <a:ext cx="10847388" cy="4361119"/>
            <a:chOff x="673100" y="1474850"/>
            <a:chExt cx="10847388" cy="4361119"/>
          </a:xfrm>
        </p:grpSpPr>
        <p:sp>
          <p:nvSpPr>
            <p:cNvPr id="6" name="iSlîdè">
              <a:extLst>
                <a:ext uri="{FF2B5EF4-FFF2-40B4-BE49-F238E27FC236}">
                  <a16:creationId xmlns:a16="http://schemas.microsoft.com/office/drawing/2014/main" id="{2F95BD0C-3D0E-4A9D-ADED-99F47C0B199D}"/>
                </a:ext>
              </a:extLst>
            </p:cNvPr>
            <p:cNvSpPr/>
            <p:nvPr/>
          </p:nvSpPr>
          <p:spPr bwMode="auto">
            <a:xfrm flipH="1">
              <a:off x="2254651" y="1484250"/>
              <a:ext cx="2304375" cy="4318000"/>
            </a:xfrm>
            <a:custGeom>
              <a:avLst/>
              <a:gdLst>
                <a:gd name="T0" fmla="*/ 463 w 493"/>
                <a:gd name="T1" fmla="*/ 928 h 928"/>
                <a:gd name="T2" fmla="*/ 0 w 493"/>
                <a:gd name="T3" fmla="*/ 464 h 928"/>
                <a:gd name="T4" fmla="*/ 463 w 493"/>
                <a:gd name="T5" fmla="*/ 0 h 928"/>
                <a:gd name="T6" fmla="*/ 493 w 493"/>
                <a:gd name="T7" fmla="*/ 30 h 928"/>
                <a:gd name="T8" fmla="*/ 463 w 493"/>
                <a:gd name="T9" fmla="*/ 60 h 928"/>
                <a:gd name="T10" fmla="*/ 60 w 493"/>
                <a:gd name="T11" fmla="*/ 464 h 928"/>
                <a:gd name="T12" fmla="*/ 463 w 493"/>
                <a:gd name="T13" fmla="*/ 868 h 928"/>
                <a:gd name="T14" fmla="*/ 493 w 493"/>
                <a:gd name="T15" fmla="*/ 898 h 928"/>
                <a:gd name="T16" fmla="*/ 463 w 493"/>
                <a:gd name="T17" fmla="*/ 92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3" h="928">
                  <a:moveTo>
                    <a:pt x="463" y="928"/>
                  </a:moveTo>
                  <a:cubicBezTo>
                    <a:pt x="208" y="928"/>
                    <a:pt x="0" y="720"/>
                    <a:pt x="0" y="464"/>
                  </a:cubicBezTo>
                  <a:cubicBezTo>
                    <a:pt x="0" y="208"/>
                    <a:pt x="208" y="0"/>
                    <a:pt x="463" y="0"/>
                  </a:cubicBezTo>
                  <a:cubicBezTo>
                    <a:pt x="480" y="0"/>
                    <a:pt x="493" y="14"/>
                    <a:pt x="493" y="30"/>
                  </a:cubicBezTo>
                  <a:cubicBezTo>
                    <a:pt x="493" y="47"/>
                    <a:pt x="480" y="60"/>
                    <a:pt x="463" y="60"/>
                  </a:cubicBezTo>
                  <a:cubicBezTo>
                    <a:pt x="241" y="60"/>
                    <a:pt x="60" y="241"/>
                    <a:pt x="60" y="464"/>
                  </a:cubicBezTo>
                  <a:cubicBezTo>
                    <a:pt x="60" y="687"/>
                    <a:pt x="241" y="868"/>
                    <a:pt x="463" y="868"/>
                  </a:cubicBezTo>
                  <a:cubicBezTo>
                    <a:pt x="480" y="868"/>
                    <a:pt x="493" y="881"/>
                    <a:pt x="493" y="898"/>
                  </a:cubicBezTo>
                  <a:cubicBezTo>
                    <a:pt x="493" y="914"/>
                    <a:pt x="480" y="928"/>
                    <a:pt x="463" y="9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cxnSp>
          <p:nvCxnSpPr>
            <p:cNvPr id="7" name="i$ľïḍé">
              <a:extLst>
                <a:ext uri="{FF2B5EF4-FFF2-40B4-BE49-F238E27FC236}">
                  <a16:creationId xmlns:a16="http://schemas.microsoft.com/office/drawing/2014/main" id="{FEA247FC-B659-4ACD-BD6D-5AAF5C1A02A6}"/>
                </a:ext>
              </a:extLst>
            </p:cNvPr>
            <p:cNvCxnSpPr>
              <a:cxnSpLocks/>
              <a:stCxn id="16" idx="0"/>
            </p:cNvCxnSpPr>
            <p:nvPr/>
          </p:nvCxnSpPr>
          <p:spPr>
            <a:xfrm>
              <a:off x="3066448" y="1474850"/>
              <a:ext cx="845404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8" name="ïṣ1îḓè">
              <a:extLst>
                <a:ext uri="{FF2B5EF4-FFF2-40B4-BE49-F238E27FC236}">
                  <a16:creationId xmlns:a16="http://schemas.microsoft.com/office/drawing/2014/main" id="{46713D1E-E49A-4C24-8B5E-2F04EE9859BD}"/>
                </a:ext>
              </a:extLst>
            </p:cNvPr>
            <p:cNvCxnSpPr>
              <a:cxnSpLocks/>
              <a:stCxn id="17" idx="0"/>
            </p:cNvCxnSpPr>
            <p:nvPr/>
          </p:nvCxnSpPr>
          <p:spPr>
            <a:xfrm>
              <a:off x="3066448" y="5211051"/>
              <a:ext cx="8454040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9" name="îṧḻíďé">
              <a:extLst>
                <a:ext uri="{FF2B5EF4-FFF2-40B4-BE49-F238E27FC236}">
                  <a16:creationId xmlns:a16="http://schemas.microsoft.com/office/drawing/2014/main" id="{13B38DC7-84AB-4648-818E-511DD4799C67}"/>
                </a:ext>
              </a:extLst>
            </p:cNvPr>
            <p:cNvCxnSpPr>
              <a:cxnSpLocks/>
              <a:stCxn id="18" idx="0"/>
            </p:cNvCxnSpPr>
            <p:nvPr/>
          </p:nvCxnSpPr>
          <p:spPr>
            <a:xfrm>
              <a:off x="4316502" y="3965649"/>
              <a:ext cx="7203986" cy="0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10" name="íṧľíḑê">
              <a:extLst>
                <a:ext uri="{FF2B5EF4-FFF2-40B4-BE49-F238E27FC236}">
                  <a16:creationId xmlns:a16="http://schemas.microsoft.com/office/drawing/2014/main" id="{52E97B48-D955-4268-850C-0D7765CD3062}"/>
                </a:ext>
              </a:extLst>
            </p:cNvPr>
            <p:cNvCxnSpPr>
              <a:cxnSpLocks/>
              <a:stCxn id="19" idx="0"/>
            </p:cNvCxnSpPr>
            <p:nvPr/>
          </p:nvCxnSpPr>
          <p:spPr>
            <a:xfrm>
              <a:off x="4316502" y="2720249"/>
              <a:ext cx="7203986" cy="0"/>
            </a:xfrm>
            <a:prstGeom prst="line">
              <a:avLst/>
            </a:prstGeom>
            <a:noFill/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</p:cxnSp>
        <p:grpSp>
          <p:nvGrpSpPr>
            <p:cNvPr id="11" name="îSḷiḑé">
              <a:extLst>
                <a:ext uri="{FF2B5EF4-FFF2-40B4-BE49-F238E27FC236}">
                  <a16:creationId xmlns:a16="http://schemas.microsoft.com/office/drawing/2014/main" id="{B94A73A0-6FCC-4DE0-86F3-CA3EF844C6B4}"/>
                </a:ext>
              </a:extLst>
            </p:cNvPr>
            <p:cNvGrpSpPr/>
            <p:nvPr/>
          </p:nvGrpSpPr>
          <p:grpSpPr>
            <a:xfrm>
              <a:off x="7761155" y="3441137"/>
              <a:ext cx="952304" cy="616203"/>
              <a:chOff x="6349908" y="3947608"/>
              <a:chExt cx="952304" cy="616203"/>
            </a:xfrm>
          </p:grpSpPr>
          <p:sp>
            <p:nvSpPr>
              <p:cNvPr id="34" name="íṣḻíḋê">
                <a:extLst>
                  <a:ext uri="{FF2B5EF4-FFF2-40B4-BE49-F238E27FC236}">
                    <a16:creationId xmlns:a16="http://schemas.microsoft.com/office/drawing/2014/main" id="{60C10615-D303-42C8-9AF2-5DCC350A4E39}"/>
                  </a:ext>
                </a:extLst>
              </p:cNvPr>
              <p:cNvSpPr txBox="1"/>
              <p:nvPr/>
            </p:nvSpPr>
            <p:spPr>
              <a:xfrm>
                <a:off x="6349908" y="4225257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Jul-Sep</a:t>
                </a:r>
              </a:p>
            </p:txBody>
          </p:sp>
          <p:grpSp>
            <p:nvGrpSpPr>
              <p:cNvPr id="35" name="íṣḷiḋe">
                <a:extLst>
                  <a:ext uri="{FF2B5EF4-FFF2-40B4-BE49-F238E27FC236}">
                    <a16:creationId xmlns:a16="http://schemas.microsoft.com/office/drawing/2014/main" id="{A67B5E77-10C4-4CC1-9828-380CF83F311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697923" y="3947608"/>
                <a:ext cx="256271" cy="251999"/>
                <a:chOff x="314325" y="2508251"/>
                <a:chExt cx="285750" cy="280987"/>
              </a:xfrm>
              <a:solidFill>
                <a:sysClr val="window" lastClr="FFFFFF"/>
              </a:solidFill>
            </p:grpSpPr>
            <p:sp>
              <p:nvSpPr>
                <p:cNvPr id="36" name="iṩ1îḍè">
                  <a:extLst>
                    <a:ext uri="{FF2B5EF4-FFF2-40B4-BE49-F238E27FC236}">
                      <a16:creationId xmlns:a16="http://schemas.microsoft.com/office/drawing/2014/main" id="{FEDE9385-6780-4AAE-BEFE-44AFE42FD461}"/>
                    </a:ext>
                  </a:extLst>
                </p:cNvPr>
                <p:cNvSpPr/>
                <p:nvPr/>
              </p:nvSpPr>
              <p:spPr bwMode="auto">
                <a:xfrm>
                  <a:off x="314325" y="2508251"/>
                  <a:ext cx="214313" cy="195263"/>
                </a:xfrm>
                <a:custGeom>
                  <a:avLst/>
                  <a:gdLst>
                    <a:gd name="T0" fmla="*/ 383 w 674"/>
                    <a:gd name="T1" fmla="*/ 32 h 615"/>
                    <a:gd name="T2" fmla="*/ 442 w 674"/>
                    <a:gd name="T3" fmla="*/ 45 h 615"/>
                    <a:gd name="T4" fmla="*/ 495 w 674"/>
                    <a:gd name="T5" fmla="*/ 65 h 615"/>
                    <a:gd name="T6" fmla="*/ 544 w 674"/>
                    <a:gd name="T7" fmla="*/ 94 h 615"/>
                    <a:gd name="T8" fmla="*/ 583 w 674"/>
                    <a:gd name="T9" fmla="*/ 129 h 615"/>
                    <a:gd name="T10" fmla="*/ 613 w 674"/>
                    <a:gd name="T11" fmla="*/ 170 h 615"/>
                    <a:gd name="T12" fmla="*/ 635 w 674"/>
                    <a:gd name="T13" fmla="*/ 215 h 615"/>
                    <a:gd name="T14" fmla="*/ 643 w 674"/>
                    <a:gd name="T15" fmla="*/ 264 h 615"/>
                    <a:gd name="T16" fmla="*/ 672 w 674"/>
                    <a:gd name="T17" fmla="*/ 249 h 615"/>
                    <a:gd name="T18" fmla="*/ 659 w 674"/>
                    <a:gd name="T19" fmla="*/ 194 h 615"/>
                    <a:gd name="T20" fmla="*/ 633 w 674"/>
                    <a:gd name="T21" fmla="*/ 144 h 615"/>
                    <a:gd name="T22" fmla="*/ 597 w 674"/>
                    <a:gd name="T23" fmla="*/ 100 h 615"/>
                    <a:gd name="T24" fmla="*/ 551 w 674"/>
                    <a:gd name="T25" fmla="*/ 63 h 615"/>
                    <a:gd name="T26" fmla="*/ 498 w 674"/>
                    <a:gd name="T27" fmla="*/ 33 h 615"/>
                    <a:gd name="T28" fmla="*/ 437 w 674"/>
                    <a:gd name="T29" fmla="*/ 11 h 615"/>
                    <a:gd name="T30" fmla="*/ 371 w 674"/>
                    <a:gd name="T31" fmla="*/ 1 h 615"/>
                    <a:gd name="T32" fmla="*/ 303 w 674"/>
                    <a:gd name="T33" fmla="*/ 1 h 615"/>
                    <a:gd name="T34" fmla="*/ 236 w 674"/>
                    <a:gd name="T35" fmla="*/ 11 h 615"/>
                    <a:gd name="T36" fmla="*/ 177 w 674"/>
                    <a:gd name="T37" fmla="*/ 33 h 615"/>
                    <a:gd name="T38" fmla="*/ 123 w 674"/>
                    <a:gd name="T39" fmla="*/ 63 h 615"/>
                    <a:gd name="T40" fmla="*/ 77 w 674"/>
                    <a:gd name="T41" fmla="*/ 100 h 615"/>
                    <a:gd name="T42" fmla="*/ 41 w 674"/>
                    <a:gd name="T43" fmla="*/ 145 h 615"/>
                    <a:gd name="T44" fmla="*/ 15 w 674"/>
                    <a:gd name="T45" fmla="*/ 194 h 615"/>
                    <a:gd name="T46" fmla="*/ 2 w 674"/>
                    <a:gd name="T47" fmla="*/ 249 h 615"/>
                    <a:gd name="T48" fmla="*/ 1 w 674"/>
                    <a:gd name="T49" fmla="*/ 305 h 615"/>
                    <a:gd name="T50" fmla="*/ 13 w 674"/>
                    <a:gd name="T51" fmla="*/ 357 h 615"/>
                    <a:gd name="T52" fmla="*/ 34 w 674"/>
                    <a:gd name="T53" fmla="*/ 406 h 615"/>
                    <a:gd name="T54" fmla="*/ 66 w 674"/>
                    <a:gd name="T55" fmla="*/ 449 h 615"/>
                    <a:gd name="T56" fmla="*/ 15 w 674"/>
                    <a:gd name="T57" fmla="*/ 597 h 615"/>
                    <a:gd name="T58" fmla="*/ 21 w 674"/>
                    <a:gd name="T59" fmla="*/ 612 h 615"/>
                    <a:gd name="T60" fmla="*/ 33 w 674"/>
                    <a:gd name="T61" fmla="*/ 615 h 615"/>
                    <a:gd name="T62" fmla="*/ 254 w 674"/>
                    <a:gd name="T63" fmla="*/ 549 h 615"/>
                    <a:gd name="T64" fmla="*/ 273 w 674"/>
                    <a:gd name="T65" fmla="*/ 522 h 615"/>
                    <a:gd name="T66" fmla="*/ 225 w 674"/>
                    <a:gd name="T67" fmla="*/ 510 h 615"/>
                    <a:gd name="T68" fmla="*/ 120 w 674"/>
                    <a:gd name="T69" fmla="*/ 467 h 615"/>
                    <a:gd name="T70" fmla="*/ 105 w 674"/>
                    <a:gd name="T71" fmla="*/ 445 h 615"/>
                    <a:gd name="T72" fmla="*/ 71 w 674"/>
                    <a:gd name="T73" fmla="*/ 407 h 615"/>
                    <a:gd name="T74" fmla="*/ 47 w 674"/>
                    <a:gd name="T75" fmla="*/ 364 h 615"/>
                    <a:gd name="T76" fmla="*/ 33 w 674"/>
                    <a:gd name="T77" fmla="*/ 315 h 615"/>
                    <a:gd name="T78" fmla="*/ 30 w 674"/>
                    <a:gd name="T79" fmla="*/ 264 h 615"/>
                    <a:gd name="T80" fmla="*/ 40 w 674"/>
                    <a:gd name="T81" fmla="*/ 215 h 615"/>
                    <a:gd name="T82" fmla="*/ 60 w 674"/>
                    <a:gd name="T83" fmla="*/ 170 h 615"/>
                    <a:gd name="T84" fmla="*/ 91 w 674"/>
                    <a:gd name="T85" fmla="*/ 129 h 615"/>
                    <a:gd name="T86" fmla="*/ 131 w 674"/>
                    <a:gd name="T87" fmla="*/ 94 h 615"/>
                    <a:gd name="T88" fmla="*/ 178 w 674"/>
                    <a:gd name="T89" fmla="*/ 65 h 615"/>
                    <a:gd name="T90" fmla="*/ 231 w 674"/>
                    <a:gd name="T91" fmla="*/ 45 h 615"/>
                    <a:gd name="T92" fmla="*/ 290 w 674"/>
                    <a:gd name="T93" fmla="*/ 32 h 615"/>
                    <a:gd name="T94" fmla="*/ 337 w 674"/>
                    <a:gd name="T95" fmla="*/ 30 h 6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74" h="615">
                      <a:moveTo>
                        <a:pt x="337" y="30"/>
                      </a:moveTo>
                      <a:lnTo>
                        <a:pt x="353" y="30"/>
                      </a:lnTo>
                      <a:lnTo>
                        <a:pt x="368" y="31"/>
                      </a:lnTo>
                      <a:lnTo>
                        <a:pt x="383" y="32"/>
                      </a:lnTo>
                      <a:lnTo>
                        <a:pt x="399" y="34"/>
                      </a:lnTo>
                      <a:lnTo>
                        <a:pt x="413" y="37"/>
                      </a:lnTo>
                      <a:lnTo>
                        <a:pt x="428" y="40"/>
                      </a:lnTo>
                      <a:lnTo>
                        <a:pt x="442" y="45"/>
                      </a:lnTo>
                      <a:lnTo>
                        <a:pt x="456" y="49"/>
                      </a:lnTo>
                      <a:lnTo>
                        <a:pt x="470" y="54"/>
                      </a:lnTo>
                      <a:lnTo>
                        <a:pt x="483" y="60"/>
                      </a:lnTo>
                      <a:lnTo>
                        <a:pt x="495" y="65"/>
                      </a:lnTo>
                      <a:lnTo>
                        <a:pt x="508" y="71"/>
                      </a:lnTo>
                      <a:lnTo>
                        <a:pt x="520" y="79"/>
                      </a:lnTo>
                      <a:lnTo>
                        <a:pt x="532" y="86"/>
                      </a:lnTo>
                      <a:lnTo>
                        <a:pt x="544" y="94"/>
                      </a:lnTo>
                      <a:lnTo>
                        <a:pt x="554" y="102"/>
                      </a:lnTo>
                      <a:lnTo>
                        <a:pt x="564" y="111"/>
                      </a:lnTo>
                      <a:lnTo>
                        <a:pt x="574" y="120"/>
                      </a:lnTo>
                      <a:lnTo>
                        <a:pt x="583" y="129"/>
                      </a:lnTo>
                      <a:lnTo>
                        <a:pt x="592" y="139"/>
                      </a:lnTo>
                      <a:lnTo>
                        <a:pt x="599" y="148"/>
                      </a:lnTo>
                      <a:lnTo>
                        <a:pt x="607" y="159"/>
                      </a:lnTo>
                      <a:lnTo>
                        <a:pt x="613" y="170"/>
                      </a:lnTo>
                      <a:lnTo>
                        <a:pt x="620" y="181"/>
                      </a:lnTo>
                      <a:lnTo>
                        <a:pt x="625" y="192"/>
                      </a:lnTo>
                      <a:lnTo>
                        <a:pt x="630" y="203"/>
                      </a:lnTo>
                      <a:lnTo>
                        <a:pt x="635" y="215"/>
                      </a:lnTo>
                      <a:lnTo>
                        <a:pt x="638" y="228"/>
                      </a:lnTo>
                      <a:lnTo>
                        <a:pt x="640" y="239"/>
                      </a:lnTo>
                      <a:lnTo>
                        <a:pt x="642" y="251"/>
                      </a:lnTo>
                      <a:lnTo>
                        <a:pt x="643" y="264"/>
                      </a:lnTo>
                      <a:lnTo>
                        <a:pt x="644" y="277"/>
                      </a:lnTo>
                      <a:lnTo>
                        <a:pt x="674" y="277"/>
                      </a:lnTo>
                      <a:lnTo>
                        <a:pt x="673" y="263"/>
                      </a:lnTo>
                      <a:lnTo>
                        <a:pt x="672" y="249"/>
                      </a:lnTo>
                      <a:lnTo>
                        <a:pt x="670" y="235"/>
                      </a:lnTo>
                      <a:lnTo>
                        <a:pt x="667" y="221"/>
                      </a:lnTo>
                      <a:lnTo>
                        <a:pt x="663" y="207"/>
                      </a:lnTo>
                      <a:lnTo>
                        <a:pt x="659" y="194"/>
                      </a:lnTo>
                      <a:lnTo>
                        <a:pt x="654" y="182"/>
                      </a:lnTo>
                      <a:lnTo>
                        <a:pt x="647" y="169"/>
                      </a:lnTo>
                      <a:lnTo>
                        <a:pt x="641" y="157"/>
                      </a:lnTo>
                      <a:lnTo>
                        <a:pt x="633" y="144"/>
                      </a:lnTo>
                      <a:lnTo>
                        <a:pt x="625" y="133"/>
                      </a:lnTo>
                      <a:lnTo>
                        <a:pt x="616" y="122"/>
                      </a:lnTo>
                      <a:lnTo>
                        <a:pt x="607" y="111"/>
                      </a:lnTo>
                      <a:lnTo>
                        <a:pt x="597" y="100"/>
                      </a:lnTo>
                      <a:lnTo>
                        <a:pt x="586" y="91"/>
                      </a:lnTo>
                      <a:lnTo>
                        <a:pt x="575" y="81"/>
                      </a:lnTo>
                      <a:lnTo>
                        <a:pt x="563" y="71"/>
                      </a:lnTo>
                      <a:lnTo>
                        <a:pt x="551" y="63"/>
                      </a:lnTo>
                      <a:lnTo>
                        <a:pt x="538" y="54"/>
                      </a:lnTo>
                      <a:lnTo>
                        <a:pt x="525" y="47"/>
                      </a:lnTo>
                      <a:lnTo>
                        <a:pt x="511" y="39"/>
                      </a:lnTo>
                      <a:lnTo>
                        <a:pt x="498" y="33"/>
                      </a:lnTo>
                      <a:lnTo>
                        <a:pt x="483" y="26"/>
                      </a:lnTo>
                      <a:lnTo>
                        <a:pt x="468" y="21"/>
                      </a:lnTo>
                      <a:lnTo>
                        <a:pt x="453" y="16"/>
                      </a:lnTo>
                      <a:lnTo>
                        <a:pt x="437" y="11"/>
                      </a:lnTo>
                      <a:lnTo>
                        <a:pt x="421" y="8"/>
                      </a:lnTo>
                      <a:lnTo>
                        <a:pt x="404" y="5"/>
                      </a:lnTo>
                      <a:lnTo>
                        <a:pt x="388" y="3"/>
                      </a:lnTo>
                      <a:lnTo>
                        <a:pt x="371" y="1"/>
                      </a:lnTo>
                      <a:lnTo>
                        <a:pt x="354" y="0"/>
                      </a:lnTo>
                      <a:lnTo>
                        <a:pt x="337" y="0"/>
                      </a:lnTo>
                      <a:lnTo>
                        <a:pt x="320" y="0"/>
                      </a:lnTo>
                      <a:lnTo>
                        <a:pt x="303" y="1"/>
                      </a:lnTo>
                      <a:lnTo>
                        <a:pt x="286" y="3"/>
                      </a:lnTo>
                      <a:lnTo>
                        <a:pt x="269" y="5"/>
                      </a:lnTo>
                      <a:lnTo>
                        <a:pt x="253" y="8"/>
                      </a:lnTo>
                      <a:lnTo>
                        <a:pt x="236" y="11"/>
                      </a:lnTo>
                      <a:lnTo>
                        <a:pt x="221" y="16"/>
                      </a:lnTo>
                      <a:lnTo>
                        <a:pt x="205" y="21"/>
                      </a:lnTo>
                      <a:lnTo>
                        <a:pt x="190" y="26"/>
                      </a:lnTo>
                      <a:lnTo>
                        <a:pt x="177" y="33"/>
                      </a:lnTo>
                      <a:lnTo>
                        <a:pt x="163" y="39"/>
                      </a:lnTo>
                      <a:lnTo>
                        <a:pt x="149" y="47"/>
                      </a:lnTo>
                      <a:lnTo>
                        <a:pt x="136" y="54"/>
                      </a:lnTo>
                      <a:lnTo>
                        <a:pt x="123" y="63"/>
                      </a:lnTo>
                      <a:lnTo>
                        <a:pt x="110" y="71"/>
                      </a:lnTo>
                      <a:lnTo>
                        <a:pt x="98" y="81"/>
                      </a:lnTo>
                      <a:lnTo>
                        <a:pt x="88" y="91"/>
                      </a:lnTo>
                      <a:lnTo>
                        <a:pt x="77" y="100"/>
                      </a:lnTo>
                      <a:lnTo>
                        <a:pt x="67" y="111"/>
                      </a:lnTo>
                      <a:lnTo>
                        <a:pt x="58" y="122"/>
                      </a:lnTo>
                      <a:lnTo>
                        <a:pt x="49" y="133"/>
                      </a:lnTo>
                      <a:lnTo>
                        <a:pt x="41" y="145"/>
                      </a:lnTo>
                      <a:lnTo>
                        <a:pt x="33" y="157"/>
                      </a:lnTo>
                      <a:lnTo>
                        <a:pt x="27" y="169"/>
                      </a:lnTo>
                      <a:lnTo>
                        <a:pt x="20" y="182"/>
                      </a:lnTo>
                      <a:lnTo>
                        <a:pt x="15" y="194"/>
                      </a:lnTo>
                      <a:lnTo>
                        <a:pt x="11" y="207"/>
                      </a:lnTo>
                      <a:lnTo>
                        <a:pt x="6" y="221"/>
                      </a:lnTo>
                      <a:lnTo>
                        <a:pt x="4" y="235"/>
                      </a:lnTo>
                      <a:lnTo>
                        <a:pt x="2" y="249"/>
                      </a:lnTo>
                      <a:lnTo>
                        <a:pt x="0" y="263"/>
                      </a:lnTo>
                      <a:lnTo>
                        <a:pt x="0" y="277"/>
                      </a:lnTo>
                      <a:lnTo>
                        <a:pt x="0" y="291"/>
                      </a:lnTo>
                      <a:lnTo>
                        <a:pt x="1" y="305"/>
                      </a:lnTo>
                      <a:lnTo>
                        <a:pt x="3" y="319"/>
                      </a:lnTo>
                      <a:lnTo>
                        <a:pt x="5" y="331"/>
                      </a:lnTo>
                      <a:lnTo>
                        <a:pt x="9" y="344"/>
                      </a:lnTo>
                      <a:lnTo>
                        <a:pt x="13" y="357"/>
                      </a:lnTo>
                      <a:lnTo>
                        <a:pt x="17" y="370"/>
                      </a:lnTo>
                      <a:lnTo>
                        <a:pt x="22" y="383"/>
                      </a:lnTo>
                      <a:lnTo>
                        <a:pt x="28" y="395"/>
                      </a:lnTo>
                      <a:lnTo>
                        <a:pt x="34" y="406"/>
                      </a:lnTo>
                      <a:lnTo>
                        <a:pt x="42" y="417"/>
                      </a:lnTo>
                      <a:lnTo>
                        <a:pt x="49" y="429"/>
                      </a:lnTo>
                      <a:lnTo>
                        <a:pt x="58" y="440"/>
                      </a:lnTo>
                      <a:lnTo>
                        <a:pt x="66" y="449"/>
                      </a:lnTo>
                      <a:lnTo>
                        <a:pt x="76" y="459"/>
                      </a:lnTo>
                      <a:lnTo>
                        <a:pt x="86" y="468"/>
                      </a:lnTo>
                      <a:lnTo>
                        <a:pt x="17" y="593"/>
                      </a:lnTo>
                      <a:lnTo>
                        <a:pt x="15" y="597"/>
                      </a:lnTo>
                      <a:lnTo>
                        <a:pt x="15" y="601"/>
                      </a:lnTo>
                      <a:lnTo>
                        <a:pt x="16" y="606"/>
                      </a:lnTo>
                      <a:lnTo>
                        <a:pt x="18" y="610"/>
                      </a:lnTo>
                      <a:lnTo>
                        <a:pt x="21" y="612"/>
                      </a:lnTo>
                      <a:lnTo>
                        <a:pt x="24" y="614"/>
                      </a:lnTo>
                      <a:lnTo>
                        <a:pt x="27" y="615"/>
                      </a:lnTo>
                      <a:lnTo>
                        <a:pt x="30" y="615"/>
                      </a:lnTo>
                      <a:lnTo>
                        <a:pt x="33" y="615"/>
                      </a:lnTo>
                      <a:lnTo>
                        <a:pt x="35" y="614"/>
                      </a:lnTo>
                      <a:lnTo>
                        <a:pt x="226" y="540"/>
                      </a:lnTo>
                      <a:lnTo>
                        <a:pt x="239" y="544"/>
                      </a:lnTo>
                      <a:lnTo>
                        <a:pt x="254" y="549"/>
                      </a:lnTo>
                      <a:lnTo>
                        <a:pt x="269" y="552"/>
                      </a:lnTo>
                      <a:lnTo>
                        <a:pt x="284" y="555"/>
                      </a:lnTo>
                      <a:lnTo>
                        <a:pt x="288" y="525"/>
                      </a:lnTo>
                      <a:lnTo>
                        <a:pt x="273" y="522"/>
                      </a:lnTo>
                      <a:lnTo>
                        <a:pt x="257" y="519"/>
                      </a:lnTo>
                      <a:lnTo>
                        <a:pt x="242" y="514"/>
                      </a:lnTo>
                      <a:lnTo>
                        <a:pt x="230" y="510"/>
                      </a:lnTo>
                      <a:lnTo>
                        <a:pt x="225" y="510"/>
                      </a:lnTo>
                      <a:lnTo>
                        <a:pt x="219" y="511"/>
                      </a:lnTo>
                      <a:lnTo>
                        <a:pt x="63" y="571"/>
                      </a:lnTo>
                      <a:lnTo>
                        <a:pt x="119" y="472"/>
                      </a:lnTo>
                      <a:lnTo>
                        <a:pt x="120" y="467"/>
                      </a:lnTo>
                      <a:lnTo>
                        <a:pt x="120" y="462"/>
                      </a:lnTo>
                      <a:lnTo>
                        <a:pt x="118" y="457"/>
                      </a:lnTo>
                      <a:lnTo>
                        <a:pt x="114" y="453"/>
                      </a:lnTo>
                      <a:lnTo>
                        <a:pt x="105" y="445"/>
                      </a:lnTo>
                      <a:lnTo>
                        <a:pt x="95" y="436"/>
                      </a:lnTo>
                      <a:lnTo>
                        <a:pt x="87" y="427"/>
                      </a:lnTo>
                      <a:lnTo>
                        <a:pt x="78" y="417"/>
                      </a:lnTo>
                      <a:lnTo>
                        <a:pt x="71" y="407"/>
                      </a:lnTo>
                      <a:lnTo>
                        <a:pt x="64" y="397"/>
                      </a:lnTo>
                      <a:lnTo>
                        <a:pt x="58" y="386"/>
                      </a:lnTo>
                      <a:lnTo>
                        <a:pt x="51" y="375"/>
                      </a:lnTo>
                      <a:lnTo>
                        <a:pt x="47" y="364"/>
                      </a:lnTo>
                      <a:lnTo>
                        <a:pt x="43" y="352"/>
                      </a:lnTo>
                      <a:lnTo>
                        <a:pt x="39" y="340"/>
                      </a:lnTo>
                      <a:lnTo>
                        <a:pt x="35" y="328"/>
                      </a:lnTo>
                      <a:lnTo>
                        <a:pt x="33" y="315"/>
                      </a:lnTo>
                      <a:lnTo>
                        <a:pt x="31" y="303"/>
                      </a:lnTo>
                      <a:lnTo>
                        <a:pt x="30" y="290"/>
                      </a:lnTo>
                      <a:lnTo>
                        <a:pt x="30" y="277"/>
                      </a:lnTo>
                      <a:lnTo>
                        <a:pt x="30" y="264"/>
                      </a:lnTo>
                      <a:lnTo>
                        <a:pt x="32" y="251"/>
                      </a:lnTo>
                      <a:lnTo>
                        <a:pt x="33" y="239"/>
                      </a:lnTo>
                      <a:lnTo>
                        <a:pt x="36" y="227"/>
                      </a:lnTo>
                      <a:lnTo>
                        <a:pt x="40" y="215"/>
                      </a:lnTo>
                      <a:lnTo>
                        <a:pt x="44" y="203"/>
                      </a:lnTo>
                      <a:lnTo>
                        <a:pt x="48" y="192"/>
                      </a:lnTo>
                      <a:lnTo>
                        <a:pt x="55" y="181"/>
                      </a:lnTo>
                      <a:lnTo>
                        <a:pt x="60" y="170"/>
                      </a:lnTo>
                      <a:lnTo>
                        <a:pt x="67" y="159"/>
                      </a:lnTo>
                      <a:lnTo>
                        <a:pt x="75" y="148"/>
                      </a:lnTo>
                      <a:lnTo>
                        <a:pt x="82" y="139"/>
                      </a:lnTo>
                      <a:lnTo>
                        <a:pt x="91" y="129"/>
                      </a:lnTo>
                      <a:lnTo>
                        <a:pt x="101" y="120"/>
                      </a:lnTo>
                      <a:lnTo>
                        <a:pt x="110" y="111"/>
                      </a:lnTo>
                      <a:lnTo>
                        <a:pt x="120" y="102"/>
                      </a:lnTo>
                      <a:lnTo>
                        <a:pt x="131" y="94"/>
                      </a:lnTo>
                      <a:lnTo>
                        <a:pt x="142" y="86"/>
                      </a:lnTo>
                      <a:lnTo>
                        <a:pt x="153" y="79"/>
                      </a:lnTo>
                      <a:lnTo>
                        <a:pt x="166" y="71"/>
                      </a:lnTo>
                      <a:lnTo>
                        <a:pt x="178" y="65"/>
                      </a:lnTo>
                      <a:lnTo>
                        <a:pt x="190" y="60"/>
                      </a:lnTo>
                      <a:lnTo>
                        <a:pt x="204" y="54"/>
                      </a:lnTo>
                      <a:lnTo>
                        <a:pt x="217" y="49"/>
                      </a:lnTo>
                      <a:lnTo>
                        <a:pt x="231" y="45"/>
                      </a:lnTo>
                      <a:lnTo>
                        <a:pt x="246" y="40"/>
                      </a:lnTo>
                      <a:lnTo>
                        <a:pt x="260" y="37"/>
                      </a:lnTo>
                      <a:lnTo>
                        <a:pt x="275" y="34"/>
                      </a:lnTo>
                      <a:lnTo>
                        <a:pt x="290" y="32"/>
                      </a:lnTo>
                      <a:lnTo>
                        <a:pt x="306" y="31"/>
                      </a:lnTo>
                      <a:lnTo>
                        <a:pt x="321" y="30"/>
                      </a:lnTo>
                      <a:lnTo>
                        <a:pt x="337" y="30"/>
                      </a:lnTo>
                      <a:lnTo>
                        <a:pt x="337" y="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íš1íḍè">
                  <a:extLst>
                    <a:ext uri="{FF2B5EF4-FFF2-40B4-BE49-F238E27FC236}">
                      <a16:creationId xmlns:a16="http://schemas.microsoft.com/office/drawing/2014/main" id="{AF77289A-4272-4D5B-8AFB-D0C923EFF3AD}"/>
                    </a:ext>
                  </a:extLst>
                </p:cNvPr>
                <p:cNvSpPr/>
                <p:nvPr/>
              </p:nvSpPr>
              <p:spPr bwMode="auto">
                <a:xfrm>
                  <a:off x="422275" y="2620963"/>
                  <a:ext cx="177800" cy="168275"/>
                </a:xfrm>
                <a:custGeom>
                  <a:avLst/>
                  <a:gdLst>
                    <a:gd name="T0" fmla="*/ 377 w 560"/>
                    <a:gd name="T1" fmla="*/ 437 h 527"/>
                    <a:gd name="T2" fmla="*/ 336 w 560"/>
                    <a:gd name="T3" fmla="*/ 451 h 527"/>
                    <a:gd name="T4" fmla="*/ 285 w 560"/>
                    <a:gd name="T5" fmla="*/ 459 h 527"/>
                    <a:gd name="T6" fmla="*/ 248 w 560"/>
                    <a:gd name="T7" fmla="*/ 458 h 527"/>
                    <a:gd name="T8" fmla="*/ 179 w 560"/>
                    <a:gd name="T9" fmla="*/ 442 h 527"/>
                    <a:gd name="T10" fmla="*/ 102 w 560"/>
                    <a:gd name="T11" fmla="*/ 395 h 527"/>
                    <a:gd name="T12" fmla="*/ 59 w 560"/>
                    <a:gd name="T13" fmla="*/ 345 h 527"/>
                    <a:gd name="T14" fmla="*/ 41 w 560"/>
                    <a:gd name="T15" fmla="*/ 306 h 527"/>
                    <a:gd name="T16" fmla="*/ 31 w 560"/>
                    <a:gd name="T17" fmla="*/ 265 h 527"/>
                    <a:gd name="T18" fmla="*/ 31 w 560"/>
                    <a:gd name="T19" fmla="*/ 221 h 527"/>
                    <a:gd name="T20" fmla="*/ 41 w 560"/>
                    <a:gd name="T21" fmla="*/ 180 h 527"/>
                    <a:gd name="T22" fmla="*/ 60 w 560"/>
                    <a:gd name="T23" fmla="*/ 143 h 527"/>
                    <a:gd name="T24" fmla="*/ 104 w 560"/>
                    <a:gd name="T25" fmla="*/ 93 h 527"/>
                    <a:gd name="T26" fmla="*/ 183 w 560"/>
                    <a:gd name="T27" fmla="*/ 47 h 527"/>
                    <a:gd name="T28" fmla="*/ 255 w 560"/>
                    <a:gd name="T29" fmla="*/ 31 h 527"/>
                    <a:gd name="T30" fmla="*/ 305 w 560"/>
                    <a:gd name="T31" fmla="*/ 31 h 527"/>
                    <a:gd name="T32" fmla="*/ 376 w 560"/>
                    <a:gd name="T33" fmla="*/ 47 h 527"/>
                    <a:gd name="T34" fmla="*/ 456 w 560"/>
                    <a:gd name="T35" fmla="*/ 93 h 527"/>
                    <a:gd name="T36" fmla="*/ 499 w 560"/>
                    <a:gd name="T37" fmla="*/ 143 h 527"/>
                    <a:gd name="T38" fmla="*/ 518 w 560"/>
                    <a:gd name="T39" fmla="*/ 180 h 527"/>
                    <a:gd name="T40" fmla="*/ 529 w 560"/>
                    <a:gd name="T41" fmla="*/ 221 h 527"/>
                    <a:gd name="T42" fmla="*/ 529 w 560"/>
                    <a:gd name="T43" fmla="*/ 262 h 527"/>
                    <a:gd name="T44" fmla="*/ 520 w 560"/>
                    <a:gd name="T45" fmla="*/ 301 h 527"/>
                    <a:gd name="T46" fmla="*/ 502 w 560"/>
                    <a:gd name="T47" fmla="*/ 336 h 527"/>
                    <a:gd name="T48" fmla="*/ 476 w 560"/>
                    <a:gd name="T49" fmla="*/ 367 h 527"/>
                    <a:gd name="T50" fmla="*/ 455 w 560"/>
                    <a:gd name="T51" fmla="*/ 391 h 527"/>
                    <a:gd name="T52" fmla="*/ 386 w 560"/>
                    <a:gd name="T53" fmla="*/ 437 h 527"/>
                    <a:gd name="T54" fmla="*/ 512 w 560"/>
                    <a:gd name="T55" fmla="*/ 373 h 527"/>
                    <a:gd name="T56" fmla="*/ 536 w 560"/>
                    <a:gd name="T57" fmla="*/ 336 h 527"/>
                    <a:gd name="T58" fmla="*/ 552 w 560"/>
                    <a:gd name="T59" fmla="*/ 297 h 527"/>
                    <a:gd name="T60" fmla="*/ 560 w 560"/>
                    <a:gd name="T61" fmla="*/ 254 h 527"/>
                    <a:gd name="T62" fmla="*/ 557 w 560"/>
                    <a:gd name="T63" fmla="*/ 206 h 527"/>
                    <a:gd name="T64" fmla="*/ 543 w 560"/>
                    <a:gd name="T65" fmla="*/ 160 h 527"/>
                    <a:gd name="T66" fmla="*/ 519 w 560"/>
                    <a:gd name="T67" fmla="*/ 118 h 527"/>
                    <a:gd name="T68" fmla="*/ 486 w 560"/>
                    <a:gd name="T69" fmla="*/ 81 h 527"/>
                    <a:gd name="T70" fmla="*/ 447 w 560"/>
                    <a:gd name="T71" fmla="*/ 48 h 527"/>
                    <a:gd name="T72" fmla="*/ 401 w 560"/>
                    <a:gd name="T73" fmla="*/ 24 h 527"/>
                    <a:gd name="T74" fmla="*/ 349 w 560"/>
                    <a:gd name="T75" fmla="*/ 8 h 527"/>
                    <a:gd name="T76" fmla="*/ 295 w 560"/>
                    <a:gd name="T77" fmla="*/ 0 h 527"/>
                    <a:gd name="T78" fmla="*/ 238 w 560"/>
                    <a:gd name="T79" fmla="*/ 2 h 527"/>
                    <a:gd name="T80" fmla="*/ 184 w 560"/>
                    <a:gd name="T81" fmla="*/ 15 h 527"/>
                    <a:gd name="T82" fmla="*/ 136 w 560"/>
                    <a:gd name="T83" fmla="*/ 36 h 527"/>
                    <a:gd name="T84" fmla="*/ 92 w 560"/>
                    <a:gd name="T85" fmla="*/ 63 h 527"/>
                    <a:gd name="T86" fmla="*/ 56 w 560"/>
                    <a:gd name="T87" fmla="*/ 99 h 527"/>
                    <a:gd name="T88" fmla="*/ 28 w 560"/>
                    <a:gd name="T89" fmla="*/ 138 h 527"/>
                    <a:gd name="T90" fmla="*/ 9 w 560"/>
                    <a:gd name="T91" fmla="*/ 182 h 527"/>
                    <a:gd name="T92" fmla="*/ 0 w 560"/>
                    <a:gd name="T93" fmla="*/ 230 h 527"/>
                    <a:gd name="T94" fmla="*/ 4 w 560"/>
                    <a:gd name="T95" fmla="*/ 280 h 527"/>
                    <a:gd name="T96" fmla="*/ 16 w 560"/>
                    <a:gd name="T97" fmla="*/ 327 h 527"/>
                    <a:gd name="T98" fmla="*/ 40 w 560"/>
                    <a:gd name="T99" fmla="*/ 369 h 527"/>
                    <a:gd name="T100" fmla="*/ 72 w 560"/>
                    <a:gd name="T101" fmla="*/ 407 h 527"/>
                    <a:gd name="T102" fmla="*/ 111 w 560"/>
                    <a:gd name="T103" fmla="*/ 439 h 527"/>
                    <a:gd name="T104" fmla="*/ 155 w 560"/>
                    <a:gd name="T105" fmla="*/ 465 h 527"/>
                    <a:gd name="T106" fmla="*/ 205 w 560"/>
                    <a:gd name="T107" fmla="*/ 482 h 527"/>
                    <a:gd name="T108" fmla="*/ 258 w 560"/>
                    <a:gd name="T109" fmla="*/ 489 h 527"/>
                    <a:gd name="T110" fmla="*/ 300 w 560"/>
                    <a:gd name="T111" fmla="*/ 488 h 527"/>
                    <a:gd name="T112" fmla="*/ 353 w 560"/>
                    <a:gd name="T113" fmla="*/ 478 h 527"/>
                    <a:gd name="T114" fmla="*/ 527 w 560"/>
                    <a:gd name="T115" fmla="*/ 526 h 527"/>
                    <a:gd name="T116" fmla="*/ 539 w 560"/>
                    <a:gd name="T117" fmla="*/ 524 h 527"/>
                    <a:gd name="T118" fmla="*/ 545 w 560"/>
                    <a:gd name="T119" fmla="*/ 509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60" h="527">
                      <a:moveTo>
                        <a:pt x="386" y="437"/>
                      </a:moveTo>
                      <a:lnTo>
                        <a:pt x="382" y="437"/>
                      </a:lnTo>
                      <a:lnTo>
                        <a:pt x="380" y="436"/>
                      </a:lnTo>
                      <a:lnTo>
                        <a:pt x="377" y="437"/>
                      </a:lnTo>
                      <a:lnTo>
                        <a:pt x="374" y="438"/>
                      </a:lnTo>
                      <a:lnTo>
                        <a:pt x="362" y="442"/>
                      </a:lnTo>
                      <a:lnTo>
                        <a:pt x="349" y="447"/>
                      </a:lnTo>
                      <a:lnTo>
                        <a:pt x="336" y="451"/>
                      </a:lnTo>
                      <a:lnTo>
                        <a:pt x="323" y="454"/>
                      </a:lnTo>
                      <a:lnTo>
                        <a:pt x="311" y="456"/>
                      </a:lnTo>
                      <a:lnTo>
                        <a:pt x="298" y="458"/>
                      </a:lnTo>
                      <a:lnTo>
                        <a:pt x="285" y="459"/>
                      </a:lnTo>
                      <a:lnTo>
                        <a:pt x="272" y="459"/>
                      </a:lnTo>
                      <a:lnTo>
                        <a:pt x="272" y="459"/>
                      </a:lnTo>
                      <a:lnTo>
                        <a:pt x="259" y="459"/>
                      </a:lnTo>
                      <a:lnTo>
                        <a:pt x="248" y="458"/>
                      </a:lnTo>
                      <a:lnTo>
                        <a:pt x="236" y="457"/>
                      </a:lnTo>
                      <a:lnTo>
                        <a:pt x="224" y="455"/>
                      </a:lnTo>
                      <a:lnTo>
                        <a:pt x="200" y="450"/>
                      </a:lnTo>
                      <a:lnTo>
                        <a:pt x="179" y="442"/>
                      </a:lnTo>
                      <a:lnTo>
                        <a:pt x="158" y="433"/>
                      </a:lnTo>
                      <a:lnTo>
                        <a:pt x="137" y="422"/>
                      </a:lnTo>
                      <a:lnTo>
                        <a:pt x="119" y="409"/>
                      </a:lnTo>
                      <a:lnTo>
                        <a:pt x="102" y="395"/>
                      </a:lnTo>
                      <a:lnTo>
                        <a:pt x="86" y="379"/>
                      </a:lnTo>
                      <a:lnTo>
                        <a:pt x="72" y="363"/>
                      </a:lnTo>
                      <a:lnTo>
                        <a:pt x="66" y="353"/>
                      </a:lnTo>
                      <a:lnTo>
                        <a:pt x="59" y="345"/>
                      </a:lnTo>
                      <a:lnTo>
                        <a:pt x="54" y="335"/>
                      </a:lnTo>
                      <a:lnTo>
                        <a:pt x="50" y="326"/>
                      </a:lnTo>
                      <a:lnTo>
                        <a:pt x="45" y="316"/>
                      </a:lnTo>
                      <a:lnTo>
                        <a:pt x="41" y="306"/>
                      </a:lnTo>
                      <a:lnTo>
                        <a:pt x="38" y="296"/>
                      </a:lnTo>
                      <a:lnTo>
                        <a:pt x="35" y="285"/>
                      </a:lnTo>
                      <a:lnTo>
                        <a:pt x="32" y="275"/>
                      </a:lnTo>
                      <a:lnTo>
                        <a:pt x="31" y="265"/>
                      </a:lnTo>
                      <a:lnTo>
                        <a:pt x="30" y="254"/>
                      </a:lnTo>
                      <a:lnTo>
                        <a:pt x="30" y="242"/>
                      </a:lnTo>
                      <a:lnTo>
                        <a:pt x="30" y="231"/>
                      </a:lnTo>
                      <a:lnTo>
                        <a:pt x="31" y="221"/>
                      </a:lnTo>
                      <a:lnTo>
                        <a:pt x="32" y="211"/>
                      </a:lnTo>
                      <a:lnTo>
                        <a:pt x="35" y="200"/>
                      </a:lnTo>
                      <a:lnTo>
                        <a:pt x="38" y="190"/>
                      </a:lnTo>
                      <a:lnTo>
                        <a:pt x="41" y="180"/>
                      </a:lnTo>
                      <a:lnTo>
                        <a:pt x="45" y="170"/>
                      </a:lnTo>
                      <a:lnTo>
                        <a:pt x="50" y="161"/>
                      </a:lnTo>
                      <a:lnTo>
                        <a:pt x="55" y="151"/>
                      </a:lnTo>
                      <a:lnTo>
                        <a:pt x="60" y="143"/>
                      </a:lnTo>
                      <a:lnTo>
                        <a:pt x="67" y="133"/>
                      </a:lnTo>
                      <a:lnTo>
                        <a:pt x="73" y="124"/>
                      </a:lnTo>
                      <a:lnTo>
                        <a:pt x="88" y="108"/>
                      </a:lnTo>
                      <a:lnTo>
                        <a:pt x="104" y="93"/>
                      </a:lnTo>
                      <a:lnTo>
                        <a:pt x="122" y="79"/>
                      </a:lnTo>
                      <a:lnTo>
                        <a:pt x="142" y="67"/>
                      </a:lnTo>
                      <a:lnTo>
                        <a:pt x="162" y="56"/>
                      </a:lnTo>
                      <a:lnTo>
                        <a:pt x="183" y="47"/>
                      </a:lnTo>
                      <a:lnTo>
                        <a:pt x="207" y="40"/>
                      </a:lnTo>
                      <a:lnTo>
                        <a:pt x="230" y="35"/>
                      </a:lnTo>
                      <a:lnTo>
                        <a:pt x="242" y="32"/>
                      </a:lnTo>
                      <a:lnTo>
                        <a:pt x="255" y="31"/>
                      </a:lnTo>
                      <a:lnTo>
                        <a:pt x="267" y="30"/>
                      </a:lnTo>
                      <a:lnTo>
                        <a:pt x="280" y="30"/>
                      </a:lnTo>
                      <a:lnTo>
                        <a:pt x="292" y="30"/>
                      </a:lnTo>
                      <a:lnTo>
                        <a:pt x="305" y="31"/>
                      </a:lnTo>
                      <a:lnTo>
                        <a:pt x="317" y="32"/>
                      </a:lnTo>
                      <a:lnTo>
                        <a:pt x="330" y="35"/>
                      </a:lnTo>
                      <a:lnTo>
                        <a:pt x="353" y="40"/>
                      </a:lnTo>
                      <a:lnTo>
                        <a:pt x="376" y="47"/>
                      </a:lnTo>
                      <a:lnTo>
                        <a:pt x="398" y="56"/>
                      </a:lnTo>
                      <a:lnTo>
                        <a:pt x="419" y="67"/>
                      </a:lnTo>
                      <a:lnTo>
                        <a:pt x="438" y="79"/>
                      </a:lnTo>
                      <a:lnTo>
                        <a:pt x="456" y="93"/>
                      </a:lnTo>
                      <a:lnTo>
                        <a:pt x="472" y="108"/>
                      </a:lnTo>
                      <a:lnTo>
                        <a:pt x="486" y="124"/>
                      </a:lnTo>
                      <a:lnTo>
                        <a:pt x="494" y="133"/>
                      </a:lnTo>
                      <a:lnTo>
                        <a:pt x="499" y="143"/>
                      </a:lnTo>
                      <a:lnTo>
                        <a:pt x="505" y="151"/>
                      </a:lnTo>
                      <a:lnTo>
                        <a:pt x="510" y="161"/>
                      </a:lnTo>
                      <a:lnTo>
                        <a:pt x="515" y="170"/>
                      </a:lnTo>
                      <a:lnTo>
                        <a:pt x="518" y="180"/>
                      </a:lnTo>
                      <a:lnTo>
                        <a:pt x="521" y="190"/>
                      </a:lnTo>
                      <a:lnTo>
                        <a:pt x="525" y="200"/>
                      </a:lnTo>
                      <a:lnTo>
                        <a:pt x="527" y="211"/>
                      </a:lnTo>
                      <a:lnTo>
                        <a:pt x="529" y="221"/>
                      </a:lnTo>
                      <a:lnTo>
                        <a:pt x="530" y="231"/>
                      </a:lnTo>
                      <a:lnTo>
                        <a:pt x="530" y="242"/>
                      </a:lnTo>
                      <a:lnTo>
                        <a:pt x="530" y="253"/>
                      </a:lnTo>
                      <a:lnTo>
                        <a:pt x="529" y="262"/>
                      </a:lnTo>
                      <a:lnTo>
                        <a:pt x="528" y="272"/>
                      </a:lnTo>
                      <a:lnTo>
                        <a:pt x="526" y="282"/>
                      </a:lnTo>
                      <a:lnTo>
                        <a:pt x="522" y="291"/>
                      </a:lnTo>
                      <a:lnTo>
                        <a:pt x="520" y="301"/>
                      </a:lnTo>
                      <a:lnTo>
                        <a:pt x="516" y="311"/>
                      </a:lnTo>
                      <a:lnTo>
                        <a:pt x="512" y="319"/>
                      </a:lnTo>
                      <a:lnTo>
                        <a:pt x="508" y="328"/>
                      </a:lnTo>
                      <a:lnTo>
                        <a:pt x="502" y="336"/>
                      </a:lnTo>
                      <a:lnTo>
                        <a:pt x="497" y="345"/>
                      </a:lnTo>
                      <a:lnTo>
                        <a:pt x="490" y="352"/>
                      </a:lnTo>
                      <a:lnTo>
                        <a:pt x="483" y="360"/>
                      </a:lnTo>
                      <a:lnTo>
                        <a:pt x="476" y="367"/>
                      </a:lnTo>
                      <a:lnTo>
                        <a:pt x="468" y="375"/>
                      </a:lnTo>
                      <a:lnTo>
                        <a:pt x="459" y="382"/>
                      </a:lnTo>
                      <a:lnTo>
                        <a:pt x="456" y="386"/>
                      </a:lnTo>
                      <a:lnTo>
                        <a:pt x="455" y="391"/>
                      </a:lnTo>
                      <a:lnTo>
                        <a:pt x="454" y="396"/>
                      </a:lnTo>
                      <a:lnTo>
                        <a:pt x="456" y="400"/>
                      </a:lnTo>
                      <a:lnTo>
                        <a:pt x="498" y="483"/>
                      </a:lnTo>
                      <a:lnTo>
                        <a:pt x="386" y="437"/>
                      </a:lnTo>
                      <a:close/>
                      <a:moveTo>
                        <a:pt x="488" y="397"/>
                      </a:moveTo>
                      <a:lnTo>
                        <a:pt x="497" y="390"/>
                      </a:lnTo>
                      <a:lnTo>
                        <a:pt x="504" y="381"/>
                      </a:lnTo>
                      <a:lnTo>
                        <a:pt x="512" y="373"/>
                      </a:lnTo>
                      <a:lnTo>
                        <a:pt x="519" y="364"/>
                      </a:lnTo>
                      <a:lnTo>
                        <a:pt x="526" y="356"/>
                      </a:lnTo>
                      <a:lnTo>
                        <a:pt x="531" y="346"/>
                      </a:lnTo>
                      <a:lnTo>
                        <a:pt x="536" y="336"/>
                      </a:lnTo>
                      <a:lnTo>
                        <a:pt x="542" y="327"/>
                      </a:lnTo>
                      <a:lnTo>
                        <a:pt x="546" y="317"/>
                      </a:lnTo>
                      <a:lnTo>
                        <a:pt x="549" y="307"/>
                      </a:lnTo>
                      <a:lnTo>
                        <a:pt x="552" y="297"/>
                      </a:lnTo>
                      <a:lnTo>
                        <a:pt x="556" y="286"/>
                      </a:lnTo>
                      <a:lnTo>
                        <a:pt x="558" y="275"/>
                      </a:lnTo>
                      <a:lnTo>
                        <a:pt x="559" y="265"/>
                      </a:lnTo>
                      <a:lnTo>
                        <a:pt x="560" y="254"/>
                      </a:lnTo>
                      <a:lnTo>
                        <a:pt x="560" y="242"/>
                      </a:lnTo>
                      <a:lnTo>
                        <a:pt x="560" y="230"/>
                      </a:lnTo>
                      <a:lnTo>
                        <a:pt x="559" y="218"/>
                      </a:lnTo>
                      <a:lnTo>
                        <a:pt x="557" y="206"/>
                      </a:lnTo>
                      <a:lnTo>
                        <a:pt x="555" y="194"/>
                      </a:lnTo>
                      <a:lnTo>
                        <a:pt x="551" y="182"/>
                      </a:lnTo>
                      <a:lnTo>
                        <a:pt x="547" y="171"/>
                      </a:lnTo>
                      <a:lnTo>
                        <a:pt x="543" y="160"/>
                      </a:lnTo>
                      <a:lnTo>
                        <a:pt x="537" y="149"/>
                      </a:lnTo>
                      <a:lnTo>
                        <a:pt x="532" y="138"/>
                      </a:lnTo>
                      <a:lnTo>
                        <a:pt x="526" y="128"/>
                      </a:lnTo>
                      <a:lnTo>
                        <a:pt x="519" y="118"/>
                      </a:lnTo>
                      <a:lnTo>
                        <a:pt x="512" y="108"/>
                      </a:lnTo>
                      <a:lnTo>
                        <a:pt x="503" y="99"/>
                      </a:lnTo>
                      <a:lnTo>
                        <a:pt x="495" y="89"/>
                      </a:lnTo>
                      <a:lnTo>
                        <a:pt x="486" y="81"/>
                      </a:lnTo>
                      <a:lnTo>
                        <a:pt x="476" y="72"/>
                      </a:lnTo>
                      <a:lnTo>
                        <a:pt x="467" y="63"/>
                      </a:lnTo>
                      <a:lnTo>
                        <a:pt x="457" y="56"/>
                      </a:lnTo>
                      <a:lnTo>
                        <a:pt x="447" y="48"/>
                      </a:lnTo>
                      <a:lnTo>
                        <a:pt x="435" y="42"/>
                      </a:lnTo>
                      <a:lnTo>
                        <a:pt x="424" y="36"/>
                      </a:lnTo>
                      <a:lnTo>
                        <a:pt x="412" y="30"/>
                      </a:lnTo>
                      <a:lnTo>
                        <a:pt x="401" y="24"/>
                      </a:lnTo>
                      <a:lnTo>
                        <a:pt x="388" y="20"/>
                      </a:lnTo>
                      <a:lnTo>
                        <a:pt x="375" y="15"/>
                      </a:lnTo>
                      <a:lnTo>
                        <a:pt x="362" y="11"/>
                      </a:lnTo>
                      <a:lnTo>
                        <a:pt x="349" y="8"/>
                      </a:lnTo>
                      <a:lnTo>
                        <a:pt x="335" y="5"/>
                      </a:lnTo>
                      <a:lnTo>
                        <a:pt x="322" y="2"/>
                      </a:lnTo>
                      <a:lnTo>
                        <a:pt x="308" y="1"/>
                      </a:lnTo>
                      <a:lnTo>
                        <a:pt x="295" y="0"/>
                      </a:lnTo>
                      <a:lnTo>
                        <a:pt x="280" y="0"/>
                      </a:lnTo>
                      <a:lnTo>
                        <a:pt x="266" y="0"/>
                      </a:lnTo>
                      <a:lnTo>
                        <a:pt x="252" y="1"/>
                      </a:lnTo>
                      <a:lnTo>
                        <a:pt x="238" y="2"/>
                      </a:lnTo>
                      <a:lnTo>
                        <a:pt x="224" y="5"/>
                      </a:lnTo>
                      <a:lnTo>
                        <a:pt x="211" y="8"/>
                      </a:lnTo>
                      <a:lnTo>
                        <a:pt x="197" y="11"/>
                      </a:lnTo>
                      <a:lnTo>
                        <a:pt x="184" y="15"/>
                      </a:lnTo>
                      <a:lnTo>
                        <a:pt x="173" y="20"/>
                      </a:lnTo>
                      <a:lnTo>
                        <a:pt x="160" y="24"/>
                      </a:lnTo>
                      <a:lnTo>
                        <a:pt x="148" y="30"/>
                      </a:lnTo>
                      <a:lnTo>
                        <a:pt x="136" y="36"/>
                      </a:lnTo>
                      <a:lnTo>
                        <a:pt x="124" y="42"/>
                      </a:lnTo>
                      <a:lnTo>
                        <a:pt x="114" y="48"/>
                      </a:lnTo>
                      <a:lnTo>
                        <a:pt x="103" y="56"/>
                      </a:lnTo>
                      <a:lnTo>
                        <a:pt x="92" y="63"/>
                      </a:lnTo>
                      <a:lnTo>
                        <a:pt x="83" y="72"/>
                      </a:lnTo>
                      <a:lnTo>
                        <a:pt x="73" y="81"/>
                      </a:lnTo>
                      <a:lnTo>
                        <a:pt x="65" y="89"/>
                      </a:lnTo>
                      <a:lnTo>
                        <a:pt x="56" y="99"/>
                      </a:lnTo>
                      <a:lnTo>
                        <a:pt x="48" y="108"/>
                      </a:lnTo>
                      <a:lnTo>
                        <a:pt x="41" y="118"/>
                      </a:lnTo>
                      <a:lnTo>
                        <a:pt x="35" y="128"/>
                      </a:lnTo>
                      <a:lnTo>
                        <a:pt x="28" y="138"/>
                      </a:lnTo>
                      <a:lnTo>
                        <a:pt x="22" y="149"/>
                      </a:lnTo>
                      <a:lnTo>
                        <a:pt x="17" y="160"/>
                      </a:lnTo>
                      <a:lnTo>
                        <a:pt x="13" y="171"/>
                      </a:lnTo>
                      <a:lnTo>
                        <a:pt x="9" y="182"/>
                      </a:lnTo>
                      <a:lnTo>
                        <a:pt x="6" y="194"/>
                      </a:lnTo>
                      <a:lnTo>
                        <a:pt x="4" y="206"/>
                      </a:lnTo>
                      <a:lnTo>
                        <a:pt x="1" y="218"/>
                      </a:lnTo>
                      <a:lnTo>
                        <a:pt x="0" y="230"/>
                      </a:lnTo>
                      <a:lnTo>
                        <a:pt x="0" y="242"/>
                      </a:lnTo>
                      <a:lnTo>
                        <a:pt x="0" y="255"/>
                      </a:lnTo>
                      <a:lnTo>
                        <a:pt x="1" y="267"/>
                      </a:lnTo>
                      <a:lnTo>
                        <a:pt x="4" y="280"/>
                      </a:lnTo>
                      <a:lnTo>
                        <a:pt x="6" y="291"/>
                      </a:lnTo>
                      <a:lnTo>
                        <a:pt x="9" y="303"/>
                      </a:lnTo>
                      <a:lnTo>
                        <a:pt x="12" y="315"/>
                      </a:lnTo>
                      <a:lnTo>
                        <a:pt x="16" y="327"/>
                      </a:lnTo>
                      <a:lnTo>
                        <a:pt x="22" y="337"/>
                      </a:lnTo>
                      <a:lnTo>
                        <a:pt x="27" y="348"/>
                      </a:lnTo>
                      <a:lnTo>
                        <a:pt x="34" y="359"/>
                      </a:lnTo>
                      <a:lnTo>
                        <a:pt x="40" y="369"/>
                      </a:lnTo>
                      <a:lnTo>
                        <a:pt x="47" y="379"/>
                      </a:lnTo>
                      <a:lnTo>
                        <a:pt x="55" y="389"/>
                      </a:lnTo>
                      <a:lnTo>
                        <a:pt x="62" y="398"/>
                      </a:lnTo>
                      <a:lnTo>
                        <a:pt x="72" y="407"/>
                      </a:lnTo>
                      <a:lnTo>
                        <a:pt x="81" y="417"/>
                      </a:lnTo>
                      <a:lnTo>
                        <a:pt x="90" y="424"/>
                      </a:lnTo>
                      <a:lnTo>
                        <a:pt x="100" y="433"/>
                      </a:lnTo>
                      <a:lnTo>
                        <a:pt x="111" y="439"/>
                      </a:lnTo>
                      <a:lnTo>
                        <a:pt x="121" y="447"/>
                      </a:lnTo>
                      <a:lnTo>
                        <a:pt x="132" y="453"/>
                      </a:lnTo>
                      <a:lnTo>
                        <a:pt x="144" y="459"/>
                      </a:lnTo>
                      <a:lnTo>
                        <a:pt x="155" y="465"/>
                      </a:lnTo>
                      <a:lnTo>
                        <a:pt x="167" y="470"/>
                      </a:lnTo>
                      <a:lnTo>
                        <a:pt x="179" y="474"/>
                      </a:lnTo>
                      <a:lnTo>
                        <a:pt x="192" y="478"/>
                      </a:lnTo>
                      <a:lnTo>
                        <a:pt x="205" y="482"/>
                      </a:lnTo>
                      <a:lnTo>
                        <a:pt x="218" y="484"/>
                      </a:lnTo>
                      <a:lnTo>
                        <a:pt x="231" y="486"/>
                      </a:lnTo>
                      <a:lnTo>
                        <a:pt x="244" y="488"/>
                      </a:lnTo>
                      <a:lnTo>
                        <a:pt x="258" y="489"/>
                      </a:lnTo>
                      <a:lnTo>
                        <a:pt x="272" y="489"/>
                      </a:lnTo>
                      <a:lnTo>
                        <a:pt x="272" y="489"/>
                      </a:lnTo>
                      <a:lnTo>
                        <a:pt x="286" y="489"/>
                      </a:lnTo>
                      <a:lnTo>
                        <a:pt x="300" y="488"/>
                      </a:lnTo>
                      <a:lnTo>
                        <a:pt x="314" y="486"/>
                      </a:lnTo>
                      <a:lnTo>
                        <a:pt x="327" y="484"/>
                      </a:lnTo>
                      <a:lnTo>
                        <a:pt x="341" y="481"/>
                      </a:lnTo>
                      <a:lnTo>
                        <a:pt x="353" y="478"/>
                      </a:lnTo>
                      <a:lnTo>
                        <a:pt x="367" y="472"/>
                      </a:lnTo>
                      <a:lnTo>
                        <a:pt x="380" y="468"/>
                      </a:lnTo>
                      <a:lnTo>
                        <a:pt x="525" y="526"/>
                      </a:lnTo>
                      <a:lnTo>
                        <a:pt x="527" y="526"/>
                      </a:lnTo>
                      <a:lnTo>
                        <a:pt x="530" y="527"/>
                      </a:lnTo>
                      <a:lnTo>
                        <a:pt x="533" y="526"/>
                      </a:lnTo>
                      <a:lnTo>
                        <a:pt x="536" y="525"/>
                      </a:lnTo>
                      <a:lnTo>
                        <a:pt x="539" y="524"/>
                      </a:lnTo>
                      <a:lnTo>
                        <a:pt x="541" y="521"/>
                      </a:lnTo>
                      <a:lnTo>
                        <a:pt x="544" y="517"/>
                      </a:lnTo>
                      <a:lnTo>
                        <a:pt x="545" y="513"/>
                      </a:lnTo>
                      <a:lnTo>
                        <a:pt x="545" y="509"/>
                      </a:lnTo>
                      <a:lnTo>
                        <a:pt x="543" y="504"/>
                      </a:lnTo>
                      <a:lnTo>
                        <a:pt x="488" y="39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ïṣļîḋè">
              <a:extLst>
                <a:ext uri="{FF2B5EF4-FFF2-40B4-BE49-F238E27FC236}">
                  <a16:creationId xmlns:a16="http://schemas.microsoft.com/office/drawing/2014/main" id="{1795CE49-3A1B-4994-B13C-F5A40083BA02}"/>
                </a:ext>
              </a:extLst>
            </p:cNvPr>
            <p:cNvGrpSpPr/>
            <p:nvPr/>
          </p:nvGrpSpPr>
          <p:grpSpPr>
            <a:xfrm>
              <a:off x="7761155" y="2188828"/>
              <a:ext cx="952304" cy="623435"/>
              <a:chOff x="6349908" y="2695299"/>
              <a:chExt cx="952304" cy="623435"/>
            </a:xfrm>
          </p:grpSpPr>
          <p:sp>
            <p:nvSpPr>
              <p:cNvPr id="28" name="iŝḻîde">
                <a:extLst>
                  <a:ext uri="{FF2B5EF4-FFF2-40B4-BE49-F238E27FC236}">
                    <a16:creationId xmlns:a16="http://schemas.microsoft.com/office/drawing/2014/main" id="{74330071-823E-4C3D-97C8-402087975A26}"/>
                  </a:ext>
                </a:extLst>
              </p:cNvPr>
              <p:cNvSpPr txBox="1"/>
              <p:nvPr/>
            </p:nvSpPr>
            <p:spPr>
              <a:xfrm>
                <a:off x="6349908" y="2980180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Apr-Jun</a:t>
                </a:r>
              </a:p>
            </p:txBody>
          </p:sp>
          <p:grpSp>
            <p:nvGrpSpPr>
              <p:cNvPr id="29" name="îSļidè">
                <a:extLst>
                  <a:ext uri="{FF2B5EF4-FFF2-40B4-BE49-F238E27FC236}">
                    <a16:creationId xmlns:a16="http://schemas.microsoft.com/office/drawing/2014/main" id="{36ABE691-93DA-438F-BA08-348D6D0E018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00714" y="2695299"/>
                <a:ext cx="250681" cy="252001"/>
                <a:chOff x="1547813" y="3240088"/>
                <a:chExt cx="301626" cy="303213"/>
              </a:xfrm>
              <a:solidFill>
                <a:sysClr val="window" lastClr="FFFFFF"/>
              </a:solidFill>
            </p:grpSpPr>
            <p:sp>
              <p:nvSpPr>
                <p:cNvPr id="30" name="ïsļíḋe">
                  <a:extLst>
                    <a:ext uri="{FF2B5EF4-FFF2-40B4-BE49-F238E27FC236}">
                      <a16:creationId xmlns:a16="http://schemas.microsoft.com/office/drawing/2014/main" id="{C735B9A9-B286-4DDB-96A9-C4EB645BB7D2}"/>
                    </a:ext>
                  </a:extLst>
                </p:cNvPr>
                <p:cNvSpPr/>
                <p:nvPr/>
              </p:nvSpPr>
              <p:spPr bwMode="auto">
                <a:xfrm>
                  <a:off x="1611313" y="3392488"/>
                  <a:ext cx="85725" cy="87313"/>
                </a:xfrm>
                <a:custGeom>
                  <a:avLst/>
                  <a:gdLst>
                    <a:gd name="T0" fmla="*/ 92 w 218"/>
                    <a:gd name="T1" fmla="*/ 191 h 219"/>
                    <a:gd name="T2" fmla="*/ 70 w 218"/>
                    <a:gd name="T3" fmla="*/ 183 h 219"/>
                    <a:gd name="T4" fmla="*/ 50 w 218"/>
                    <a:gd name="T5" fmla="*/ 168 h 219"/>
                    <a:gd name="T6" fmla="*/ 35 w 218"/>
                    <a:gd name="T7" fmla="*/ 149 h 219"/>
                    <a:gd name="T8" fmla="*/ 27 w 218"/>
                    <a:gd name="T9" fmla="*/ 125 h 219"/>
                    <a:gd name="T10" fmla="*/ 26 w 218"/>
                    <a:gd name="T11" fmla="*/ 101 h 219"/>
                    <a:gd name="T12" fmla="*/ 32 w 218"/>
                    <a:gd name="T13" fmla="*/ 77 h 219"/>
                    <a:gd name="T14" fmla="*/ 45 w 218"/>
                    <a:gd name="T15" fmla="*/ 56 h 219"/>
                    <a:gd name="T16" fmla="*/ 62 w 218"/>
                    <a:gd name="T17" fmla="*/ 40 h 219"/>
                    <a:gd name="T18" fmla="*/ 85 w 218"/>
                    <a:gd name="T19" fmla="*/ 29 h 219"/>
                    <a:gd name="T20" fmla="*/ 109 w 218"/>
                    <a:gd name="T21" fmla="*/ 26 h 219"/>
                    <a:gd name="T22" fmla="*/ 134 w 218"/>
                    <a:gd name="T23" fmla="*/ 29 h 219"/>
                    <a:gd name="T24" fmla="*/ 155 w 218"/>
                    <a:gd name="T25" fmla="*/ 40 h 219"/>
                    <a:gd name="T26" fmla="*/ 174 w 218"/>
                    <a:gd name="T27" fmla="*/ 56 h 219"/>
                    <a:gd name="T28" fmla="*/ 186 w 218"/>
                    <a:gd name="T29" fmla="*/ 77 h 219"/>
                    <a:gd name="T30" fmla="*/ 192 w 218"/>
                    <a:gd name="T31" fmla="*/ 101 h 219"/>
                    <a:gd name="T32" fmla="*/ 191 w 218"/>
                    <a:gd name="T33" fmla="*/ 125 h 219"/>
                    <a:gd name="T34" fmla="*/ 182 w 218"/>
                    <a:gd name="T35" fmla="*/ 149 h 219"/>
                    <a:gd name="T36" fmla="*/ 168 w 218"/>
                    <a:gd name="T37" fmla="*/ 168 h 219"/>
                    <a:gd name="T38" fmla="*/ 149 w 218"/>
                    <a:gd name="T39" fmla="*/ 183 h 219"/>
                    <a:gd name="T40" fmla="*/ 125 w 218"/>
                    <a:gd name="T41" fmla="*/ 191 h 219"/>
                    <a:gd name="T42" fmla="*/ 109 w 218"/>
                    <a:gd name="T43" fmla="*/ 0 h 219"/>
                    <a:gd name="T44" fmla="*/ 77 w 218"/>
                    <a:gd name="T45" fmla="*/ 4 h 219"/>
                    <a:gd name="T46" fmla="*/ 48 w 218"/>
                    <a:gd name="T47" fmla="*/ 18 h 219"/>
                    <a:gd name="T48" fmla="*/ 25 w 218"/>
                    <a:gd name="T49" fmla="*/ 40 h 219"/>
                    <a:gd name="T50" fmla="*/ 8 w 218"/>
                    <a:gd name="T51" fmla="*/ 66 h 219"/>
                    <a:gd name="T52" fmla="*/ 1 w 218"/>
                    <a:gd name="T53" fmla="*/ 98 h 219"/>
                    <a:gd name="T54" fmla="*/ 2 w 218"/>
                    <a:gd name="T55" fmla="*/ 131 h 219"/>
                    <a:gd name="T56" fmla="*/ 13 w 218"/>
                    <a:gd name="T57" fmla="*/ 161 h 219"/>
                    <a:gd name="T58" fmla="*/ 32 w 218"/>
                    <a:gd name="T59" fmla="*/ 187 h 219"/>
                    <a:gd name="T60" fmla="*/ 57 w 218"/>
                    <a:gd name="T61" fmla="*/ 205 h 219"/>
                    <a:gd name="T62" fmla="*/ 87 w 218"/>
                    <a:gd name="T63" fmla="*/ 217 h 219"/>
                    <a:gd name="T64" fmla="*/ 120 w 218"/>
                    <a:gd name="T65" fmla="*/ 218 h 219"/>
                    <a:gd name="T66" fmla="*/ 151 w 218"/>
                    <a:gd name="T67" fmla="*/ 210 h 219"/>
                    <a:gd name="T68" fmla="*/ 178 w 218"/>
                    <a:gd name="T69" fmla="*/ 193 h 219"/>
                    <a:gd name="T70" fmla="*/ 200 w 218"/>
                    <a:gd name="T71" fmla="*/ 171 h 219"/>
                    <a:gd name="T72" fmla="*/ 213 w 218"/>
                    <a:gd name="T73" fmla="*/ 142 h 219"/>
                    <a:gd name="T74" fmla="*/ 218 w 218"/>
                    <a:gd name="T75" fmla="*/ 109 h 219"/>
                    <a:gd name="T76" fmla="*/ 213 w 218"/>
                    <a:gd name="T77" fmla="*/ 77 h 219"/>
                    <a:gd name="T78" fmla="*/ 200 w 218"/>
                    <a:gd name="T79" fmla="*/ 48 h 219"/>
                    <a:gd name="T80" fmla="*/ 178 w 218"/>
                    <a:gd name="T81" fmla="*/ 25 h 219"/>
                    <a:gd name="T82" fmla="*/ 151 w 218"/>
                    <a:gd name="T83" fmla="*/ 8 h 219"/>
                    <a:gd name="T84" fmla="*/ 120 w 218"/>
                    <a:gd name="T85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18" h="219">
                      <a:moveTo>
                        <a:pt x="109" y="193"/>
                      </a:moveTo>
                      <a:lnTo>
                        <a:pt x="101" y="193"/>
                      </a:lnTo>
                      <a:lnTo>
                        <a:pt x="92" y="191"/>
                      </a:lnTo>
                      <a:lnTo>
                        <a:pt x="85" y="190"/>
                      </a:lnTo>
                      <a:lnTo>
                        <a:pt x="76" y="187"/>
                      </a:lnTo>
                      <a:lnTo>
                        <a:pt x="70" y="183"/>
                      </a:lnTo>
                      <a:lnTo>
                        <a:pt x="62" y="179"/>
                      </a:lnTo>
                      <a:lnTo>
                        <a:pt x="56" y="174"/>
                      </a:lnTo>
                      <a:lnTo>
                        <a:pt x="50" y="168"/>
                      </a:lnTo>
                      <a:lnTo>
                        <a:pt x="45" y="162"/>
                      </a:lnTo>
                      <a:lnTo>
                        <a:pt x="40" y="156"/>
                      </a:lnTo>
                      <a:lnTo>
                        <a:pt x="35" y="149"/>
                      </a:lnTo>
                      <a:lnTo>
                        <a:pt x="32" y="142"/>
                      </a:lnTo>
                      <a:lnTo>
                        <a:pt x="29" y="134"/>
                      </a:lnTo>
                      <a:lnTo>
                        <a:pt x="27" y="125"/>
                      </a:lnTo>
                      <a:lnTo>
                        <a:pt x="26" y="118"/>
                      </a:lnTo>
                      <a:lnTo>
                        <a:pt x="26" y="109"/>
                      </a:lnTo>
                      <a:lnTo>
                        <a:pt x="26" y="101"/>
                      </a:lnTo>
                      <a:lnTo>
                        <a:pt x="27" y="92"/>
                      </a:lnTo>
                      <a:lnTo>
                        <a:pt x="29" y="85"/>
                      </a:lnTo>
                      <a:lnTo>
                        <a:pt x="32" y="77"/>
                      </a:lnTo>
                      <a:lnTo>
                        <a:pt x="35" y="70"/>
                      </a:lnTo>
                      <a:lnTo>
                        <a:pt x="40" y="62"/>
                      </a:lnTo>
                      <a:lnTo>
                        <a:pt x="45" y="56"/>
                      </a:lnTo>
                      <a:lnTo>
                        <a:pt x="50" y="50"/>
                      </a:lnTo>
                      <a:lnTo>
                        <a:pt x="56" y="45"/>
                      </a:lnTo>
                      <a:lnTo>
                        <a:pt x="62" y="40"/>
                      </a:lnTo>
                      <a:lnTo>
                        <a:pt x="70" y="35"/>
                      </a:lnTo>
                      <a:lnTo>
                        <a:pt x="76" y="32"/>
                      </a:lnTo>
                      <a:lnTo>
                        <a:pt x="85" y="29"/>
                      </a:lnTo>
                      <a:lnTo>
                        <a:pt x="92" y="27"/>
                      </a:lnTo>
                      <a:lnTo>
                        <a:pt x="101" y="26"/>
                      </a:lnTo>
                      <a:lnTo>
                        <a:pt x="109" y="26"/>
                      </a:lnTo>
                      <a:lnTo>
                        <a:pt x="118" y="26"/>
                      </a:lnTo>
                      <a:lnTo>
                        <a:pt x="125" y="27"/>
                      </a:lnTo>
                      <a:lnTo>
                        <a:pt x="134" y="29"/>
                      </a:lnTo>
                      <a:lnTo>
                        <a:pt x="142" y="32"/>
                      </a:lnTo>
                      <a:lnTo>
                        <a:pt x="149" y="35"/>
                      </a:lnTo>
                      <a:lnTo>
                        <a:pt x="155" y="40"/>
                      </a:lnTo>
                      <a:lnTo>
                        <a:pt x="162" y="45"/>
                      </a:lnTo>
                      <a:lnTo>
                        <a:pt x="168" y="50"/>
                      </a:lnTo>
                      <a:lnTo>
                        <a:pt x="174" y="56"/>
                      </a:lnTo>
                      <a:lnTo>
                        <a:pt x="178" y="62"/>
                      </a:lnTo>
                      <a:lnTo>
                        <a:pt x="182" y="70"/>
                      </a:lnTo>
                      <a:lnTo>
                        <a:pt x="186" y="77"/>
                      </a:lnTo>
                      <a:lnTo>
                        <a:pt x="189" y="85"/>
                      </a:lnTo>
                      <a:lnTo>
                        <a:pt x="191" y="92"/>
                      </a:lnTo>
                      <a:lnTo>
                        <a:pt x="192" y="101"/>
                      </a:lnTo>
                      <a:lnTo>
                        <a:pt x="193" y="109"/>
                      </a:lnTo>
                      <a:lnTo>
                        <a:pt x="192" y="118"/>
                      </a:lnTo>
                      <a:lnTo>
                        <a:pt x="191" y="125"/>
                      </a:lnTo>
                      <a:lnTo>
                        <a:pt x="189" y="134"/>
                      </a:lnTo>
                      <a:lnTo>
                        <a:pt x="186" y="142"/>
                      </a:lnTo>
                      <a:lnTo>
                        <a:pt x="182" y="149"/>
                      </a:lnTo>
                      <a:lnTo>
                        <a:pt x="178" y="156"/>
                      </a:lnTo>
                      <a:lnTo>
                        <a:pt x="174" y="162"/>
                      </a:lnTo>
                      <a:lnTo>
                        <a:pt x="168" y="168"/>
                      </a:lnTo>
                      <a:lnTo>
                        <a:pt x="162" y="174"/>
                      </a:lnTo>
                      <a:lnTo>
                        <a:pt x="155" y="179"/>
                      </a:lnTo>
                      <a:lnTo>
                        <a:pt x="149" y="183"/>
                      </a:lnTo>
                      <a:lnTo>
                        <a:pt x="142" y="187"/>
                      </a:lnTo>
                      <a:lnTo>
                        <a:pt x="134" y="190"/>
                      </a:lnTo>
                      <a:lnTo>
                        <a:pt x="125" y="191"/>
                      </a:lnTo>
                      <a:lnTo>
                        <a:pt x="118" y="193"/>
                      </a:lnTo>
                      <a:lnTo>
                        <a:pt x="109" y="193"/>
                      </a:lnTo>
                      <a:close/>
                      <a:moveTo>
                        <a:pt x="109" y="0"/>
                      </a:moveTo>
                      <a:lnTo>
                        <a:pt x="98" y="0"/>
                      </a:lnTo>
                      <a:lnTo>
                        <a:pt x="87" y="2"/>
                      </a:lnTo>
                      <a:lnTo>
                        <a:pt x="77" y="4"/>
                      </a:lnTo>
                      <a:lnTo>
                        <a:pt x="66" y="8"/>
                      </a:lnTo>
                      <a:lnTo>
                        <a:pt x="57" y="13"/>
                      </a:lnTo>
                      <a:lnTo>
                        <a:pt x="48" y="18"/>
                      </a:lnTo>
                      <a:lnTo>
                        <a:pt x="40" y="25"/>
                      </a:lnTo>
                      <a:lnTo>
                        <a:pt x="32" y="32"/>
                      </a:lnTo>
                      <a:lnTo>
                        <a:pt x="25" y="40"/>
                      </a:lnTo>
                      <a:lnTo>
                        <a:pt x="19" y="48"/>
                      </a:lnTo>
                      <a:lnTo>
                        <a:pt x="13" y="57"/>
                      </a:lnTo>
                      <a:lnTo>
                        <a:pt x="8" y="66"/>
                      </a:lnTo>
                      <a:lnTo>
                        <a:pt x="5" y="77"/>
                      </a:lnTo>
                      <a:lnTo>
                        <a:pt x="2" y="87"/>
                      </a:lnTo>
                      <a:lnTo>
                        <a:pt x="1" y="98"/>
                      </a:lnTo>
                      <a:lnTo>
                        <a:pt x="0" y="109"/>
                      </a:lnTo>
                      <a:lnTo>
                        <a:pt x="1" y="120"/>
                      </a:lnTo>
                      <a:lnTo>
                        <a:pt x="2" y="131"/>
                      </a:lnTo>
                      <a:lnTo>
                        <a:pt x="5" y="142"/>
                      </a:lnTo>
                      <a:lnTo>
                        <a:pt x="8" y="151"/>
                      </a:lnTo>
                      <a:lnTo>
                        <a:pt x="13" y="161"/>
                      </a:lnTo>
                      <a:lnTo>
                        <a:pt x="19" y="171"/>
                      </a:lnTo>
                      <a:lnTo>
                        <a:pt x="25" y="178"/>
                      </a:lnTo>
                      <a:lnTo>
                        <a:pt x="32" y="187"/>
                      </a:lnTo>
                      <a:lnTo>
                        <a:pt x="40" y="193"/>
                      </a:lnTo>
                      <a:lnTo>
                        <a:pt x="48" y="200"/>
                      </a:lnTo>
                      <a:lnTo>
                        <a:pt x="57" y="205"/>
                      </a:lnTo>
                      <a:lnTo>
                        <a:pt x="66" y="210"/>
                      </a:lnTo>
                      <a:lnTo>
                        <a:pt x="77" y="214"/>
                      </a:lnTo>
                      <a:lnTo>
                        <a:pt x="87" y="217"/>
                      </a:lnTo>
                      <a:lnTo>
                        <a:pt x="98" y="218"/>
                      </a:lnTo>
                      <a:lnTo>
                        <a:pt x="109" y="219"/>
                      </a:lnTo>
                      <a:lnTo>
                        <a:pt x="120" y="218"/>
                      </a:lnTo>
                      <a:lnTo>
                        <a:pt x="131" y="217"/>
                      </a:lnTo>
                      <a:lnTo>
                        <a:pt x="142" y="214"/>
                      </a:lnTo>
                      <a:lnTo>
                        <a:pt x="151" y="210"/>
                      </a:lnTo>
                      <a:lnTo>
                        <a:pt x="161" y="205"/>
                      </a:lnTo>
                      <a:lnTo>
                        <a:pt x="169" y="200"/>
                      </a:lnTo>
                      <a:lnTo>
                        <a:pt x="178" y="193"/>
                      </a:lnTo>
                      <a:lnTo>
                        <a:pt x="187" y="187"/>
                      </a:lnTo>
                      <a:lnTo>
                        <a:pt x="193" y="178"/>
                      </a:lnTo>
                      <a:lnTo>
                        <a:pt x="200" y="171"/>
                      </a:lnTo>
                      <a:lnTo>
                        <a:pt x="205" y="161"/>
                      </a:lnTo>
                      <a:lnTo>
                        <a:pt x="209" y="151"/>
                      </a:lnTo>
                      <a:lnTo>
                        <a:pt x="213" y="142"/>
                      </a:lnTo>
                      <a:lnTo>
                        <a:pt x="216" y="131"/>
                      </a:lnTo>
                      <a:lnTo>
                        <a:pt x="218" y="120"/>
                      </a:lnTo>
                      <a:lnTo>
                        <a:pt x="218" y="109"/>
                      </a:lnTo>
                      <a:lnTo>
                        <a:pt x="218" y="98"/>
                      </a:lnTo>
                      <a:lnTo>
                        <a:pt x="216" y="87"/>
                      </a:lnTo>
                      <a:lnTo>
                        <a:pt x="213" y="77"/>
                      </a:lnTo>
                      <a:lnTo>
                        <a:pt x="209" y="66"/>
                      </a:lnTo>
                      <a:lnTo>
                        <a:pt x="205" y="57"/>
                      </a:lnTo>
                      <a:lnTo>
                        <a:pt x="200" y="48"/>
                      </a:lnTo>
                      <a:lnTo>
                        <a:pt x="193" y="40"/>
                      </a:lnTo>
                      <a:lnTo>
                        <a:pt x="187" y="32"/>
                      </a:lnTo>
                      <a:lnTo>
                        <a:pt x="178" y="25"/>
                      </a:lnTo>
                      <a:lnTo>
                        <a:pt x="169" y="18"/>
                      </a:lnTo>
                      <a:lnTo>
                        <a:pt x="161" y="13"/>
                      </a:lnTo>
                      <a:lnTo>
                        <a:pt x="151" y="8"/>
                      </a:lnTo>
                      <a:lnTo>
                        <a:pt x="142" y="4"/>
                      </a:lnTo>
                      <a:lnTo>
                        <a:pt x="131" y="2"/>
                      </a:lnTo>
                      <a:lnTo>
                        <a:pt x="120" y="0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îSḷíḓê">
                  <a:extLst>
                    <a:ext uri="{FF2B5EF4-FFF2-40B4-BE49-F238E27FC236}">
                      <a16:creationId xmlns:a16="http://schemas.microsoft.com/office/drawing/2014/main" id="{98824B92-0AC2-4742-B3D4-095BB2606539}"/>
                    </a:ext>
                  </a:extLst>
                </p:cNvPr>
                <p:cNvSpPr/>
                <p:nvPr/>
              </p:nvSpPr>
              <p:spPr bwMode="auto">
                <a:xfrm>
                  <a:off x="1763713" y="3278188"/>
                  <a:ext cx="49213" cy="47625"/>
                </a:xfrm>
                <a:custGeom>
                  <a:avLst/>
                  <a:gdLst>
                    <a:gd name="T0" fmla="*/ 54 w 122"/>
                    <a:gd name="T1" fmla="*/ 96 h 121"/>
                    <a:gd name="T2" fmla="*/ 41 w 122"/>
                    <a:gd name="T3" fmla="*/ 90 h 121"/>
                    <a:gd name="T4" fmla="*/ 31 w 122"/>
                    <a:gd name="T5" fmla="*/ 81 h 121"/>
                    <a:gd name="T6" fmla="*/ 26 w 122"/>
                    <a:gd name="T7" fmla="*/ 68 h 121"/>
                    <a:gd name="T8" fmla="*/ 26 w 122"/>
                    <a:gd name="T9" fmla="*/ 54 h 121"/>
                    <a:gd name="T10" fmla="*/ 31 w 122"/>
                    <a:gd name="T11" fmla="*/ 41 h 121"/>
                    <a:gd name="T12" fmla="*/ 41 w 122"/>
                    <a:gd name="T13" fmla="*/ 31 h 121"/>
                    <a:gd name="T14" fmla="*/ 54 w 122"/>
                    <a:gd name="T15" fmla="*/ 26 h 121"/>
                    <a:gd name="T16" fmla="*/ 68 w 122"/>
                    <a:gd name="T17" fmla="*/ 26 h 121"/>
                    <a:gd name="T18" fmla="*/ 81 w 122"/>
                    <a:gd name="T19" fmla="*/ 31 h 121"/>
                    <a:gd name="T20" fmla="*/ 90 w 122"/>
                    <a:gd name="T21" fmla="*/ 41 h 121"/>
                    <a:gd name="T22" fmla="*/ 96 w 122"/>
                    <a:gd name="T23" fmla="*/ 54 h 121"/>
                    <a:gd name="T24" fmla="*/ 96 w 122"/>
                    <a:gd name="T25" fmla="*/ 68 h 121"/>
                    <a:gd name="T26" fmla="*/ 90 w 122"/>
                    <a:gd name="T27" fmla="*/ 81 h 121"/>
                    <a:gd name="T28" fmla="*/ 81 w 122"/>
                    <a:gd name="T29" fmla="*/ 90 h 121"/>
                    <a:gd name="T30" fmla="*/ 68 w 122"/>
                    <a:gd name="T31" fmla="*/ 96 h 121"/>
                    <a:gd name="T32" fmla="*/ 61 w 122"/>
                    <a:gd name="T33" fmla="*/ 0 h 121"/>
                    <a:gd name="T34" fmla="*/ 49 w 122"/>
                    <a:gd name="T35" fmla="*/ 1 h 121"/>
                    <a:gd name="T36" fmla="*/ 38 w 122"/>
                    <a:gd name="T37" fmla="*/ 4 h 121"/>
                    <a:gd name="T38" fmla="*/ 27 w 122"/>
                    <a:gd name="T39" fmla="*/ 11 h 121"/>
                    <a:gd name="T40" fmla="*/ 19 w 122"/>
                    <a:gd name="T41" fmla="*/ 18 h 121"/>
                    <a:gd name="T42" fmla="*/ 11 w 122"/>
                    <a:gd name="T43" fmla="*/ 27 h 121"/>
                    <a:gd name="T44" fmla="*/ 5 w 122"/>
                    <a:gd name="T45" fmla="*/ 38 h 121"/>
                    <a:gd name="T46" fmla="*/ 1 w 122"/>
                    <a:gd name="T47" fmla="*/ 48 h 121"/>
                    <a:gd name="T48" fmla="*/ 0 w 122"/>
                    <a:gd name="T49" fmla="*/ 61 h 121"/>
                    <a:gd name="T50" fmla="*/ 1 w 122"/>
                    <a:gd name="T51" fmla="*/ 73 h 121"/>
                    <a:gd name="T52" fmla="*/ 5 w 122"/>
                    <a:gd name="T53" fmla="*/ 85 h 121"/>
                    <a:gd name="T54" fmla="*/ 11 w 122"/>
                    <a:gd name="T55" fmla="*/ 96 h 121"/>
                    <a:gd name="T56" fmla="*/ 19 w 122"/>
                    <a:gd name="T57" fmla="*/ 104 h 121"/>
                    <a:gd name="T58" fmla="*/ 27 w 122"/>
                    <a:gd name="T59" fmla="*/ 112 h 121"/>
                    <a:gd name="T60" fmla="*/ 38 w 122"/>
                    <a:gd name="T61" fmla="*/ 117 h 121"/>
                    <a:gd name="T62" fmla="*/ 49 w 122"/>
                    <a:gd name="T63" fmla="*/ 120 h 121"/>
                    <a:gd name="T64" fmla="*/ 61 w 122"/>
                    <a:gd name="T65" fmla="*/ 121 h 121"/>
                    <a:gd name="T66" fmla="*/ 73 w 122"/>
                    <a:gd name="T67" fmla="*/ 120 h 121"/>
                    <a:gd name="T68" fmla="*/ 85 w 122"/>
                    <a:gd name="T69" fmla="*/ 117 h 121"/>
                    <a:gd name="T70" fmla="*/ 95 w 122"/>
                    <a:gd name="T71" fmla="*/ 112 h 121"/>
                    <a:gd name="T72" fmla="*/ 104 w 122"/>
                    <a:gd name="T73" fmla="*/ 104 h 121"/>
                    <a:gd name="T74" fmla="*/ 112 w 122"/>
                    <a:gd name="T75" fmla="*/ 96 h 121"/>
                    <a:gd name="T76" fmla="*/ 117 w 122"/>
                    <a:gd name="T77" fmla="*/ 85 h 121"/>
                    <a:gd name="T78" fmla="*/ 121 w 122"/>
                    <a:gd name="T79" fmla="*/ 73 h 121"/>
                    <a:gd name="T80" fmla="*/ 122 w 122"/>
                    <a:gd name="T81" fmla="*/ 61 h 121"/>
                    <a:gd name="T82" fmla="*/ 121 w 122"/>
                    <a:gd name="T83" fmla="*/ 48 h 121"/>
                    <a:gd name="T84" fmla="*/ 117 w 122"/>
                    <a:gd name="T85" fmla="*/ 38 h 121"/>
                    <a:gd name="T86" fmla="*/ 112 w 122"/>
                    <a:gd name="T87" fmla="*/ 27 h 121"/>
                    <a:gd name="T88" fmla="*/ 104 w 122"/>
                    <a:gd name="T89" fmla="*/ 18 h 121"/>
                    <a:gd name="T90" fmla="*/ 95 w 122"/>
                    <a:gd name="T91" fmla="*/ 11 h 121"/>
                    <a:gd name="T92" fmla="*/ 85 w 122"/>
                    <a:gd name="T93" fmla="*/ 4 h 121"/>
                    <a:gd name="T94" fmla="*/ 73 w 122"/>
                    <a:gd name="T95" fmla="*/ 1 h 121"/>
                    <a:gd name="T96" fmla="*/ 61 w 122"/>
                    <a:gd name="T97" fmla="*/ 0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2" h="121">
                      <a:moveTo>
                        <a:pt x="61" y="97"/>
                      </a:moveTo>
                      <a:lnTo>
                        <a:pt x="54" y="96"/>
                      </a:lnTo>
                      <a:lnTo>
                        <a:pt x="47" y="93"/>
                      </a:lnTo>
                      <a:lnTo>
                        <a:pt x="41" y="90"/>
                      </a:lnTo>
                      <a:lnTo>
                        <a:pt x="36" y="86"/>
                      </a:lnTo>
                      <a:lnTo>
                        <a:pt x="31" y="81"/>
                      </a:lnTo>
                      <a:lnTo>
                        <a:pt x="28" y="75"/>
                      </a:lnTo>
                      <a:lnTo>
                        <a:pt x="26" y="68"/>
                      </a:lnTo>
                      <a:lnTo>
                        <a:pt x="26" y="61"/>
                      </a:lnTo>
                      <a:lnTo>
                        <a:pt x="26" y="54"/>
                      </a:lnTo>
                      <a:lnTo>
                        <a:pt x="28" y="47"/>
                      </a:lnTo>
                      <a:lnTo>
                        <a:pt x="31" y="41"/>
                      </a:lnTo>
                      <a:lnTo>
                        <a:pt x="36" y="35"/>
                      </a:lnTo>
                      <a:lnTo>
                        <a:pt x="41" y="31"/>
                      </a:lnTo>
                      <a:lnTo>
                        <a:pt x="47" y="28"/>
                      </a:lnTo>
                      <a:lnTo>
                        <a:pt x="54" y="26"/>
                      </a:lnTo>
                      <a:lnTo>
                        <a:pt x="61" y="25"/>
                      </a:lnTo>
                      <a:lnTo>
                        <a:pt x="68" y="26"/>
                      </a:lnTo>
                      <a:lnTo>
                        <a:pt x="75" y="28"/>
                      </a:lnTo>
                      <a:lnTo>
                        <a:pt x="81" y="31"/>
                      </a:lnTo>
                      <a:lnTo>
                        <a:pt x="86" y="35"/>
                      </a:lnTo>
                      <a:lnTo>
                        <a:pt x="90" y="41"/>
                      </a:lnTo>
                      <a:lnTo>
                        <a:pt x="94" y="47"/>
                      </a:lnTo>
                      <a:lnTo>
                        <a:pt x="96" y="54"/>
                      </a:lnTo>
                      <a:lnTo>
                        <a:pt x="97" y="61"/>
                      </a:lnTo>
                      <a:lnTo>
                        <a:pt x="96" y="68"/>
                      </a:lnTo>
                      <a:lnTo>
                        <a:pt x="94" y="75"/>
                      </a:lnTo>
                      <a:lnTo>
                        <a:pt x="90" y="81"/>
                      </a:lnTo>
                      <a:lnTo>
                        <a:pt x="86" y="86"/>
                      </a:lnTo>
                      <a:lnTo>
                        <a:pt x="81" y="90"/>
                      </a:lnTo>
                      <a:lnTo>
                        <a:pt x="75" y="93"/>
                      </a:lnTo>
                      <a:lnTo>
                        <a:pt x="68" y="96"/>
                      </a:lnTo>
                      <a:lnTo>
                        <a:pt x="61" y="97"/>
                      </a:lnTo>
                      <a:close/>
                      <a:moveTo>
                        <a:pt x="61" y="0"/>
                      </a:moveTo>
                      <a:lnTo>
                        <a:pt x="55" y="0"/>
                      </a:lnTo>
                      <a:lnTo>
                        <a:pt x="49" y="1"/>
                      </a:lnTo>
                      <a:lnTo>
                        <a:pt x="43" y="2"/>
                      </a:lnTo>
                      <a:lnTo>
                        <a:pt x="38" y="4"/>
                      </a:lnTo>
                      <a:lnTo>
                        <a:pt x="32" y="8"/>
                      </a:lnTo>
                      <a:lnTo>
                        <a:pt x="27" y="11"/>
                      </a:lnTo>
                      <a:lnTo>
                        <a:pt x="23" y="14"/>
                      </a:lnTo>
                      <a:lnTo>
                        <a:pt x="19" y="18"/>
                      </a:lnTo>
                      <a:lnTo>
                        <a:pt x="14" y="23"/>
                      </a:lnTo>
                      <a:lnTo>
                        <a:pt x="11" y="27"/>
                      </a:lnTo>
                      <a:lnTo>
                        <a:pt x="8" y="32"/>
                      </a:lnTo>
                      <a:lnTo>
                        <a:pt x="5" y="38"/>
                      </a:lnTo>
                      <a:lnTo>
                        <a:pt x="3" y="43"/>
                      </a:lnTo>
                      <a:lnTo>
                        <a:pt x="1" y="48"/>
                      </a:lnTo>
                      <a:lnTo>
                        <a:pt x="0" y="55"/>
                      </a:lnTo>
                      <a:lnTo>
                        <a:pt x="0" y="61"/>
                      </a:lnTo>
                      <a:lnTo>
                        <a:pt x="0" y="67"/>
                      </a:lnTo>
                      <a:lnTo>
                        <a:pt x="1" y="73"/>
                      </a:lnTo>
                      <a:lnTo>
                        <a:pt x="3" y="79"/>
                      </a:lnTo>
                      <a:lnTo>
                        <a:pt x="5" y="85"/>
                      </a:lnTo>
                      <a:lnTo>
                        <a:pt x="8" y="90"/>
                      </a:lnTo>
                      <a:lnTo>
                        <a:pt x="11" y="96"/>
                      </a:lnTo>
                      <a:lnTo>
                        <a:pt x="14" y="100"/>
                      </a:lnTo>
                      <a:lnTo>
                        <a:pt x="19" y="104"/>
                      </a:lnTo>
                      <a:lnTo>
                        <a:pt x="23" y="108"/>
                      </a:lnTo>
                      <a:lnTo>
                        <a:pt x="27" y="112"/>
                      </a:lnTo>
                      <a:lnTo>
                        <a:pt x="32" y="115"/>
                      </a:lnTo>
                      <a:lnTo>
                        <a:pt x="38" y="117"/>
                      </a:lnTo>
                      <a:lnTo>
                        <a:pt x="43" y="119"/>
                      </a:lnTo>
                      <a:lnTo>
                        <a:pt x="49" y="120"/>
                      </a:lnTo>
                      <a:lnTo>
                        <a:pt x="55" y="121"/>
                      </a:lnTo>
                      <a:lnTo>
                        <a:pt x="61" y="121"/>
                      </a:lnTo>
                      <a:lnTo>
                        <a:pt x="68" y="121"/>
                      </a:lnTo>
                      <a:lnTo>
                        <a:pt x="73" y="120"/>
                      </a:lnTo>
                      <a:lnTo>
                        <a:pt x="80" y="119"/>
                      </a:lnTo>
                      <a:lnTo>
                        <a:pt x="85" y="117"/>
                      </a:lnTo>
                      <a:lnTo>
                        <a:pt x="90" y="115"/>
                      </a:lnTo>
                      <a:lnTo>
                        <a:pt x="95" y="112"/>
                      </a:lnTo>
                      <a:lnTo>
                        <a:pt x="100" y="108"/>
                      </a:lnTo>
                      <a:lnTo>
                        <a:pt x="104" y="104"/>
                      </a:lnTo>
                      <a:lnTo>
                        <a:pt x="108" y="100"/>
                      </a:lnTo>
                      <a:lnTo>
                        <a:pt x="112" y="96"/>
                      </a:lnTo>
                      <a:lnTo>
                        <a:pt x="115" y="90"/>
                      </a:lnTo>
                      <a:lnTo>
                        <a:pt x="117" y="85"/>
                      </a:lnTo>
                      <a:lnTo>
                        <a:pt x="119" y="79"/>
                      </a:lnTo>
                      <a:lnTo>
                        <a:pt x="121" y="73"/>
                      </a:lnTo>
                      <a:lnTo>
                        <a:pt x="122" y="67"/>
                      </a:lnTo>
                      <a:lnTo>
                        <a:pt x="122" y="61"/>
                      </a:lnTo>
                      <a:lnTo>
                        <a:pt x="122" y="55"/>
                      </a:lnTo>
                      <a:lnTo>
                        <a:pt x="121" y="48"/>
                      </a:lnTo>
                      <a:lnTo>
                        <a:pt x="119" y="43"/>
                      </a:lnTo>
                      <a:lnTo>
                        <a:pt x="117" y="38"/>
                      </a:lnTo>
                      <a:lnTo>
                        <a:pt x="115" y="32"/>
                      </a:lnTo>
                      <a:lnTo>
                        <a:pt x="112" y="27"/>
                      </a:lnTo>
                      <a:lnTo>
                        <a:pt x="108" y="23"/>
                      </a:lnTo>
                      <a:lnTo>
                        <a:pt x="104" y="18"/>
                      </a:lnTo>
                      <a:lnTo>
                        <a:pt x="100" y="14"/>
                      </a:lnTo>
                      <a:lnTo>
                        <a:pt x="95" y="11"/>
                      </a:lnTo>
                      <a:lnTo>
                        <a:pt x="90" y="8"/>
                      </a:lnTo>
                      <a:lnTo>
                        <a:pt x="85" y="4"/>
                      </a:lnTo>
                      <a:lnTo>
                        <a:pt x="80" y="2"/>
                      </a:lnTo>
                      <a:lnTo>
                        <a:pt x="73" y="1"/>
                      </a:lnTo>
                      <a:lnTo>
                        <a:pt x="68" y="0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íşlîḑé">
                  <a:extLst>
                    <a:ext uri="{FF2B5EF4-FFF2-40B4-BE49-F238E27FC236}">
                      <a16:creationId xmlns:a16="http://schemas.microsoft.com/office/drawing/2014/main" id="{3C6B8E59-F70C-410B-8CC0-FAE860097B83}"/>
                    </a:ext>
                  </a:extLst>
                </p:cNvPr>
                <p:cNvSpPr/>
                <p:nvPr/>
              </p:nvSpPr>
              <p:spPr bwMode="auto">
                <a:xfrm>
                  <a:off x="1547813" y="3330576"/>
                  <a:ext cx="212725" cy="212725"/>
                </a:xfrm>
                <a:custGeom>
                  <a:avLst/>
                  <a:gdLst>
                    <a:gd name="T0" fmla="*/ 407 w 535"/>
                    <a:gd name="T1" fmla="*/ 408 h 536"/>
                    <a:gd name="T2" fmla="*/ 367 w 535"/>
                    <a:gd name="T3" fmla="*/ 436 h 536"/>
                    <a:gd name="T4" fmla="*/ 330 w 535"/>
                    <a:gd name="T5" fmla="*/ 452 h 536"/>
                    <a:gd name="T6" fmla="*/ 321 w 535"/>
                    <a:gd name="T7" fmla="*/ 465 h 536"/>
                    <a:gd name="T8" fmla="*/ 217 w 535"/>
                    <a:gd name="T9" fmla="*/ 461 h 536"/>
                    <a:gd name="T10" fmla="*/ 199 w 535"/>
                    <a:gd name="T11" fmla="*/ 449 h 536"/>
                    <a:gd name="T12" fmla="*/ 163 w 535"/>
                    <a:gd name="T13" fmla="*/ 432 h 536"/>
                    <a:gd name="T14" fmla="*/ 134 w 535"/>
                    <a:gd name="T15" fmla="*/ 409 h 536"/>
                    <a:gd name="T16" fmla="*/ 82 w 535"/>
                    <a:gd name="T17" fmla="*/ 433 h 536"/>
                    <a:gd name="T18" fmla="*/ 75 w 535"/>
                    <a:gd name="T19" fmla="*/ 316 h 536"/>
                    <a:gd name="T20" fmla="*/ 72 w 535"/>
                    <a:gd name="T21" fmla="*/ 287 h 536"/>
                    <a:gd name="T22" fmla="*/ 72 w 535"/>
                    <a:gd name="T23" fmla="*/ 246 h 536"/>
                    <a:gd name="T24" fmla="*/ 75 w 535"/>
                    <a:gd name="T25" fmla="*/ 217 h 536"/>
                    <a:gd name="T26" fmla="*/ 82 w 535"/>
                    <a:gd name="T27" fmla="*/ 99 h 536"/>
                    <a:gd name="T28" fmla="*/ 134 w 535"/>
                    <a:gd name="T29" fmla="*/ 124 h 536"/>
                    <a:gd name="T30" fmla="*/ 163 w 535"/>
                    <a:gd name="T31" fmla="*/ 101 h 536"/>
                    <a:gd name="T32" fmla="*/ 199 w 535"/>
                    <a:gd name="T33" fmla="*/ 84 h 536"/>
                    <a:gd name="T34" fmla="*/ 217 w 535"/>
                    <a:gd name="T35" fmla="*/ 72 h 536"/>
                    <a:gd name="T36" fmla="*/ 321 w 535"/>
                    <a:gd name="T37" fmla="*/ 68 h 536"/>
                    <a:gd name="T38" fmla="*/ 330 w 535"/>
                    <a:gd name="T39" fmla="*/ 81 h 536"/>
                    <a:gd name="T40" fmla="*/ 367 w 535"/>
                    <a:gd name="T41" fmla="*/ 97 h 536"/>
                    <a:gd name="T42" fmla="*/ 407 w 535"/>
                    <a:gd name="T43" fmla="*/ 124 h 536"/>
                    <a:gd name="T44" fmla="*/ 505 w 535"/>
                    <a:gd name="T45" fmla="*/ 188 h 536"/>
                    <a:gd name="T46" fmla="*/ 458 w 535"/>
                    <a:gd name="T47" fmla="*/ 221 h 536"/>
                    <a:gd name="T48" fmla="*/ 463 w 535"/>
                    <a:gd name="T49" fmla="*/ 256 h 536"/>
                    <a:gd name="T50" fmla="*/ 461 w 535"/>
                    <a:gd name="T51" fmla="*/ 297 h 536"/>
                    <a:gd name="T52" fmla="*/ 462 w 535"/>
                    <a:gd name="T53" fmla="*/ 319 h 536"/>
                    <a:gd name="T54" fmla="*/ 528 w 535"/>
                    <a:gd name="T55" fmla="*/ 329 h 536"/>
                    <a:gd name="T56" fmla="*/ 489 w 535"/>
                    <a:gd name="T57" fmla="*/ 276 h 536"/>
                    <a:gd name="T58" fmla="*/ 486 w 535"/>
                    <a:gd name="T59" fmla="*/ 238 h 536"/>
                    <a:gd name="T60" fmla="*/ 534 w 535"/>
                    <a:gd name="T61" fmla="*/ 197 h 536"/>
                    <a:gd name="T62" fmla="*/ 467 w 535"/>
                    <a:gd name="T63" fmla="*/ 74 h 536"/>
                    <a:gd name="T64" fmla="*/ 455 w 535"/>
                    <a:gd name="T65" fmla="*/ 70 h 536"/>
                    <a:gd name="T66" fmla="*/ 380 w 535"/>
                    <a:gd name="T67" fmla="*/ 74 h 536"/>
                    <a:gd name="T68" fmla="*/ 346 w 535"/>
                    <a:gd name="T69" fmla="*/ 8 h 536"/>
                    <a:gd name="T70" fmla="*/ 205 w 535"/>
                    <a:gd name="T71" fmla="*/ 0 h 536"/>
                    <a:gd name="T72" fmla="*/ 192 w 535"/>
                    <a:gd name="T73" fmla="*/ 13 h 536"/>
                    <a:gd name="T74" fmla="*/ 143 w 535"/>
                    <a:gd name="T75" fmla="*/ 84 h 536"/>
                    <a:gd name="T76" fmla="*/ 74 w 535"/>
                    <a:gd name="T77" fmla="*/ 70 h 536"/>
                    <a:gd name="T78" fmla="*/ 0 w 535"/>
                    <a:gd name="T79" fmla="*/ 191 h 536"/>
                    <a:gd name="T80" fmla="*/ 49 w 535"/>
                    <a:gd name="T81" fmla="*/ 229 h 536"/>
                    <a:gd name="T82" fmla="*/ 46 w 535"/>
                    <a:gd name="T83" fmla="*/ 266 h 536"/>
                    <a:gd name="T84" fmla="*/ 48 w 535"/>
                    <a:gd name="T85" fmla="*/ 303 h 536"/>
                    <a:gd name="T86" fmla="*/ 0 w 535"/>
                    <a:gd name="T87" fmla="*/ 340 h 536"/>
                    <a:gd name="T88" fmla="*/ 73 w 535"/>
                    <a:gd name="T89" fmla="*/ 463 h 536"/>
                    <a:gd name="T90" fmla="*/ 143 w 535"/>
                    <a:gd name="T91" fmla="*/ 449 h 536"/>
                    <a:gd name="T92" fmla="*/ 192 w 535"/>
                    <a:gd name="T93" fmla="*/ 523 h 536"/>
                    <a:gd name="T94" fmla="*/ 205 w 535"/>
                    <a:gd name="T95" fmla="*/ 536 h 536"/>
                    <a:gd name="T96" fmla="*/ 346 w 535"/>
                    <a:gd name="T97" fmla="*/ 528 h 536"/>
                    <a:gd name="T98" fmla="*/ 364 w 535"/>
                    <a:gd name="T99" fmla="*/ 467 h 536"/>
                    <a:gd name="T100" fmla="*/ 409 w 535"/>
                    <a:gd name="T101" fmla="*/ 437 h 536"/>
                    <a:gd name="T102" fmla="*/ 458 w 535"/>
                    <a:gd name="T103" fmla="*/ 463 h 536"/>
                    <a:gd name="T104" fmla="*/ 467 w 535"/>
                    <a:gd name="T105" fmla="*/ 459 h 536"/>
                    <a:gd name="T106" fmla="*/ 535 w 535"/>
                    <a:gd name="T107" fmla="*/ 335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5" h="536">
                      <a:moveTo>
                        <a:pt x="453" y="433"/>
                      </a:moveTo>
                      <a:lnTo>
                        <a:pt x="414" y="410"/>
                      </a:lnTo>
                      <a:lnTo>
                        <a:pt x="410" y="409"/>
                      </a:lnTo>
                      <a:lnTo>
                        <a:pt x="407" y="408"/>
                      </a:lnTo>
                      <a:lnTo>
                        <a:pt x="403" y="409"/>
                      </a:lnTo>
                      <a:lnTo>
                        <a:pt x="399" y="411"/>
                      </a:lnTo>
                      <a:lnTo>
                        <a:pt x="383" y="424"/>
                      </a:lnTo>
                      <a:lnTo>
                        <a:pt x="367" y="436"/>
                      </a:lnTo>
                      <a:lnTo>
                        <a:pt x="359" y="441"/>
                      </a:lnTo>
                      <a:lnTo>
                        <a:pt x="350" y="446"/>
                      </a:lnTo>
                      <a:lnTo>
                        <a:pt x="340" y="449"/>
                      </a:lnTo>
                      <a:lnTo>
                        <a:pt x="330" y="452"/>
                      </a:lnTo>
                      <a:lnTo>
                        <a:pt x="326" y="454"/>
                      </a:lnTo>
                      <a:lnTo>
                        <a:pt x="323" y="457"/>
                      </a:lnTo>
                      <a:lnTo>
                        <a:pt x="321" y="461"/>
                      </a:lnTo>
                      <a:lnTo>
                        <a:pt x="321" y="465"/>
                      </a:lnTo>
                      <a:lnTo>
                        <a:pt x="321" y="511"/>
                      </a:lnTo>
                      <a:lnTo>
                        <a:pt x="218" y="511"/>
                      </a:lnTo>
                      <a:lnTo>
                        <a:pt x="218" y="465"/>
                      </a:lnTo>
                      <a:lnTo>
                        <a:pt x="217" y="461"/>
                      </a:lnTo>
                      <a:lnTo>
                        <a:pt x="216" y="457"/>
                      </a:lnTo>
                      <a:lnTo>
                        <a:pt x="213" y="454"/>
                      </a:lnTo>
                      <a:lnTo>
                        <a:pt x="208" y="452"/>
                      </a:lnTo>
                      <a:lnTo>
                        <a:pt x="199" y="449"/>
                      </a:lnTo>
                      <a:lnTo>
                        <a:pt x="189" y="446"/>
                      </a:lnTo>
                      <a:lnTo>
                        <a:pt x="180" y="441"/>
                      </a:lnTo>
                      <a:lnTo>
                        <a:pt x="172" y="437"/>
                      </a:lnTo>
                      <a:lnTo>
                        <a:pt x="163" y="432"/>
                      </a:lnTo>
                      <a:lnTo>
                        <a:pt x="155" y="425"/>
                      </a:lnTo>
                      <a:lnTo>
                        <a:pt x="146" y="419"/>
                      </a:lnTo>
                      <a:lnTo>
                        <a:pt x="137" y="411"/>
                      </a:lnTo>
                      <a:lnTo>
                        <a:pt x="134" y="409"/>
                      </a:lnTo>
                      <a:lnTo>
                        <a:pt x="130" y="408"/>
                      </a:lnTo>
                      <a:lnTo>
                        <a:pt x="126" y="409"/>
                      </a:lnTo>
                      <a:lnTo>
                        <a:pt x="122" y="410"/>
                      </a:lnTo>
                      <a:lnTo>
                        <a:pt x="82" y="433"/>
                      </a:lnTo>
                      <a:lnTo>
                        <a:pt x="30" y="344"/>
                      </a:lnTo>
                      <a:lnTo>
                        <a:pt x="70" y="321"/>
                      </a:lnTo>
                      <a:lnTo>
                        <a:pt x="73" y="319"/>
                      </a:lnTo>
                      <a:lnTo>
                        <a:pt x="75" y="316"/>
                      </a:lnTo>
                      <a:lnTo>
                        <a:pt x="75" y="311"/>
                      </a:lnTo>
                      <a:lnTo>
                        <a:pt x="75" y="307"/>
                      </a:lnTo>
                      <a:lnTo>
                        <a:pt x="74" y="297"/>
                      </a:lnTo>
                      <a:lnTo>
                        <a:pt x="72" y="287"/>
                      </a:lnTo>
                      <a:lnTo>
                        <a:pt x="72" y="277"/>
                      </a:lnTo>
                      <a:lnTo>
                        <a:pt x="71" y="266"/>
                      </a:lnTo>
                      <a:lnTo>
                        <a:pt x="72" y="257"/>
                      </a:lnTo>
                      <a:lnTo>
                        <a:pt x="72" y="246"/>
                      </a:lnTo>
                      <a:lnTo>
                        <a:pt x="74" y="236"/>
                      </a:lnTo>
                      <a:lnTo>
                        <a:pt x="75" y="226"/>
                      </a:lnTo>
                      <a:lnTo>
                        <a:pt x="76" y="221"/>
                      </a:lnTo>
                      <a:lnTo>
                        <a:pt x="75" y="217"/>
                      </a:lnTo>
                      <a:lnTo>
                        <a:pt x="73" y="214"/>
                      </a:lnTo>
                      <a:lnTo>
                        <a:pt x="70" y="212"/>
                      </a:lnTo>
                      <a:lnTo>
                        <a:pt x="30" y="188"/>
                      </a:lnTo>
                      <a:lnTo>
                        <a:pt x="82" y="99"/>
                      </a:lnTo>
                      <a:lnTo>
                        <a:pt x="122" y="122"/>
                      </a:lnTo>
                      <a:lnTo>
                        <a:pt x="126" y="124"/>
                      </a:lnTo>
                      <a:lnTo>
                        <a:pt x="130" y="124"/>
                      </a:lnTo>
                      <a:lnTo>
                        <a:pt x="134" y="124"/>
                      </a:lnTo>
                      <a:lnTo>
                        <a:pt x="137" y="121"/>
                      </a:lnTo>
                      <a:lnTo>
                        <a:pt x="146" y="114"/>
                      </a:lnTo>
                      <a:lnTo>
                        <a:pt x="155" y="106"/>
                      </a:lnTo>
                      <a:lnTo>
                        <a:pt x="163" y="101"/>
                      </a:lnTo>
                      <a:lnTo>
                        <a:pt x="172" y="96"/>
                      </a:lnTo>
                      <a:lnTo>
                        <a:pt x="180" y="91"/>
                      </a:lnTo>
                      <a:lnTo>
                        <a:pt x="189" y="87"/>
                      </a:lnTo>
                      <a:lnTo>
                        <a:pt x="199" y="84"/>
                      </a:lnTo>
                      <a:lnTo>
                        <a:pt x="208" y="81"/>
                      </a:lnTo>
                      <a:lnTo>
                        <a:pt x="213" y="78"/>
                      </a:lnTo>
                      <a:lnTo>
                        <a:pt x="215" y="76"/>
                      </a:lnTo>
                      <a:lnTo>
                        <a:pt x="217" y="72"/>
                      </a:lnTo>
                      <a:lnTo>
                        <a:pt x="218" y="68"/>
                      </a:lnTo>
                      <a:lnTo>
                        <a:pt x="218" y="26"/>
                      </a:lnTo>
                      <a:lnTo>
                        <a:pt x="321" y="26"/>
                      </a:lnTo>
                      <a:lnTo>
                        <a:pt x="321" y="68"/>
                      </a:lnTo>
                      <a:lnTo>
                        <a:pt x="321" y="72"/>
                      </a:lnTo>
                      <a:lnTo>
                        <a:pt x="323" y="76"/>
                      </a:lnTo>
                      <a:lnTo>
                        <a:pt x="326" y="78"/>
                      </a:lnTo>
                      <a:lnTo>
                        <a:pt x="330" y="81"/>
                      </a:lnTo>
                      <a:lnTo>
                        <a:pt x="340" y="84"/>
                      </a:lnTo>
                      <a:lnTo>
                        <a:pt x="350" y="87"/>
                      </a:lnTo>
                      <a:lnTo>
                        <a:pt x="360" y="91"/>
                      </a:lnTo>
                      <a:lnTo>
                        <a:pt x="367" y="97"/>
                      </a:lnTo>
                      <a:lnTo>
                        <a:pt x="383" y="107"/>
                      </a:lnTo>
                      <a:lnTo>
                        <a:pt x="399" y="121"/>
                      </a:lnTo>
                      <a:lnTo>
                        <a:pt x="403" y="124"/>
                      </a:lnTo>
                      <a:lnTo>
                        <a:pt x="407" y="124"/>
                      </a:lnTo>
                      <a:lnTo>
                        <a:pt x="410" y="124"/>
                      </a:lnTo>
                      <a:lnTo>
                        <a:pt x="414" y="122"/>
                      </a:lnTo>
                      <a:lnTo>
                        <a:pt x="453" y="99"/>
                      </a:lnTo>
                      <a:lnTo>
                        <a:pt x="505" y="188"/>
                      </a:lnTo>
                      <a:lnTo>
                        <a:pt x="465" y="212"/>
                      </a:lnTo>
                      <a:lnTo>
                        <a:pt x="462" y="214"/>
                      </a:lnTo>
                      <a:lnTo>
                        <a:pt x="460" y="217"/>
                      </a:lnTo>
                      <a:lnTo>
                        <a:pt x="458" y="221"/>
                      </a:lnTo>
                      <a:lnTo>
                        <a:pt x="458" y="226"/>
                      </a:lnTo>
                      <a:lnTo>
                        <a:pt x="461" y="235"/>
                      </a:lnTo>
                      <a:lnTo>
                        <a:pt x="462" y="246"/>
                      </a:lnTo>
                      <a:lnTo>
                        <a:pt x="463" y="256"/>
                      </a:lnTo>
                      <a:lnTo>
                        <a:pt x="463" y="266"/>
                      </a:lnTo>
                      <a:lnTo>
                        <a:pt x="463" y="277"/>
                      </a:lnTo>
                      <a:lnTo>
                        <a:pt x="462" y="287"/>
                      </a:lnTo>
                      <a:lnTo>
                        <a:pt x="461" y="297"/>
                      </a:lnTo>
                      <a:lnTo>
                        <a:pt x="458" y="307"/>
                      </a:lnTo>
                      <a:lnTo>
                        <a:pt x="458" y="311"/>
                      </a:lnTo>
                      <a:lnTo>
                        <a:pt x="460" y="316"/>
                      </a:lnTo>
                      <a:lnTo>
                        <a:pt x="462" y="319"/>
                      </a:lnTo>
                      <a:lnTo>
                        <a:pt x="465" y="321"/>
                      </a:lnTo>
                      <a:lnTo>
                        <a:pt x="505" y="344"/>
                      </a:lnTo>
                      <a:lnTo>
                        <a:pt x="453" y="433"/>
                      </a:lnTo>
                      <a:close/>
                      <a:moveTo>
                        <a:pt x="528" y="329"/>
                      </a:moveTo>
                      <a:lnTo>
                        <a:pt x="485" y="303"/>
                      </a:lnTo>
                      <a:lnTo>
                        <a:pt x="486" y="294"/>
                      </a:lnTo>
                      <a:lnTo>
                        <a:pt x="487" y="285"/>
                      </a:lnTo>
                      <a:lnTo>
                        <a:pt x="489" y="276"/>
                      </a:lnTo>
                      <a:lnTo>
                        <a:pt x="489" y="266"/>
                      </a:lnTo>
                      <a:lnTo>
                        <a:pt x="489" y="257"/>
                      </a:lnTo>
                      <a:lnTo>
                        <a:pt x="487" y="248"/>
                      </a:lnTo>
                      <a:lnTo>
                        <a:pt x="486" y="238"/>
                      </a:lnTo>
                      <a:lnTo>
                        <a:pt x="485" y="229"/>
                      </a:lnTo>
                      <a:lnTo>
                        <a:pt x="528" y="205"/>
                      </a:lnTo>
                      <a:lnTo>
                        <a:pt x="531" y="202"/>
                      </a:lnTo>
                      <a:lnTo>
                        <a:pt x="534" y="197"/>
                      </a:lnTo>
                      <a:lnTo>
                        <a:pt x="535" y="192"/>
                      </a:lnTo>
                      <a:lnTo>
                        <a:pt x="533" y="187"/>
                      </a:lnTo>
                      <a:lnTo>
                        <a:pt x="468" y="76"/>
                      </a:lnTo>
                      <a:lnTo>
                        <a:pt x="467" y="74"/>
                      </a:lnTo>
                      <a:lnTo>
                        <a:pt x="465" y="72"/>
                      </a:lnTo>
                      <a:lnTo>
                        <a:pt x="463" y="71"/>
                      </a:lnTo>
                      <a:lnTo>
                        <a:pt x="461" y="70"/>
                      </a:lnTo>
                      <a:lnTo>
                        <a:pt x="455" y="70"/>
                      </a:lnTo>
                      <a:lnTo>
                        <a:pt x="451" y="71"/>
                      </a:lnTo>
                      <a:lnTo>
                        <a:pt x="409" y="96"/>
                      </a:lnTo>
                      <a:lnTo>
                        <a:pt x="395" y="85"/>
                      </a:lnTo>
                      <a:lnTo>
                        <a:pt x="380" y="74"/>
                      </a:lnTo>
                      <a:lnTo>
                        <a:pt x="364" y="66"/>
                      </a:lnTo>
                      <a:lnTo>
                        <a:pt x="347" y="59"/>
                      </a:lnTo>
                      <a:lnTo>
                        <a:pt x="347" y="13"/>
                      </a:lnTo>
                      <a:lnTo>
                        <a:pt x="346" y="8"/>
                      </a:lnTo>
                      <a:lnTo>
                        <a:pt x="342" y="4"/>
                      </a:lnTo>
                      <a:lnTo>
                        <a:pt x="338" y="1"/>
                      </a:lnTo>
                      <a:lnTo>
                        <a:pt x="334" y="0"/>
                      </a:lnTo>
                      <a:lnTo>
                        <a:pt x="205" y="0"/>
                      </a:lnTo>
                      <a:lnTo>
                        <a:pt x="200" y="1"/>
                      </a:lnTo>
                      <a:lnTo>
                        <a:pt x="196" y="4"/>
                      </a:lnTo>
                      <a:lnTo>
                        <a:pt x="193" y="8"/>
                      </a:lnTo>
                      <a:lnTo>
                        <a:pt x="192" y="13"/>
                      </a:lnTo>
                      <a:lnTo>
                        <a:pt x="192" y="59"/>
                      </a:lnTo>
                      <a:lnTo>
                        <a:pt x="175" y="66"/>
                      </a:lnTo>
                      <a:lnTo>
                        <a:pt x="159" y="73"/>
                      </a:lnTo>
                      <a:lnTo>
                        <a:pt x="143" y="84"/>
                      </a:lnTo>
                      <a:lnTo>
                        <a:pt x="127" y="96"/>
                      </a:lnTo>
                      <a:lnTo>
                        <a:pt x="84" y="71"/>
                      </a:lnTo>
                      <a:lnTo>
                        <a:pt x="78" y="70"/>
                      </a:lnTo>
                      <a:lnTo>
                        <a:pt x="74" y="70"/>
                      </a:lnTo>
                      <a:lnTo>
                        <a:pt x="70" y="72"/>
                      </a:lnTo>
                      <a:lnTo>
                        <a:pt x="67" y="76"/>
                      </a:lnTo>
                      <a:lnTo>
                        <a:pt x="2" y="187"/>
                      </a:lnTo>
                      <a:lnTo>
                        <a:pt x="0" y="191"/>
                      </a:lnTo>
                      <a:lnTo>
                        <a:pt x="0" y="197"/>
                      </a:lnTo>
                      <a:lnTo>
                        <a:pt x="2" y="201"/>
                      </a:lnTo>
                      <a:lnTo>
                        <a:pt x="6" y="205"/>
                      </a:lnTo>
                      <a:lnTo>
                        <a:pt x="49" y="229"/>
                      </a:lnTo>
                      <a:lnTo>
                        <a:pt x="47" y="238"/>
                      </a:lnTo>
                      <a:lnTo>
                        <a:pt x="46" y="248"/>
                      </a:lnTo>
                      <a:lnTo>
                        <a:pt x="46" y="257"/>
                      </a:lnTo>
                      <a:lnTo>
                        <a:pt x="46" y="266"/>
                      </a:lnTo>
                      <a:lnTo>
                        <a:pt x="46" y="276"/>
                      </a:lnTo>
                      <a:lnTo>
                        <a:pt x="46" y="285"/>
                      </a:lnTo>
                      <a:lnTo>
                        <a:pt x="47" y="294"/>
                      </a:lnTo>
                      <a:lnTo>
                        <a:pt x="48" y="303"/>
                      </a:lnTo>
                      <a:lnTo>
                        <a:pt x="6" y="329"/>
                      </a:lnTo>
                      <a:lnTo>
                        <a:pt x="2" y="332"/>
                      </a:lnTo>
                      <a:lnTo>
                        <a:pt x="0" y="335"/>
                      </a:lnTo>
                      <a:lnTo>
                        <a:pt x="0" y="340"/>
                      </a:lnTo>
                      <a:lnTo>
                        <a:pt x="1" y="345"/>
                      </a:lnTo>
                      <a:lnTo>
                        <a:pt x="65" y="457"/>
                      </a:lnTo>
                      <a:lnTo>
                        <a:pt x="69" y="461"/>
                      </a:lnTo>
                      <a:lnTo>
                        <a:pt x="73" y="463"/>
                      </a:lnTo>
                      <a:lnTo>
                        <a:pt x="78" y="463"/>
                      </a:lnTo>
                      <a:lnTo>
                        <a:pt x="83" y="461"/>
                      </a:lnTo>
                      <a:lnTo>
                        <a:pt x="127" y="437"/>
                      </a:lnTo>
                      <a:lnTo>
                        <a:pt x="143" y="449"/>
                      </a:lnTo>
                      <a:lnTo>
                        <a:pt x="159" y="459"/>
                      </a:lnTo>
                      <a:lnTo>
                        <a:pt x="175" y="467"/>
                      </a:lnTo>
                      <a:lnTo>
                        <a:pt x="192" y="474"/>
                      </a:lnTo>
                      <a:lnTo>
                        <a:pt x="192" y="523"/>
                      </a:lnTo>
                      <a:lnTo>
                        <a:pt x="193" y="528"/>
                      </a:lnTo>
                      <a:lnTo>
                        <a:pt x="196" y="533"/>
                      </a:lnTo>
                      <a:lnTo>
                        <a:pt x="200" y="535"/>
                      </a:lnTo>
                      <a:lnTo>
                        <a:pt x="205" y="536"/>
                      </a:lnTo>
                      <a:lnTo>
                        <a:pt x="334" y="536"/>
                      </a:lnTo>
                      <a:lnTo>
                        <a:pt x="338" y="535"/>
                      </a:lnTo>
                      <a:lnTo>
                        <a:pt x="342" y="533"/>
                      </a:lnTo>
                      <a:lnTo>
                        <a:pt x="346" y="528"/>
                      </a:lnTo>
                      <a:lnTo>
                        <a:pt x="347" y="523"/>
                      </a:lnTo>
                      <a:lnTo>
                        <a:pt x="347" y="474"/>
                      </a:lnTo>
                      <a:lnTo>
                        <a:pt x="355" y="470"/>
                      </a:lnTo>
                      <a:lnTo>
                        <a:pt x="364" y="467"/>
                      </a:lnTo>
                      <a:lnTo>
                        <a:pt x="373" y="463"/>
                      </a:lnTo>
                      <a:lnTo>
                        <a:pt x="380" y="459"/>
                      </a:lnTo>
                      <a:lnTo>
                        <a:pt x="395" y="449"/>
                      </a:lnTo>
                      <a:lnTo>
                        <a:pt x="409" y="437"/>
                      </a:lnTo>
                      <a:lnTo>
                        <a:pt x="452" y="461"/>
                      </a:lnTo>
                      <a:lnTo>
                        <a:pt x="454" y="463"/>
                      </a:lnTo>
                      <a:lnTo>
                        <a:pt x="456" y="463"/>
                      </a:lnTo>
                      <a:lnTo>
                        <a:pt x="458" y="463"/>
                      </a:lnTo>
                      <a:lnTo>
                        <a:pt x="462" y="462"/>
                      </a:lnTo>
                      <a:lnTo>
                        <a:pt x="464" y="462"/>
                      </a:lnTo>
                      <a:lnTo>
                        <a:pt x="466" y="461"/>
                      </a:lnTo>
                      <a:lnTo>
                        <a:pt x="467" y="459"/>
                      </a:lnTo>
                      <a:lnTo>
                        <a:pt x="469" y="457"/>
                      </a:lnTo>
                      <a:lnTo>
                        <a:pt x="533" y="345"/>
                      </a:lnTo>
                      <a:lnTo>
                        <a:pt x="535" y="340"/>
                      </a:lnTo>
                      <a:lnTo>
                        <a:pt x="535" y="335"/>
                      </a:lnTo>
                      <a:lnTo>
                        <a:pt x="533" y="332"/>
                      </a:lnTo>
                      <a:lnTo>
                        <a:pt x="528" y="3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iŝlídé">
                  <a:extLst>
                    <a:ext uri="{FF2B5EF4-FFF2-40B4-BE49-F238E27FC236}">
                      <a16:creationId xmlns:a16="http://schemas.microsoft.com/office/drawing/2014/main" id="{10AAD074-8663-4495-93F9-CE376C565964}"/>
                    </a:ext>
                  </a:extLst>
                </p:cNvPr>
                <p:cNvSpPr/>
                <p:nvPr/>
              </p:nvSpPr>
              <p:spPr bwMode="auto">
                <a:xfrm>
                  <a:off x="1727201" y="3240088"/>
                  <a:ext cx="122238" cy="125413"/>
                </a:xfrm>
                <a:custGeom>
                  <a:avLst/>
                  <a:gdLst>
                    <a:gd name="T0" fmla="*/ 235 w 308"/>
                    <a:gd name="T1" fmla="*/ 227 h 315"/>
                    <a:gd name="T2" fmla="*/ 223 w 308"/>
                    <a:gd name="T3" fmla="*/ 229 h 315"/>
                    <a:gd name="T4" fmla="*/ 195 w 308"/>
                    <a:gd name="T5" fmla="*/ 248 h 315"/>
                    <a:gd name="T6" fmla="*/ 178 w 308"/>
                    <a:gd name="T7" fmla="*/ 257 h 315"/>
                    <a:gd name="T8" fmla="*/ 176 w 308"/>
                    <a:gd name="T9" fmla="*/ 289 h 315"/>
                    <a:gd name="T10" fmla="*/ 136 w 308"/>
                    <a:gd name="T11" fmla="*/ 260 h 315"/>
                    <a:gd name="T12" fmla="*/ 129 w 308"/>
                    <a:gd name="T13" fmla="*/ 253 h 315"/>
                    <a:gd name="T14" fmla="*/ 95 w 308"/>
                    <a:gd name="T15" fmla="*/ 237 h 315"/>
                    <a:gd name="T16" fmla="*/ 79 w 308"/>
                    <a:gd name="T17" fmla="*/ 226 h 315"/>
                    <a:gd name="T18" fmla="*/ 50 w 308"/>
                    <a:gd name="T19" fmla="*/ 240 h 315"/>
                    <a:gd name="T20" fmla="*/ 55 w 308"/>
                    <a:gd name="T21" fmla="*/ 192 h 315"/>
                    <a:gd name="T22" fmla="*/ 58 w 308"/>
                    <a:gd name="T23" fmla="*/ 180 h 315"/>
                    <a:gd name="T24" fmla="*/ 56 w 308"/>
                    <a:gd name="T25" fmla="*/ 145 h 315"/>
                    <a:gd name="T26" fmla="*/ 57 w 308"/>
                    <a:gd name="T27" fmla="*/ 126 h 315"/>
                    <a:gd name="T28" fmla="*/ 31 w 308"/>
                    <a:gd name="T29" fmla="*/ 108 h 315"/>
                    <a:gd name="T30" fmla="*/ 76 w 308"/>
                    <a:gd name="T31" fmla="*/ 87 h 315"/>
                    <a:gd name="T32" fmla="*/ 87 w 308"/>
                    <a:gd name="T33" fmla="*/ 84 h 315"/>
                    <a:gd name="T34" fmla="*/ 117 w 308"/>
                    <a:gd name="T35" fmla="*/ 66 h 315"/>
                    <a:gd name="T36" fmla="*/ 135 w 308"/>
                    <a:gd name="T37" fmla="*/ 57 h 315"/>
                    <a:gd name="T38" fmla="*/ 137 w 308"/>
                    <a:gd name="T39" fmla="*/ 25 h 315"/>
                    <a:gd name="T40" fmla="*/ 176 w 308"/>
                    <a:gd name="T41" fmla="*/ 53 h 315"/>
                    <a:gd name="T42" fmla="*/ 185 w 308"/>
                    <a:gd name="T43" fmla="*/ 62 h 315"/>
                    <a:gd name="T44" fmla="*/ 215 w 308"/>
                    <a:gd name="T45" fmla="*/ 77 h 315"/>
                    <a:gd name="T46" fmla="*/ 231 w 308"/>
                    <a:gd name="T47" fmla="*/ 88 h 315"/>
                    <a:gd name="T48" fmla="*/ 259 w 308"/>
                    <a:gd name="T49" fmla="*/ 76 h 315"/>
                    <a:gd name="T50" fmla="*/ 254 w 308"/>
                    <a:gd name="T51" fmla="*/ 123 h 315"/>
                    <a:gd name="T52" fmla="*/ 251 w 308"/>
                    <a:gd name="T53" fmla="*/ 134 h 315"/>
                    <a:gd name="T54" fmla="*/ 253 w 308"/>
                    <a:gd name="T55" fmla="*/ 169 h 315"/>
                    <a:gd name="T56" fmla="*/ 252 w 308"/>
                    <a:gd name="T57" fmla="*/ 188 h 315"/>
                    <a:gd name="T58" fmla="*/ 278 w 308"/>
                    <a:gd name="T59" fmla="*/ 207 h 315"/>
                    <a:gd name="T60" fmla="*/ 278 w 308"/>
                    <a:gd name="T61" fmla="*/ 178 h 315"/>
                    <a:gd name="T62" fmla="*/ 279 w 308"/>
                    <a:gd name="T63" fmla="*/ 148 h 315"/>
                    <a:gd name="T64" fmla="*/ 304 w 308"/>
                    <a:gd name="T65" fmla="*/ 123 h 315"/>
                    <a:gd name="T66" fmla="*/ 308 w 308"/>
                    <a:gd name="T67" fmla="*/ 116 h 315"/>
                    <a:gd name="T68" fmla="*/ 275 w 308"/>
                    <a:gd name="T69" fmla="*/ 51 h 315"/>
                    <a:gd name="T70" fmla="*/ 269 w 308"/>
                    <a:gd name="T71" fmla="*/ 46 h 315"/>
                    <a:gd name="T72" fmla="*/ 256 w 308"/>
                    <a:gd name="T73" fmla="*/ 46 h 315"/>
                    <a:gd name="T74" fmla="*/ 218 w 308"/>
                    <a:gd name="T75" fmla="*/ 49 h 315"/>
                    <a:gd name="T76" fmla="*/ 202 w 308"/>
                    <a:gd name="T77" fmla="*/ 13 h 315"/>
                    <a:gd name="T78" fmla="*/ 193 w 308"/>
                    <a:gd name="T79" fmla="*/ 2 h 315"/>
                    <a:gd name="T80" fmla="*/ 119 w 308"/>
                    <a:gd name="T81" fmla="*/ 2 h 315"/>
                    <a:gd name="T82" fmla="*/ 112 w 308"/>
                    <a:gd name="T83" fmla="*/ 13 h 315"/>
                    <a:gd name="T84" fmla="*/ 93 w 308"/>
                    <a:gd name="T85" fmla="*/ 50 h 315"/>
                    <a:gd name="T86" fmla="*/ 52 w 308"/>
                    <a:gd name="T87" fmla="*/ 46 h 315"/>
                    <a:gd name="T88" fmla="*/ 37 w 308"/>
                    <a:gd name="T89" fmla="*/ 47 h 315"/>
                    <a:gd name="T90" fmla="*/ 1 w 308"/>
                    <a:gd name="T91" fmla="*/ 111 h 315"/>
                    <a:gd name="T92" fmla="*/ 3 w 308"/>
                    <a:gd name="T93" fmla="*/ 121 h 315"/>
                    <a:gd name="T94" fmla="*/ 31 w 308"/>
                    <a:gd name="T95" fmla="*/ 138 h 315"/>
                    <a:gd name="T96" fmla="*/ 30 w 308"/>
                    <a:gd name="T97" fmla="*/ 167 h 315"/>
                    <a:gd name="T98" fmla="*/ 4 w 308"/>
                    <a:gd name="T99" fmla="*/ 193 h 315"/>
                    <a:gd name="T100" fmla="*/ 1 w 308"/>
                    <a:gd name="T101" fmla="*/ 199 h 315"/>
                    <a:gd name="T102" fmla="*/ 34 w 308"/>
                    <a:gd name="T103" fmla="*/ 263 h 315"/>
                    <a:gd name="T104" fmla="*/ 46 w 308"/>
                    <a:gd name="T105" fmla="*/ 270 h 315"/>
                    <a:gd name="T106" fmla="*/ 85 w 308"/>
                    <a:gd name="T107" fmla="*/ 259 h 315"/>
                    <a:gd name="T108" fmla="*/ 112 w 308"/>
                    <a:gd name="T109" fmla="*/ 274 h 315"/>
                    <a:gd name="T110" fmla="*/ 116 w 308"/>
                    <a:gd name="T111" fmla="*/ 311 h 315"/>
                    <a:gd name="T112" fmla="*/ 189 w 308"/>
                    <a:gd name="T113" fmla="*/ 315 h 315"/>
                    <a:gd name="T114" fmla="*/ 201 w 308"/>
                    <a:gd name="T115" fmla="*/ 306 h 315"/>
                    <a:gd name="T116" fmla="*/ 210 w 308"/>
                    <a:gd name="T117" fmla="*/ 270 h 315"/>
                    <a:gd name="T118" fmla="*/ 234 w 308"/>
                    <a:gd name="T119" fmla="*/ 255 h 315"/>
                    <a:gd name="T120" fmla="*/ 267 w 308"/>
                    <a:gd name="T121" fmla="*/ 270 h 315"/>
                    <a:gd name="T122" fmla="*/ 307 w 308"/>
                    <a:gd name="T123" fmla="*/ 208 h 315"/>
                    <a:gd name="T124" fmla="*/ 306 w 308"/>
                    <a:gd name="T125" fmla="*/ 19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08" h="315">
                      <a:moveTo>
                        <a:pt x="260" y="240"/>
                      </a:moveTo>
                      <a:lnTo>
                        <a:pt x="239" y="228"/>
                      </a:lnTo>
                      <a:lnTo>
                        <a:pt x="235" y="227"/>
                      </a:lnTo>
                      <a:lnTo>
                        <a:pt x="231" y="226"/>
                      </a:lnTo>
                      <a:lnTo>
                        <a:pt x="227" y="227"/>
                      </a:lnTo>
                      <a:lnTo>
                        <a:pt x="223" y="229"/>
                      </a:lnTo>
                      <a:lnTo>
                        <a:pt x="215" y="237"/>
                      </a:lnTo>
                      <a:lnTo>
                        <a:pt x="205" y="243"/>
                      </a:lnTo>
                      <a:lnTo>
                        <a:pt x="195" y="248"/>
                      </a:lnTo>
                      <a:lnTo>
                        <a:pt x="185" y="253"/>
                      </a:lnTo>
                      <a:lnTo>
                        <a:pt x="181" y="255"/>
                      </a:lnTo>
                      <a:lnTo>
                        <a:pt x="178" y="257"/>
                      </a:lnTo>
                      <a:lnTo>
                        <a:pt x="177" y="260"/>
                      </a:lnTo>
                      <a:lnTo>
                        <a:pt x="176" y="265"/>
                      </a:lnTo>
                      <a:lnTo>
                        <a:pt x="176" y="289"/>
                      </a:lnTo>
                      <a:lnTo>
                        <a:pt x="137" y="289"/>
                      </a:lnTo>
                      <a:lnTo>
                        <a:pt x="137" y="265"/>
                      </a:lnTo>
                      <a:lnTo>
                        <a:pt x="136" y="260"/>
                      </a:lnTo>
                      <a:lnTo>
                        <a:pt x="135" y="257"/>
                      </a:lnTo>
                      <a:lnTo>
                        <a:pt x="132" y="255"/>
                      </a:lnTo>
                      <a:lnTo>
                        <a:pt x="129" y="253"/>
                      </a:lnTo>
                      <a:lnTo>
                        <a:pt x="117" y="248"/>
                      </a:lnTo>
                      <a:lnTo>
                        <a:pt x="105" y="243"/>
                      </a:lnTo>
                      <a:lnTo>
                        <a:pt x="95" y="237"/>
                      </a:lnTo>
                      <a:lnTo>
                        <a:pt x="87" y="229"/>
                      </a:lnTo>
                      <a:lnTo>
                        <a:pt x="84" y="227"/>
                      </a:lnTo>
                      <a:lnTo>
                        <a:pt x="79" y="226"/>
                      </a:lnTo>
                      <a:lnTo>
                        <a:pt x="76" y="227"/>
                      </a:lnTo>
                      <a:lnTo>
                        <a:pt x="72" y="228"/>
                      </a:lnTo>
                      <a:lnTo>
                        <a:pt x="50" y="240"/>
                      </a:lnTo>
                      <a:lnTo>
                        <a:pt x="30" y="207"/>
                      </a:lnTo>
                      <a:lnTo>
                        <a:pt x="51" y="194"/>
                      </a:lnTo>
                      <a:lnTo>
                        <a:pt x="55" y="192"/>
                      </a:lnTo>
                      <a:lnTo>
                        <a:pt x="57" y="188"/>
                      </a:lnTo>
                      <a:lnTo>
                        <a:pt x="58" y="184"/>
                      </a:lnTo>
                      <a:lnTo>
                        <a:pt x="58" y="180"/>
                      </a:lnTo>
                      <a:lnTo>
                        <a:pt x="56" y="168"/>
                      </a:lnTo>
                      <a:lnTo>
                        <a:pt x="55" y="157"/>
                      </a:lnTo>
                      <a:lnTo>
                        <a:pt x="56" y="145"/>
                      </a:lnTo>
                      <a:lnTo>
                        <a:pt x="58" y="134"/>
                      </a:lnTo>
                      <a:lnTo>
                        <a:pt x="58" y="130"/>
                      </a:lnTo>
                      <a:lnTo>
                        <a:pt x="57" y="126"/>
                      </a:lnTo>
                      <a:lnTo>
                        <a:pt x="55" y="123"/>
                      </a:lnTo>
                      <a:lnTo>
                        <a:pt x="51" y="120"/>
                      </a:lnTo>
                      <a:lnTo>
                        <a:pt x="31" y="108"/>
                      </a:lnTo>
                      <a:lnTo>
                        <a:pt x="50" y="73"/>
                      </a:lnTo>
                      <a:lnTo>
                        <a:pt x="72" y="86"/>
                      </a:lnTo>
                      <a:lnTo>
                        <a:pt x="76" y="87"/>
                      </a:lnTo>
                      <a:lnTo>
                        <a:pt x="79" y="87"/>
                      </a:lnTo>
                      <a:lnTo>
                        <a:pt x="84" y="86"/>
                      </a:lnTo>
                      <a:lnTo>
                        <a:pt x="87" y="84"/>
                      </a:lnTo>
                      <a:lnTo>
                        <a:pt x="95" y="78"/>
                      </a:lnTo>
                      <a:lnTo>
                        <a:pt x="105" y="71"/>
                      </a:lnTo>
                      <a:lnTo>
                        <a:pt x="117" y="66"/>
                      </a:lnTo>
                      <a:lnTo>
                        <a:pt x="129" y="62"/>
                      </a:lnTo>
                      <a:lnTo>
                        <a:pt x="132" y="59"/>
                      </a:lnTo>
                      <a:lnTo>
                        <a:pt x="135" y="57"/>
                      </a:lnTo>
                      <a:lnTo>
                        <a:pt x="136" y="53"/>
                      </a:lnTo>
                      <a:lnTo>
                        <a:pt x="137" y="50"/>
                      </a:lnTo>
                      <a:lnTo>
                        <a:pt x="137" y="25"/>
                      </a:lnTo>
                      <a:lnTo>
                        <a:pt x="176" y="25"/>
                      </a:lnTo>
                      <a:lnTo>
                        <a:pt x="176" y="50"/>
                      </a:lnTo>
                      <a:lnTo>
                        <a:pt x="176" y="53"/>
                      </a:lnTo>
                      <a:lnTo>
                        <a:pt x="178" y="57"/>
                      </a:lnTo>
                      <a:lnTo>
                        <a:pt x="181" y="59"/>
                      </a:lnTo>
                      <a:lnTo>
                        <a:pt x="185" y="62"/>
                      </a:lnTo>
                      <a:lnTo>
                        <a:pt x="195" y="66"/>
                      </a:lnTo>
                      <a:lnTo>
                        <a:pt x="205" y="71"/>
                      </a:lnTo>
                      <a:lnTo>
                        <a:pt x="215" y="77"/>
                      </a:lnTo>
                      <a:lnTo>
                        <a:pt x="223" y="84"/>
                      </a:lnTo>
                      <a:lnTo>
                        <a:pt x="227" y="87"/>
                      </a:lnTo>
                      <a:lnTo>
                        <a:pt x="231" y="88"/>
                      </a:lnTo>
                      <a:lnTo>
                        <a:pt x="235" y="88"/>
                      </a:lnTo>
                      <a:lnTo>
                        <a:pt x="239" y="86"/>
                      </a:lnTo>
                      <a:lnTo>
                        <a:pt x="259" y="76"/>
                      </a:lnTo>
                      <a:lnTo>
                        <a:pt x="278" y="108"/>
                      </a:lnTo>
                      <a:lnTo>
                        <a:pt x="258" y="120"/>
                      </a:lnTo>
                      <a:lnTo>
                        <a:pt x="254" y="123"/>
                      </a:lnTo>
                      <a:lnTo>
                        <a:pt x="252" y="126"/>
                      </a:lnTo>
                      <a:lnTo>
                        <a:pt x="251" y="130"/>
                      </a:lnTo>
                      <a:lnTo>
                        <a:pt x="251" y="134"/>
                      </a:lnTo>
                      <a:lnTo>
                        <a:pt x="253" y="145"/>
                      </a:lnTo>
                      <a:lnTo>
                        <a:pt x="254" y="157"/>
                      </a:lnTo>
                      <a:lnTo>
                        <a:pt x="253" y="169"/>
                      </a:lnTo>
                      <a:lnTo>
                        <a:pt x="251" y="180"/>
                      </a:lnTo>
                      <a:lnTo>
                        <a:pt x="251" y="184"/>
                      </a:lnTo>
                      <a:lnTo>
                        <a:pt x="252" y="188"/>
                      </a:lnTo>
                      <a:lnTo>
                        <a:pt x="254" y="192"/>
                      </a:lnTo>
                      <a:lnTo>
                        <a:pt x="258" y="194"/>
                      </a:lnTo>
                      <a:lnTo>
                        <a:pt x="278" y="207"/>
                      </a:lnTo>
                      <a:lnTo>
                        <a:pt x="260" y="240"/>
                      </a:lnTo>
                      <a:close/>
                      <a:moveTo>
                        <a:pt x="302" y="192"/>
                      </a:moveTo>
                      <a:lnTo>
                        <a:pt x="278" y="178"/>
                      </a:lnTo>
                      <a:lnTo>
                        <a:pt x="279" y="167"/>
                      </a:lnTo>
                      <a:lnTo>
                        <a:pt x="279" y="157"/>
                      </a:lnTo>
                      <a:lnTo>
                        <a:pt x="279" y="148"/>
                      </a:lnTo>
                      <a:lnTo>
                        <a:pt x="278" y="138"/>
                      </a:lnTo>
                      <a:lnTo>
                        <a:pt x="302" y="124"/>
                      </a:lnTo>
                      <a:lnTo>
                        <a:pt x="304" y="123"/>
                      </a:lnTo>
                      <a:lnTo>
                        <a:pt x="306" y="121"/>
                      </a:lnTo>
                      <a:lnTo>
                        <a:pt x="307" y="119"/>
                      </a:lnTo>
                      <a:lnTo>
                        <a:pt x="308" y="116"/>
                      </a:lnTo>
                      <a:lnTo>
                        <a:pt x="308" y="111"/>
                      </a:lnTo>
                      <a:lnTo>
                        <a:pt x="306" y="106"/>
                      </a:lnTo>
                      <a:lnTo>
                        <a:pt x="275" y="51"/>
                      </a:lnTo>
                      <a:lnTo>
                        <a:pt x="273" y="49"/>
                      </a:lnTo>
                      <a:lnTo>
                        <a:pt x="271" y="47"/>
                      </a:lnTo>
                      <a:lnTo>
                        <a:pt x="269" y="46"/>
                      </a:lnTo>
                      <a:lnTo>
                        <a:pt x="266" y="44"/>
                      </a:lnTo>
                      <a:lnTo>
                        <a:pt x="262" y="44"/>
                      </a:lnTo>
                      <a:lnTo>
                        <a:pt x="256" y="46"/>
                      </a:lnTo>
                      <a:lnTo>
                        <a:pt x="234" y="59"/>
                      </a:lnTo>
                      <a:lnTo>
                        <a:pt x="226" y="54"/>
                      </a:lnTo>
                      <a:lnTo>
                        <a:pt x="218" y="49"/>
                      </a:lnTo>
                      <a:lnTo>
                        <a:pt x="210" y="44"/>
                      </a:lnTo>
                      <a:lnTo>
                        <a:pt x="202" y="41"/>
                      </a:lnTo>
                      <a:lnTo>
                        <a:pt x="202" y="13"/>
                      </a:lnTo>
                      <a:lnTo>
                        <a:pt x="201" y="8"/>
                      </a:lnTo>
                      <a:lnTo>
                        <a:pt x="197" y="4"/>
                      </a:lnTo>
                      <a:lnTo>
                        <a:pt x="193" y="2"/>
                      </a:lnTo>
                      <a:lnTo>
                        <a:pt x="189" y="0"/>
                      </a:lnTo>
                      <a:lnTo>
                        <a:pt x="124" y="0"/>
                      </a:lnTo>
                      <a:lnTo>
                        <a:pt x="119" y="2"/>
                      </a:lnTo>
                      <a:lnTo>
                        <a:pt x="116" y="4"/>
                      </a:lnTo>
                      <a:lnTo>
                        <a:pt x="113" y="8"/>
                      </a:lnTo>
                      <a:lnTo>
                        <a:pt x="112" y="13"/>
                      </a:lnTo>
                      <a:lnTo>
                        <a:pt x="112" y="41"/>
                      </a:lnTo>
                      <a:lnTo>
                        <a:pt x="102" y="44"/>
                      </a:lnTo>
                      <a:lnTo>
                        <a:pt x="93" y="50"/>
                      </a:lnTo>
                      <a:lnTo>
                        <a:pt x="85" y="54"/>
                      </a:lnTo>
                      <a:lnTo>
                        <a:pt x="77" y="59"/>
                      </a:lnTo>
                      <a:lnTo>
                        <a:pt x="52" y="46"/>
                      </a:lnTo>
                      <a:lnTo>
                        <a:pt x="47" y="44"/>
                      </a:lnTo>
                      <a:lnTo>
                        <a:pt x="43" y="44"/>
                      </a:lnTo>
                      <a:lnTo>
                        <a:pt x="37" y="47"/>
                      </a:lnTo>
                      <a:lnTo>
                        <a:pt x="34" y="51"/>
                      </a:lnTo>
                      <a:lnTo>
                        <a:pt x="2" y="106"/>
                      </a:lnTo>
                      <a:lnTo>
                        <a:pt x="1" y="111"/>
                      </a:lnTo>
                      <a:lnTo>
                        <a:pt x="1" y="116"/>
                      </a:lnTo>
                      <a:lnTo>
                        <a:pt x="2" y="119"/>
                      </a:lnTo>
                      <a:lnTo>
                        <a:pt x="3" y="121"/>
                      </a:lnTo>
                      <a:lnTo>
                        <a:pt x="5" y="123"/>
                      </a:lnTo>
                      <a:lnTo>
                        <a:pt x="7" y="124"/>
                      </a:lnTo>
                      <a:lnTo>
                        <a:pt x="31" y="138"/>
                      </a:lnTo>
                      <a:lnTo>
                        <a:pt x="30" y="148"/>
                      </a:lnTo>
                      <a:lnTo>
                        <a:pt x="29" y="157"/>
                      </a:lnTo>
                      <a:lnTo>
                        <a:pt x="30" y="167"/>
                      </a:lnTo>
                      <a:lnTo>
                        <a:pt x="31" y="178"/>
                      </a:lnTo>
                      <a:lnTo>
                        <a:pt x="6" y="192"/>
                      </a:lnTo>
                      <a:lnTo>
                        <a:pt x="4" y="193"/>
                      </a:lnTo>
                      <a:lnTo>
                        <a:pt x="3" y="194"/>
                      </a:lnTo>
                      <a:lnTo>
                        <a:pt x="2" y="196"/>
                      </a:lnTo>
                      <a:lnTo>
                        <a:pt x="1" y="199"/>
                      </a:lnTo>
                      <a:lnTo>
                        <a:pt x="0" y="203"/>
                      </a:lnTo>
                      <a:lnTo>
                        <a:pt x="2" y="208"/>
                      </a:lnTo>
                      <a:lnTo>
                        <a:pt x="34" y="263"/>
                      </a:lnTo>
                      <a:lnTo>
                        <a:pt x="37" y="268"/>
                      </a:lnTo>
                      <a:lnTo>
                        <a:pt x="42" y="270"/>
                      </a:lnTo>
                      <a:lnTo>
                        <a:pt x="46" y="270"/>
                      </a:lnTo>
                      <a:lnTo>
                        <a:pt x="51" y="269"/>
                      </a:lnTo>
                      <a:lnTo>
                        <a:pt x="77" y="254"/>
                      </a:lnTo>
                      <a:lnTo>
                        <a:pt x="85" y="259"/>
                      </a:lnTo>
                      <a:lnTo>
                        <a:pt x="93" y="266"/>
                      </a:lnTo>
                      <a:lnTo>
                        <a:pt x="102" y="270"/>
                      </a:lnTo>
                      <a:lnTo>
                        <a:pt x="112" y="274"/>
                      </a:lnTo>
                      <a:lnTo>
                        <a:pt x="112" y="302"/>
                      </a:lnTo>
                      <a:lnTo>
                        <a:pt x="113" y="306"/>
                      </a:lnTo>
                      <a:lnTo>
                        <a:pt x="116" y="311"/>
                      </a:lnTo>
                      <a:lnTo>
                        <a:pt x="119" y="314"/>
                      </a:lnTo>
                      <a:lnTo>
                        <a:pt x="124" y="315"/>
                      </a:lnTo>
                      <a:lnTo>
                        <a:pt x="189" y="315"/>
                      </a:lnTo>
                      <a:lnTo>
                        <a:pt x="193" y="314"/>
                      </a:lnTo>
                      <a:lnTo>
                        <a:pt x="197" y="311"/>
                      </a:lnTo>
                      <a:lnTo>
                        <a:pt x="201" y="306"/>
                      </a:lnTo>
                      <a:lnTo>
                        <a:pt x="202" y="302"/>
                      </a:lnTo>
                      <a:lnTo>
                        <a:pt x="202" y="274"/>
                      </a:lnTo>
                      <a:lnTo>
                        <a:pt x="210" y="270"/>
                      </a:lnTo>
                      <a:lnTo>
                        <a:pt x="218" y="266"/>
                      </a:lnTo>
                      <a:lnTo>
                        <a:pt x="226" y="260"/>
                      </a:lnTo>
                      <a:lnTo>
                        <a:pt x="234" y="255"/>
                      </a:lnTo>
                      <a:lnTo>
                        <a:pt x="258" y="268"/>
                      </a:lnTo>
                      <a:lnTo>
                        <a:pt x="262" y="270"/>
                      </a:lnTo>
                      <a:lnTo>
                        <a:pt x="267" y="270"/>
                      </a:lnTo>
                      <a:lnTo>
                        <a:pt x="271" y="268"/>
                      </a:lnTo>
                      <a:lnTo>
                        <a:pt x="275" y="263"/>
                      </a:lnTo>
                      <a:lnTo>
                        <a:pt x="307" y="208"/>
                      </a:lnTo>
                      <a:lnTo>
                        <a:pt x="308" y="202"/>
                      </a:lnTo>
                      <a:lnTo>
                        <a:pt x="308" y="198"/>
                      </a:lnTo>
                      <a:lnTo>
                        <a:pt x="306" y="194"/>
                      </a:lnTo>
                      <a:lnTo>
                        <a:pt x="302" y="1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iŝľïďè">
              <a:extLst>
                <a:ext uri="{FF2B5EF4-FFF2-40B4-BE49-F238E27FC236}">
                  <a16:creationId xmlns:a16="http://schemas.microsoft.com/office/drawing/2014/main" id="{420CC234-D25C-4C36-BD7B-D036D71A06E4}"/>
                </a:ext>
              </a:extLst>
            </p:cNvPr>
            <p:cNvGrpSpPr/>
            <p:nvPr/>
          </p:nvGrpSpPr>
          <p:grpSpPr>
            <a:xfrm>
              <a:off x="6895820" y="4707616"/>
              <a:ext cx="952304" cy="594799"/>
              <a:chOff x="5484573" y="5214090"/>
              <a:chExt cx="952304" cy="594799"/>
            </a:xfrm>
          </p:grpSpPr>
          <p:sp>
            <p:nvSpPr>
              <p:cNvPr id="24" name="î$ḷîḑè">
                <a:extLst>
                  <a:ext uri="{FF2B5EF4-FFF2-40B4-BE49-F238E27FC236}">
                    <a16:creationId xmlns:a16="http://schemas.microsoft.com/office/drawing/2014/main" id="{1BAB4F9E-7688-4E34-88AF-8367CF40C736}"/>
                  </a:ext>
                </a:extLst>
              </p:cNvPr>
              <p:cNvSpPr txBox="1"/>
              <p:nvPr/>
            </p:nvSpPr>
            <p:spPr>
              <a:xfrm>
                <a:off x="5484573" y="5470335"/>
                <a:ext cx="952304" cy="33855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Oct-Des</a:t>
                </a:r>
              </a:p>
            </p:txBody>
          </p:sp>
          <p:grpSp>
            <p:nvGrpSpPr>
              <p:cNvPr id="25" name="îṥľîďè">
                <a:extLst>
                  <a:ext uri="{FF2B5EF4-FFF2-40B4-BE49-F238E27FC236}">
                    <a16:creationId xmlns:a16="http://schemas.microsoft.com/office/drawing/2014/main" id="{4326D78E-1F1A-49D9-9ADF-F1A67420250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35421" y="5214090"/>
                <a:ext cx="250608" cy="252000"/>
                <a:chOff x="10455275" y="2498725"/>
                <a:chExt cx="285750" cy="287338"/>
              </a:xfrm>
              <a:solidFill>
                <a:sysClr val="window" lastClr="FFFFFF"/>
              </a:solidFill>
            </p:grpSpPr>
            <p:sp>
              <p:nvSpPr>
                <p:cNvPr id="26" name="îṣḻide">
                  <a:extLst>
                    <a:ext uri="{FF2B5EF4-FFF2-40B4-BE49-F238E27FC236}">
                      <a16:creationId xmlns:a16="http://schemas.microsoft.com/office/drawing/2014/main" id="{5E00211E-C931-47AE-B125-78BA8031193B}"/>
                    </a:ext>
                  </a:extLst>
                </p:cNvPr>
                <p:cNvSpPr/>
                <p:nvPr/>
              </p:nvSpPr>
              <p:spPr bwMode="auto">
                <a:xfrm>
                  <a:off x="10455275" y="2593975"/>
                  <a:ext cx="285750" cy="192088"/>
                </a:xfrm>
                <a:custGeom>
                  <a:avLst/>
                  <a:gdLst>
                    <a:gd name="T0" fmla="*/ 812 w 903"/>
                    <a:gd name="T1" fmla="*/ 30 h 601"/>
                    <a:gd name="T2" fmla="*/ 512 w 903"/>
                    <a:gd name="T3" fmla="*/ 571 h 601"/>
                    <a:gd name="T4" fmla="*/ 602 w 903"/>
                    <a:gd name="T5" fmla="*/ 571 h 601"/>
                    <a:gd name="T6" fmla="*/ 301 w 903"/>
                    <a:gd name="T7" fmla="*/ 210 h 601"/>
                    <a:gd name="T8" fmla="*/ 301 w 903"/>
                    <a:gd name="T9" fmla="*/ 571 h 601"/>
                    <a:gd name="T10" fmla="*/ 181 w 903"/>
                    <a:gd name="T11" fmla="*/ 421 h 601"/>
                    <a:gd name="T12" fmla="*/ 888 w 903"/>
                    <a:gd name="T13" fmla="*/ 571 h 601"/>
                    <a:gd name="T14" fmla="*/ 842 w 903"/>
                    <a:gd name="T15" fmla="*/ 12 h 601"/>
                    <a:gd name="T16" fmla="*/ 838 w 903"/>
                    <a:gd name="T17" fmla="*/ 5 h 601"/>
                    <a:gd name="T18" fmla="*/ 830 w 903"/>
                    <a:gd name="T19" fmla="*/ 0 h 601"/>
                    <a:gd name="T20" fmla="*/ 704 w 903"/>
                    <a:gd name="T21" fmla="*/ 0 h 601"/>
                    <a:gd name="T22" fmla="*/ 696 w 903"/>
                    <a:gd name="T23" fmla="*/ 5 h 601"/>
                    <a:gd name="T24" fmla="*/ 692 w 903"/>
                    <a:gd name="T25" fmla="*/ 12 h 601"/>
                    <a:gd name="T26" fmla="*/ 632 w 903"/>
                    <a:gd name="T27" fmla="*/ 571 h 601"/>
                    <a:gd name="T28" fmla="*/ 631 w 903"/>
                    <a:gd name="T29" fmla="*/ 280 h 601"/>
                    <a:gd name="T30" fmla="*/ 626 w 903"/>
                    <a:gd name="T31" fmla="*/ 274 h 601"/>
                    <a:gd name="T32" fmla="*/ 617 w 903"/>
                    <a:gd name="T33" fmla="*/ 270 h 601"/>
                    <a:gd name="T34" fmla="*/ 491 w 903"/>
                    <a:gd name="T35" fmla="*/ 271 h 601"/>
                    <a:gd name="T36" fmla="*/ 484 w 903"/>
                    <a:gd name="T37" fmla="*/ 278 h 601"/>
                    <a:gd name="T38" fmla="*/ 482 w 903"/>
                    <a:gd name="T39" fmla="*/ 285 h 601"/>
                    <a:gd name="T40" fmla="*/ 421 w 903"/>
                    <a:gd name="T41" fmla="*/ 195 h 601"/>
                    <a:gd name="T42" fmla="*/ 419 w 903"/>
                    <a:gd name="T43" fmla="*/ 187 h 601"/>
                    <a:gd name="T44" fmla="*/ 412 w 903"/>
                    <a:gd name="T45" fmla="*/ 181 h 601"/>
                    <a:gd name="T46" fmla="*/ 286 w 903"/>
                    <a:gd name="T47" fmla="*/ 180 h 601"/>
                    <a:gd name="T48" fmla="*/ 277 w 903"/>
                    <a:gd name="T49" fmla="*/ 184 h 601"/>
                    <a:gd name="T50" fmla="*/ 272 w 903"/>
                    <a:gd name="T51" fmla="*/ 190 h 601"/>
                    <a:gd name="T52" fmla="*/ 271 w 903"/>
                    <a:gd name="T53" fmla="*/ 571 h 601"/>
                    <a:gd name="T54" fmla="*/ 211 w 903"/>
                    <a:gd name="T55" fmla="*/ 403 h 601"/>
                    <a:gd name="T56" fmla="*/ 207 w 903"/>
                    <a:gd name="T57" fmla="*/ 396 h 601"/>
                    <a:gd name="T58" fmla="*/ 199 w 903"/>
                    <a:gd name="T59" fmla="*/ 391 h 601"/>
                    <a:gd name="T60" fmla="*/ 73 w 903"/>
                    <a:gd name="T61" fmla="*/ 391 h 601"/>
                    <a:gd name="T62" fmla="*/ 65 w 903"/>
                    <a:gd name="T63" fmla="*/ 396 h 601"/>
                    <a:gd name="T64" fmla="*/ 61 w 903"/>
                    <a:gd name="T65" fmla="*/ 403 h 601"/>
                    <a:gd name="T66" fmla="*/ 16 w 903"/>
                    <a:gd name="T67" fmla="*/ 571 h 601"/>
                    <a:gd name="T68" fmla="*/ 7 w 903"/>
                    <a:gd name="T69" fmla="*/ 573 h 601"/>
                    <a:gd name="T70" fmla="*/ 2 w 903"/>
                    <a:gd name="T71" fmla="*/ 581 h 601"/>
                    <a:gd name="T72" fmla="*/ 1 w 903"/>
                    <a:gd name="T73" fmla="*/ 590 h 601"/>
                    <a:gd name="T74" fmla="*/ 5 w 903"/>
                    <a:gd name="T75" fmla="*/ 597 h 601"/>
                    <a:gd name="T76" fmla="*/ 13 w 903"/>
                    <a:gd name="T77" fmla="*/ 601 h 601"/>
                    <a:gd name="T78" fmla="*/ 196 w 903"/>
                    <a:gd name="T79" fmla="*/ 601 h 601"/>
                    <a:gd name="T80" fmla="*/ 497 w 903"/>
                    <a:gd name="T81" fmla="*/ 601 h 601"/>
                    <a:gd name="T82" fmla="*/ 827 w 903"/>
                    <a:gd name="T83" fmla="*/ 601 h 601"/>
                    <a:gd name="T84" fmla="*/ 893 w 903"/>
                    <a:gd name="T85" fmla="*/ 600 h 601"/>
                    <a:gd name="T86" fmla="*/ 900 w 903"/>
                    <a:gd name="T87" fmla="*/ 595 h 601"/>
                    <a:gd name="T88" fmla="*/ 903 w 903"/>
                    <a:gd name="T89" fmla="*/ 586 h 601"/>
                    <a:gd name="T90" fmla="*/ 900 w 903"/>
                    <a:gd name="T91" fmla="*/ 578 h 601"/>
                    <a:gd name="T92" fmla="*/ 893 w 903"/>
                    <a:gd name="T93" fmla="*/ 572 h 6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903" h="601">
                      <a:moveTo>
                        <a:pt x="722" y="571"/>
                      </a:moveTo>
                      <a:lnTo>
                        <a:pt x="722" y="30"/>
                      </a:lnTo>
                      <a:lnTo>
                        <a:pt x="812" y="30"/>
                      </a:lnTo>
                      <a:lnTo>
                        <a:pt x="812" y="571"/>
                      </a:lnTo>
                      <a:lnTo>
                        <a:pt x="722" y="571"/>
                      </a:lnTo>
                      <a:close/>
                      <a:moveTo>
                        <a:pt x="512" y="571"/>
                      </a:moveTo>
                      <a:lnTo>
                        <a:pt x="512" y="300"/>
                      </a:lnTo>
                      <a:lnTo>
                        <a:pt x="602" y="300"/>
                      </a:lnTo>
                      <a:lnTo>
                        <a:pt x="602" y="571"/>
                      </a:lnTo>
                      <a:lnTo>
                        <a:pt x="512" y="571"/>
                      </a:lnTo>
                      <a:close/>
                      <a:moveTo>
                        <a:pt x="301" y="571"/>
                      </a:moveTo>
                      <a:lnTo>
                        <a:pt x="301" y="210"/>
                      </a:lnTo>
                      <a:lnTo>
                        <a:pt x="391" y="210"/>
                      </a:lnTo>
                      <a:lnTo>
                        <a:pt x="391" y="571"/>
                      </a:lnTo>
                      <a:lnTo>
                        <a:pt x="301" y="571"/>
                      </a:lnTo>
                      <a:close/>
                      <a:moveTo>
                        <a:pt x="91" y="571"/>
                      </a:moveTo>
                      <a:lnTo>
                        <a:pt x="91" y="421"/>
                      </a:lnTo>
                      <a:lnTo>
                        <a:pt x="181" y="421"/>
                      </a:lnTo>
                      <a:lnTo>
                        <a:pt x="181" y="571"/>
                      </a:lnTo>
                      <a:lnTo>
                        <a:pt x="91" y="571"/>
                      </a:lnTo>
                      <a:close/>
                      <a:moveTo>
                        <a:pt x="888" y="571"/>
                      </a:moveTo>
                      <a:lnTo>
                        <a:pt x="842" y="571"/>
                      </a:lnTo>
                      <a:lnTo>
                        <a:pt x="842" y="15"/>
                      </a:lnTo>
                      <a:lnTo>
                        <a:pt x="842" y="12"/>
                      </a:lnTo>
                      <a:lnTo>
                        <a:pt x="841" y="9"/>
                      </a:lnTo>
                      <a:lnTo>
                        <a:pt x="840" y="7"/>
                      </a:lnTo>
                      <a:lnTo>
                        <a:pt x="838" y="5"/>
                      </a:lnTo>
                      <a:lnTo>
                        <a:pt x="836" y="3"/>
                      </a:lnTo>
                      <a:lnTo>
                        <a:pt x="833" y="1"/>
                      </a:lnTo>
                      <a:lnTo>
                        <a:pt x="830" y="0"/>
                      </a:lnTo>
                      <a:lnTo>
                        <a:pt x="827" y="0"/>
                      </a:lnTo>
                      <a:lnTo>
                        <a:pt x="707" y="0"/>
                      </a:lnTo>
                      <a:lnTo>
                        <a:pt x="704" y="0"/>
                      </a:lnTo>
                      <a:lnTo>
                        <a:pt x="702" y="1"/>
                      </a:lnTo>
                      <a:lnTo>
                        <a:pt x="698" y="3"/>
                      </a:lnTo>
                      <a:lnTo>
                        <a:pt x="696" y="5"/>
                      </a:lnTo>
                      <a:lnTo>
                        <a:pt x="694" y="7"/>
                      </a:lnTo>
                      <a:lnTo>
                        <a:pt x="693" y="9"/>
                      </a:lnTo>
                      <a:lnTo>
                        <a:pt x="692" y="12"/>
                      </a:lnTo>
                      <a:lnTo>
                        <a:pt x="692" y="15"/>
                      </a:lnTo>
                      <a:lnTo>
                        <a:pt x="692" y="571"/>
                      </a:lnTo>
                      <a:lnTo>
                        <a:pt x="632" y="571"/>
                      </a:lnTo>
                      <a:lnTo>
                        <a:pt x="632" y="285"/>
                      </a:lnTo>
                      <a:lnTo>
                        <a:pt x="632" y="283"/>
                      </a:lnTo>
                      <a:lnTo>
                        <a:pt x="631" y="280"/>
                      </a:lnTo>
                      <a:lnTo>
                        <a:pt x="630" y="278"/>
                      </a:lnTo>
                      <a:lnTo>
                        <a:pt x="628" y="275"/>
                      </a:lnTo>
                      <a:lnTo>
                        <a:pt x="626" y="274"/>
                      </a:lnTo>
                      <a:lnTo>
                        <a:pt x="622" y="271"/>
                      </a:lnTo>
                      <a:lnTo>
                        <a:pt x="620" y="271"/>
                      </a:lnTo>
                      <a:lnTo>
                        <a:pt x="617" y="270"/>
                      </a:lnTo>
                      <a:lnTo>
                        <a:pt x="497" y="270"/>
                      </a:lnTo>
                      <a:lnTo>
                        <a:pt x="494" y="271"/>
                      </a:lnTo>
                      <a:lnTo>
                        <a:pt x="491" y="271"/>
                      </a:lnTo>
                      <a:lnTo>
                        <a:pt x="488" y="274"/>
                      </a:lnTo>
                      <a:lnTo>
                        <a:pt x="486" y="275"/>
                      </a:lnTo>
                      <a:lnTo>
                        <a:pt x="484" y="278"/>
                      </a:lnTo>
                      <a:lnTo>
                        <a:pt x="483" y="280"/>
                      </a:lnTo>
                      <a:lnTo>
                        <a:pt x="482" y="283"/>
                      </a:lnTo>
                      <a:lnTo>
                        <a:pt x="482" y="285"/>
                      </a:lnTo>
                      <a:lnTo>
                        <a:pt x="482" y="571"/>
                      </a:lnTo>
                      <a:lnTo>
                        <a:pt x="421" y="571"/>
                      </a:lnTo>
                      <a:lnTo>
                        <a:pt x="421" y="195"/>
                      </a:lnTo>
                      <a:lnTo>
                        <a:pt x="421" y="192"/>
                      </a:lnTo>
                      <a:lnTo>
                        <a:pt x="420" y="190"/>
                      </a:lnTo>
                      <a:lnTo>
                        <a:pt x="419" y="187"/>
                      </a:lnTo>
                      <a:lnTo>
                        <a:pt x="417" y="185"/>
                      </a:lnTo>
                      <a:lnTo>
                        <a:pt x="415" y="184"/>
                      </a:lnTo>
                      <a:lnTo>
                        <a:pt x="412" y="181"/>
                      </a:lnTo>
                      <a:lnTo>
                        <a:pt x="409" y="180"/>
                      </a:lnTo>
                      <a:lnTo>
                        <a:pt x="406" y="180"/>
                      </a:lnTo>
                      <a:lnTo>
                        <a:pt x="286" y="180"/>
                      </a:lnTo>
                      <a:lnTo>
                        <a:pt x="283" y="180"/>
                      </a:lnTo>
                      <a:lnTo>
                        <a:pt x="281" y="181"/>
                      </a:lnTo>
                      <a:lnTo>
                        <a:pt x="277" y="184"/>
                      </a:lnTo>
                      <a:lnTo>
                        <a:pt x="275" y="185"/>
                      </a:lnTo>
                      <a:lnTo>
                        <a:pt x="274" y="187"/>
                      </a:lnTo>
                      <a:lnTo>
                        <a:pt x="272" y="190"/>
                      </a:lnTo>
                      <a:lnTo>
                        <a:pt x="271" y="192"/>
                      </a:lnTo>
                      <a:lnTo>
                        <a:pt x="271" y="195"/>
                      </a:lnTo>
                      <a:lnTo>
                        <a:pt x="271" y="571"/>
                      </a:lnTo>
                      <a:lnTo>
                        <a:pt x="211" y="571"/>
                      </a:lnTo>
                      <a:lnTo>
                        <a:pt x="211" y="406"/>
                      </a:lnTo>
                      <a:lnTo>
                        <a:pt x="211" y="403"/>
                      </a:lnTo>
                      <a:lnTo>
                        <a:pt x="210" y="400"/>
                      </a:lnTo>
                      <a:lnTo>
                        <a:pt x="209" y="398"/>
                      </a:lnTo>
                      <a:lnTo>
                        <a:pt x="207" y="396"/>
                      </a:lnTo>
                      <a:lnTo>
                        <a:pt x="205" y="394"/>
                      </a:lnTo>
                      <a:lnTo>
                        <a:pt x="201" y="392"/>
                      </a:lnTo>
                      <a:lnTo>
                        <a:pt x="199" y="391"/>
                      </a:lnTo>
                      <a:lnTo>
                        <a:pt x="196" y="391"/>
                      </a:lnTo>
                      <a:lnTo>
                        <a:pt x="76" y="391"/>
                      </a:lnTo>
                      <a:lnTo>
                        <a:pt x="73" y="391"/>
                      </a:lnTo>
                      <a:lnTo>
                        <a:pt x="70" y="392"/>
                      </a:lnTo>
                      <a:lnTo>
                        <a:pt x="67" y="394"/>
                      </a:lnTo>
                      <a:lnTo>
                        <a:pt x="65" y="396"/>
                      </a:lnTo>
                      <a:lnTo>
                        <a:pt x="63" y="398"/>
                      </a:lnTo>
                      <a:lnTo>
                        <a:pt x="62" y="400"/>
                      </a:lnTo>
                      <a:lnTo>
                        <a:pt x="61" y="403"/>
                      </a:lnTo>
                      <a:lnTo>
                        <a:pt x="61" y="406"/>
                      </a:lnTo>
                      <a:lnTo>
                        <a:pt x="61" y="571"/>
                      </a:lnTo>
                      <a:lnTo>
                        <a:pt x="16" y="571"/>
                      </a:lnTo>
                      <a:lnTo>
                        <a:pt x="13" y="571"/>
                      </a:lnTo>
                      <a:lnTo>
                        <a:pt x="10" y="572"/>
                      </a:lnTo>
                      <a:lnTo>
                        <a:pt x="7" y="573"/>
                      </a:lnTo>
                      <a:lnTo>
                        <a:pt x="5" y="576"/>
                      </a:lnTo>
                      <a:lnTo>
                        <a:pt x="3" y="578"/>
                      </a:lnTo>
                      <a:lnTo>
                        <a:pt x="2" y="581"/>
                      </a:lnTo>
                      <a:lnTo>
                        <a:pt x="1" y="583"/>
                      </a:lnTo>
                      <a:lnTo>
                        <a:pt x="0" y="586"/>
                      </a:lnTo>
                      <a:lnTo>
                        <a:pt x="1" y="590"/>
                      </a:lnTo>
                      <a:lnTo>
                        <a:pt x="2" y="593"/>
                      </a:lnTo>
                      <a:lnTo>
                        <a:pt x="3" y="595"/>
                      </a:lnTo>
                      <a:lnTo>
                        <a:pt x="5" y="597"/>
                      </a:lnTo>
                      <a:lnTo>
                        <a:pt x="7" y="599"/>
                      </a:lnTo>
                      <a:lnTo>
                        <a:pt x="10" y="600"/>
                      </a:lnTo>
                      <a:lnTo>
                        <a:pt x="13" y="601"/>
                      </a:lnTo>
                      <a:lnTo>
                        <a:pt x="16" y="601"/>
                      </a:lnTo>
                      <a:lnTo>
                        <a:pt x="76" y="601"/>
                      </a:lnTo>
                      <a:lnTo>
                        <a:pt x="196" y="601"/>
                      </a:lnTo>
                      <a:lnTo>
                        <a:pt x="286" y="601"/>
                      </a:lnTo>
                      <a:lnTo>
                        <a:pt x="406" y="601"/>
                      </a:lnTo>
                      <a:lnTo>
                        <a:pt x="497" y="601"/>
                      </a:lnTo>
                      <a:lnTo>
                        <a:pt x="617" y="601"/>
                      </a:lnTo>
                      <a:lnTo>
                        <a:pt x="707" y="601"/>
                      </a:lnTo>
                      <a:lnTo>
                        <a:pt x="827" y="601"/>
                      </a:lnTo>
                      <a:lnTo>
                        <a:pt x="888" y="601"/>
                      </a:lnTo>
                      <a:lnTo>
                        <a:pt x="890" y="601"/>
                      </a:lnTo>
                      <a:lnTo>
                        <a:pt x="893" y="600"/>
                      </a:lnTo>
                      <a:lnTo>
                        <a:pt x="896" y="599"/>
                      </a:lnTo>
                      <a:lnTo>
                        <a:pt x="898" y="597"/>
                      </a:lnTo>
                      <a:lnTo>
                        <a:pt x="900" y="595"/>
                      </a:lnTo>
                      <a:lnTo>
                        <a:pt x="901" y="593"/>
                      </a:lnTo>
                      <a:lnTo>
                        <a:pt x="902" y="590"/>
                      </a:lnTo>
                      <a:lnTo>
                        <a:pt x="903" y="586"/>
                      </a:lnTo>
                      <a:lnTo>
                        <a:pt x="902" y="583"/>
                      </a:lnTo>
                      <a:lnTo>
                        <a:pt x="901" y="581"/>
                      </a:lnTo>
                      <a:lnTo>
                        <a:pt x="900" y="578"/>
                      </a:lnTo>
                      <a:lnTo>
                        <a:pt x="898" y="576"/>
                      </a:lnTo>
                      <a:lnTo>
                        <a:pt x="896" y="573"/>
                      </a:lnTo>
                      <a:lnTo>
                        <a:pt x="893" y="572"/>
                      </a:lnTo>
                      <a:lnTo>
                        <a:pt x="890" y="571"/>
                      </a:lnTo>
                      <a:lnTo>
                        <a:pt x="888" y="5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ïšľïďè">
                  <a:extLst>
                    <a:ext uri="{FF2B5EF4-FFF2-40B4-BE49-F238E27FC236}">
                      <a16:creationId xmlns:a16="http://schemas.microsoft.com/office/drawing/2014/main" id="{2BF96DC2-F4D9-4190-9E6D-1B9075CCE8E5}"/>
                    </a:ext>
                  </a:extLst>
                </p:cNvPr>
                <p:cNvSpPr/>
                <p:nvPr/>
              </p:nvSpPr>
              <p:spPr bwMode="auto">
                <a:xfrm>
                  <a:off x="10474325" y="2498725"/>
                  <a:ext cx="252413" cy="157163"/>
                </a:xfrm>
                <a:custGeom>
                  <a:avLst/>
                  <a:gdLst>
                    <a:gd name="T0" fmla="*/ 83 w 796"/>
                    <a:gd name="T1" fmla="*/ 417 h 496"/>
                    <a:gd name="T2" fmla="*/ 89 w 796"/>
                    <a:gd name="T3" fmla="*/ 431 h 496"/>
                    <a:gd name="T4" fmla="*/ 76 w 796"/>
                    <a:gd name="T5" fmla="*/ 461 h 496"/>
                    <a:gd name="T6" fmla="*/ 43 w 796"/>
                    <a:gd name="T7" fmla="*/ 461 h 496"/>
                    <a:gd name="T8" fmla="*/ 30 w 796"/>
                    <a:gd name="T9" fmla="*/ 430 h 496"/>
                    <a:gd name="T10" fmla="*/ 54 w 796"/>
                    <a:gd name="T11" fmla="*/ 407 h 496"/>
                    <a:gd name="T12" fmla="*/ 302 w 796"/>
                    <a:gd name="T13" fmla="*/ 216 h 496"/>
                    <a:gd name="T14" fmla="*/ 315 w 796"/>
                    <a:gd name="T15" fmla="*/ 247 h 496"/>
                    <a:gd name="T16" fmla="*/ 291 w 796"/>
                    <a:gd name="T17" fmla="*/ 270 h 496"/>
                    <a:gd name="T18" fmla="*/ 260 w 796"/>
                    <a:gd name="T19" fmla="*/ 257 h 496"/>
                    <a:gd name="T20" fmla="*/ 260 w 796"/>
                    <a:gd name="T21" fmla="*/ 224 h 496"/>
                    <a:gd name="T22" fmla="*/ 511 w 796"/>
                    <a:gd name="T23" fmla="*/ 301 h 496"/>
                    <a:gd name="T24" fmla="*/ 530 w 796"/>
                    <a:gd name="T25" fmla="*/ 308 h 496"/>
                    <a:gd name="T26" fmla="*/ 541 w 796"/>
                    <a:gd name="T27" fmla="*/ 331 h 496"/>
                    <a:gd name="T28" fmla="*/ 523 w 796"/>
                    <a:gd name="T29" fmla="*/ 359 h 496"/>
                    <a:gd name="T30" fmla="*/ 490 w 796"/>
                    <a:gd name="T31" fmla="*/ 353 h 496"/>
                    <a:gd name="T32" fmla="*/ 483 w 796"/>
                    <a:gd name="T33" fmla="*/ 320 h 496"/>
                    <a:gd name="T34" fmla="*/ 511 w 796"/>
                    <a:gd name="T35" fmla="*/ 301 h 496"/>
                    <a:gd name="T36" fmla="*/ 757 w 796"/>
                    <a:gd name="T37" fmla="*/ 39 h 496"/>
                    <a:gd name="T38" fmla="*/ 764 w 796"/>
                    <a:gd name="T39" fmla="*/ 72 h 496"/>
                    <a:gd name="T40" fmla="*/ 736 w 796"/>
                    <a:gd name="T41" fmla="*/ 90 h 496"/>
                    <a:gd name="T42" fmla="*/ 708 w 796"/>
                    <a:gd name="T43" fmla="*/ 72 h 496"/>
                    <a:gd name="T44" fmla="*/ 716 w 796"/>
                    <a:gd name="T45" fmla="*/ 39 h 496"/>
                    <a:gd name="T46" fmla="*/ 60 w 796"/>
                    <a:gd name="T47" fmla="*/ 496 h 496"/>
                    <a:gd name="T48" fmla="*/ 93 w 796"/>
                    <a:gd name="T49" fmla="*/ 487 h 496"/>
                    <a:gd name="T50" fmla="*/ 115 w 796"/>
                    <a:gd name="T51" fmla="*/ 460 h 496"/>
                    <a:gd name="T52" fmla="*/ 118 w 796"/>
                    <a:gd name="T53" fmla="*/ 422 h 496"/>
                    <a:gd name="T54" fmla="*/ 276 w 796"/>
                    <a:gd name="T55" fmla="*/ 300 h 496"/>
                    <a:gd name="T56" fmla="*/ 318 w 796"/>
                    <a:gd name="T57" fmla="*/ 291 h 496"/>
                    <a:gd name="T58" fmla="*/ 451 w 796"/>
                    <a:gd name="T59" fmla="*/ 331 h 496"/>
                    <a:gd name="T60" fmla="*/ 461 w 796"/>
                    <a:gd name="T61" fmla="*/ 365 h 496"/>
                    <a:gd name="T62" fmla="*/ 487 w 796"/>
                    <a:gd name="T63" fmla="*/ 387 h 496"/>
                    <a:gd name="T64" fmla="*/ 523 w 796"/>
                    <a:gd name="T65" fmla="*/ 390 h 496"/>
                    <a:gd name="T66" fmla="*/ 554 w 796"/>
                    <a:gd name="T67" fmla="*/ 373 h 496"/>
                    <a:gd name="T68" fmla="*/ 570 w 796"/>
                    <a:gd name="T69" fmla="*/ 343 h 496"/>
                    <a:gd name="T70" fmla="*/ 559 w 796"/>
                    <a:gd name="T71" fmla="*/ 296 h 496"/>
                    <a:gd name="T72" fmla="*/ 742 w 796"/>
                    <a:gd name="T73" fmla="*/ 120 h 496"/>
                    <a:gd name="T74" fmla="*/ 775 w 796"/>
                    <a:gd name="T75" fmla="*/ 106 h 496"/>
                    <a:gd name="T76" fmla="*/ 794 w 796"/>
                    <a:gd name="T77" fmla="*/ 79 h 496"/>
                    <a:gd name="T78" fmla="*/ 794 w 796"/>
                    <a:gd name="T79" fmla="*/ 43 h 496"/>
                    <a:gd name="T80" fmla="*/ 775 w 796"/>
                    <a:gd name="T81" fmla="*/ 14 h 496"/>
                    <a:gd name="T82" fmla="*/ 742 w 796"/>
                    <a:gd name="T83" fmla="*/ 0 h 496"/>
                    <a:gd name="T84" fmla="*/ 708 w 796"/>
                    <a:gd name="T85" fmla="*/ 8 h 496"/>
                    <a:gd name="T86" fmla="*/ 683 w 796"/>
                    <a:gd name="T87" fmla="*/ 31 h 496"/>
                    <a:gd name="T88" fmla="*/ 677 w 796"/>
                    <a:gd name="T89" fmla="*/ 70 h 496"/>
                    <a:gd name="T90" fmla="*/ 524 w 796"/>
                    <a:gd name="T91" fmla="*/ 272 h 496"/>
                    <a:gd name="T92" fmla="*/ 483 w 796"/>
                    <a:gd name="T93" fmla="*/ 278 h 496"/>
                    <a:gd name="T94" fmla="*/ 345 w 796"/>
                    <a:gd name="T95" fmla="*/ 245 h 496"/>
                    <a:gd name="T96" fmla="*/ 339 w 796"/>
                    <a:gd name="T97" fmla="*/ 212 h 496"/>
                    <a:gd name="T98" fmla="*/ 314 w 796"/>
                    <a:gd name="T99" fmla="*/ 188 h 496"/>
                    <a:gd name="T100" fmla="*/ 280 w 796"/>
                    <a:gd name="T101" fmla="*/ 181 h 496"/>
                    <a:gd name="T102" fmla="*/ 247 w 796"/>
                    <a:gd name="T103" fmla="*/ 194 h 496"/>
                    <a:gd name="T104" fmla="*/ 228 w 796"/>
                    <a:gd name="T105" fmla="*/ 223 h 496"/>
                    <a:gd name="T106" fmla="*/ 229 w 796"/>
                    <a:gd name="T107" fmla="*/ 262 h 496"/>
                    <a:gd name="T108" fmla="*/ 60 w 796"/>
                    <a:gd name="T109" fmla="*/ 376 h 496"/>
                    <a:gd name="T110" fmla="*/ 26 w 796"/>
                    <a:gd name="T111" fmla="*/ 387 h 496"/>
                    <a:gd name="T112" fmla="*/ 4 w 796"/>
                    <a:gd name="T113" fmla="*/ 413 h 496"/>
                    <a:gd name="T114" fmla="*/ 1 w 796"/>
                    <a:gd name="T115" fmla="*/ 448 h 496"/>
                    <a:gd name="T116" fmla="*/ 17 w 796"/>
                    <a:gd name="T117" fmla="*/ 479 h 496"/>
                    <a:gd name="T118" fmla="*/ 47 w 796"/>
                    <a:gd name="T119" fmla="*/ 495 h 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96" h="496">
                      <a:moveTo>
                        <a:pt x="60" y="406"/>
                      </a:moveTo>
                      <a:lnTo>
                        <a:pt x="66" y="407"/>
                      </a:lnTo>
                      <a:lnTo>
                        <a:pt x="73" y="410"/>
                      </a:lnTo>
                      <a:lnTo>
                        <a:pt x="78" y="413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3" y="417"/>
                      </a:lnTo>
                      <a:lnTo>
                        <a:pt x="86" y="421"/>
                      </a:lnTo>
                      <a:lnTo>
                        <a:pt x="88" y="426"/>
                      </a:lnTo>
                      <a:lnTo>
                        <a:pt x="89" y="431"/>
                      </a:lnTo>
                      <a:lnTo>
                        <a:pt x="90" y="436"/>
                      </a:lnTo>
                      <a:lnTo>
                        <a:pt x="89" y="443"/>
                      </a:lnTo>
                      <a:lnTo>
                        <a:pt x="88" y="448"/>
                      </a:lnTo>
                      <a:lnTo>
                        <a:pt x="85" y="453"/>
                      </a:lnTo>
                      <a:lnTo>
                        <a:pt x="81" y="458"/>
                      </a:lnTo>
                      <a:lnTo>
                        <a:pt x="76" y="461"/>
                      </a:lnTo>
                      <a:lnTo>
                        <a:pt x="72" y="464"/>
                      </a:lnTo>
                      <a:lnTo>
                        <a:pt x="65" y="466"/>
                      </a:lnTo>
                      <a:lnTo>
                        <a:pt x="60" y="466"/>
                      </a:lnTo>
                      <a:lnTo>
                        <a:pt x="54" y="466"/>
                      </a:lnTo>
                      <a:lnTo>
                        <a:pt x="48" y="464"/>
                      </a:lnTo>
                      <a:lnTo>
                        <a:pt x="43" y="461"/>
                      </a:lnTo>
                      <a:lnTo>
                        <a:pt x="39" y="458"/>
                      </a:lnTo>
                      <a:lnTo>
                        <a:pt x="34" y="453"/>
                      </a:lnTo>
                      <a:lnTo>
                        <a:pt x="32" y="448"/>
                      </a:lnTo>
                      <a:lnTo>
                        <a:pt x="30" y="443"/>
                      </a:lnTo>
                      <a:lnTo>
                        <a:pt x="30" y="436"/>
                      </a:lnTo>
                      <a:lnTo>
                        <a:pt x="30" y="430"/>
                      </a:lnTo>
                      <a:lnTo>
                        <a:pt x="32" y="425"/>
                      </a:lnTo>
                      <a:lnTo>
                        <a:pt x="34" y="419"/>
                      </a:lnTo>
                      <a:lnTo>
                        <a:pt x="39" y="415"/>
                      </a:lnTo>
                      <a:lnTo>
                        <a:pt x="43" y="412"/>
                      </a:lnTo>
                      <a:lnTo>
                        <a:pt x="48" y="409"/>
                      </a:lnTo>
                      <a:lnTo>
                        <a:pt x="54" y="407"/>
                      </a:lnTo>
                      <a:lnTo>
                        <a:pt x="60" y="406"/>
                      </a:lnTo>
                      <a:lnTo>
                        <a:pt x="60" y="406"/>
                      </a:lnTo>
                      <a:close/>
                      <a:moveTo>
                        <a:pt x="285" y="211"/>
                      </a:moveTo>
                      <a:lnTo>
                        <a:pt x="291" y="211"/>
                      </a:lnTo>
                      <a:lnTo>
                        <a:pt x="297" y="214"/>
                      </a:lnTo>
                      <a:lnTo>
                        <a:pt x="302" y="216"/>
                      </a:lnTo>
                      <a:lnTo>
                        <a:pt x="306" y="220"/>
                      </a:lnTo>
                      <a:lnTo>
                        <a:pt x="311" y="224"/>
                      </a:lnTo>
                      <a:lnTo>
                        <a:pt x="313" y="230"/>
                      </a:lnTo>
                      <a:lnTo>
                        <a:pt x="315" y="235"/>
                      </a:lnTo>
                      <a:lnTo>
                        <a:pt x="315" y="241"/>
                      </a:lnTo>
                      <a:lnTo>
                        <a:pt x="315" y="247"/>
                      </a:lnTo>
                      <a:lnTo>
                        <a:pt x="313" y="253"/>
                      </a:lnTo>
                      <a:lnTo>
                        <a:pt x="311" y="257"/>
                      </a:lnTo>
                      <a:lnTo>
                        <a:pt x="306" y="262"/>
                      </a:lnTo>
                      <a:lnTo>
                        <a:pt x="302" y="266"/>
                      </a:lnTo>
                      <a:lnTo>
                        <a:pt x="297" y="268"/>
                      </a:lnTo>
                      <a:lnTo>
                        <a:pt x="291" y="270"/>
                      </a:lnTo>
                      <a:lnTo>
                        <a:pt x="285" y="271"/>
                      </a:lnTo>
                      <a:lnTo>
                        <a:pt x="280" y="270"/>
                      </a:lnTo>
                      <a:lnTo>
                        <a:pt x="273" y="268"/>
                      </a:lnTo>
                      <a:lnTo>
                        <a:pt x="269" y="266"/>
                      </a:lnTo>
                      <a:lnTo>
                        <a:pt x="264" y="262"/>
                      </a:lnTo>
                      <a:lnTo>
                        <a:pt x="260" y="257"/>
                      </a:lnTo>
                      <a:lnTo>
                        <a:pt x="257" y="253"/>
                      </a:lnTo>
                      <a:lnTo>
                        <a:pt x="256" y="247"/>
                      </a:lnTo>
                      <a:lnTo>
                        <a:pt x="255" y="241"/>
                      </a:lnTo>
                      <a:lnTo>
                        <a:pt x="256" y="235"/>
                      </a:lnTo>
                      <a:lnTo>
                        <a:pt x="257" y="230"/>
                      </a:lnTo>
                      <a:lnTo>
                        <a:pt x="260" y="224"/>
                      </a:lnTo>
                      <a:lnTo>
                        <a:pt x="264" y="220"/>
                      </a:lnTo>
                      <a:lnTo>
                        <a:pt x="269" y="216"/>
                      </a:lnTo>
                      <a:lnTo>
                        <a:pt x="273" y="214"/>
                      </a:lnTo>
                      <a:lnTo>
                        <a:pt x="280" y="211"/>
                      </a:lnTo>
                      <a:lnTo>
                        <a:pt x="285" y="211"/>
                      </a:lnTo>
                      <a:close/>
                      <a:moveTo>
                        <a:pt x="511" y="301"/>
                      </a:moveTo>
                      <a:lnTo>
                        <a:pt x="516" y="301"/>
                      </a:lnTo>
                      <a:lnTo>
                        <a:pt x="521" y="302"/>
                      </a:lnTo>
                      <a:lnTo>
                        <a:pt x="526" y="306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0" y="308"/>
                      </a:lnTo>
                      <a:lnTo>
                        <a:pt x="535" y="313"/>
                      </a:lnTo>
                      <a:lnTo>
                        <a:pt x="538" y="319"/>
                      </a:lnTo>
                      <a:lnTo>
                        <a:pt x="540" y="325"/>
                      </a:lnTo>
                      <a:lnTo>
                        <a:pt x="541" y="331"/>
                      </a:lnTo>
                      <a:lnTo>
                        <a:pt x="540" y="337"/>
                      </a:lnTo>
                      <a:lnTo>
                        <a:pt x="539" y="343"/>
                      </a:lnTo>
                      <a:lnTo>
                        <a:pt x="536" y="347"/>
                      </a:lnTo>
                      <a:lnTo>
                        <a:pt x="532" y="353"/>
                      </a:lnTo>
                      <a:lnTo>
                        <a:pt x="527" y="356"/>
                      </a:lnTo>
                      <a:lnTo>
                        <a:pt x="523" y="359"/>
                      </a:lnTo>
                      <a:lnTo>
                        <a:pt x="516" y="360"/>
                      </a:lnTo>
                      <a:lnTo>
                        <a:pt x="511" y="361"/>
                      </a:lnTo>
                      <a:lnTo>
                        <a:pt x="505" y="360"/>
                      </a:lnTo>
                      <a:lnTo>
                        <a:pt x="499" y="359"/>
                      </a:lnTo>
                      <a:lnTo>
                        <a:pt x="494" y="356"/>
                      </a:lnTo>
                      <a:lnTo>
                        <a:pt x="490" y="353"/>
                      </a:lnTo>
                      <a:lnTo>
                        <a:pt x="486" y="349"/>
                      </a:lnTo>
                      <a:lnTo>
                        <a:pt x="483" y="343"/>
                      </a:lnTo>
                      <a:lnTo>
                        <a:pt x="481" y="337"/>
                      </a:lnTo>
                      <a:lnTo>
                        <a:pt x="481" y="331"/>
                      </a:lnTo>
                      <a:lnTo>
                        <a:pt x="481" y="325"/>
                      </a:lnTo>
                      <a:lnTo>
                        <a:pt x="483" y="320"/>
                      </a:lnTo>
                      <a:lnTo>
                        <a:pt x="486" y="314"/>
                      </a:lnTo>
                      <a:lnTo>
                        <a:pt x="490" y="310"/>
                      </a:lnTo>
                      <a:lnTo>
                        <a:pt x="494" y="307"/>
                      </a:lnTo>
                      <a:lnTo>
                        <a:pt x="499" y="304"/>
                      </a:lnTo>
                      <a:lnTo>
                        <a:pt x="505" y="301"/>
                      </a:lnTo>
                      <a:lnTo>
                        <a:pt x="511" y="301"/>
                      </a:lnTo>
                      <a:lnTo>
                        <a:pt x="511" y="301"/>
                      </a:lnTo>
                      <a:close/>
                      <a:moveTo>
                        <a:pt x="736" y="30"/>
                      </a:moveTo>
                      <a:lnTo>
                        <a:pt x="742" y="31"/>
                      </a:lnTo>
                      <a:lnTo>
                        <a:pt x="748" y="33"/>
                      </a:lnTo>
                      <a:lnTo>
                        <a:pt x="753" y="36"/>
                      </a:lnTo>
                      <a:lnTo>
                        <a:pt x="757" y="39"/>
                      </a:lnTo>
                      <a:lnTo>
                        <a:pt x="762" y="43"/>
                      </a:lnTo>
                      <a:lnTo>
                        <a:pt x="764" y="49"/>
                      </a:lnTo>
                      <a:lnTo>
                        <a:pt x="766" y="55"/>
                      </a:lnTo>
                      <a:lnTo>
                        <a:pt x="766" y="60"/>
                      </a:lnTo>
                      <a:lnTo>
                        <a:pt x="766" y="67"/>
                      </a:lnTo>
                      <a:lnTo>
                        <a:pt x="764" y="72"/>
                      </a:lnTo>
                      <a:lnTo>
                        <a:pt x="762" y="78"/>
                      </a:lnTo>
                      <a:lnTo>
                        <a:pt x="757" y="82"/>
                      </a:lnTo>
                      <a:lnTo>
                        <a:pt x="753" y="85"/>
                      </a:lnTo>
                      <a:lnTo>
                        <a:pt x="748" y="88"/>
                      </a:lnTo>
                      <a:lnTo>
                        <a:pt x="742" y="90"/>
                      </a:lnTo>
                      <a:lnTo>
                        <a:pt x="736" y="90"/>
                      </a:lnTo>
                      <a:lnTo>
                        <a:pt x="731" y="90"/>
                      </a:lnTo>
                      <a:lnTo>
                        <a:pt x="724" y="88"/>
                      </a:lnTo>
                      <a:lnTo>
                        <a:pt x="720" y="85"/>
                      </a:lnTo>
                      <a:lnTo>
                        <a:pt x="716" y="82"/>
                      </a:lnTo>
                      <a:lnTo>
                        <a:pt x="711" y="78"/>
                      </a:lnTo>
                      <a:lnTo>
                        <a:pt x="708" y="72"/>
                      </a:lnTo>
                      <a:lnTo>
                        <a:pt x="707" y="67"/>
                      </a:lnTo>
                      <a:lnTo>
                        <a:pt x="706" y="60"/>
                      </a:lnTo>
                      <a:lnTo>
                        <a:pt x="707" y="55"/>
                      </a:lnTo>
                      <a:lnTo>
                        <a:pt x="708" y="49"/>
                      </a:lnTo>
                      <a:lnTo>
                        <a:pt x="711" y="43"/>
                      </a:lnTo>
                      <a:lnTo>
                        <a:pt x="716" y="39"/>
                      </a:lnTo>
                      <a:lnTo>
                        <a:pt x="720" y="36"/>
                      </a:lnTo>
                      <a:lnTo>
                        <a:pt x="724" y="33"/>
                      </a:lnTo>
                      <a:lnTo>
                        <a:pt x="731" y="31"/>
                      </a:lnTo>
                      <a:lnTo>
                        <a:pt x="736" y="30"/>
                      </a:lnTo>
                      <a:lnTo>
                        <a:pt x="736" y="30"/>
                      </a:lnTo>
                      <a:close/>
                      <a:moveTo>
                        <a:pt x="60" y="496"/>
                      </a:moveTo>
                      <a:lnTo>
                        <a:pt x="66" y="496"/>
                      </a:lnTo>
                      <a:lnTo>
                        <a:pt x="72" y="495"/>
                      </a:lnTo>
                      <a:lnTo>
                        <a:pt x="77" y="494"/>
                      </a:lnTo>
                      <a:lnTo>
                        <a:pt x="84" y="492"/>
                      </a:lnTo>
                      <a:lnTo>
                        <a:pt x="89" y="489"/>
                      </a:lnTo>
                      <a:lnTo>
                        <a:pt x="93" y="487"/>
                      </a:lnTo>
                      <a:lnTo>
                        <a:pt x="98" y="482"/>
                      </a:lnTo>
                      <a:lnTo>
                        <a:pt x="102" y="479"/>
                      </a:lnTo>
                      <a:lnTo>
                        <a:pt x="106" y="475"/>
                      </a:lnTo>
                      <a:lnTo>
                        <a:pt x="109" y="470"/>
                      </a:lnTo>
                      <a:lnTo>
                        <a:pt x="113" y="465"/>
                      </a:lnTo>
                      <a:lnTo>
                        <a:pt x="115" y="460"/>
                      </a:lnTo>
                      <a:lnTo>
                        <a:pt x="117" y="455"/>
                      </a:lnTo>
                      <a:lnTo>
                        <a:pt x="119" y="448"/>
                      </a:lnTo>
                      <a:lnTo>
                        <a:pt x="120" y="443"/>
                      </a:lnTo>
                      <a:lnTo>
                        <a:pt x="120" y="436"/>
                      </a:lnTo>
                      <a:lnTo>
                        <a:pt x="119" y="429"/>
                      </a:lnTo>
                      <a:lnTo>
                        <a:pt x="118" y="422"/>
                      </a:lnTo>
                      <a:lnTo>
                        <a:pt x="116" y="416"/>
                      </a:lnTo>
                      <a:lnTo>
                        <a:pt x="114" y="410"/>
                      </a:lnTo>
                      <a:lnTo>
                        <a:pt x="251" y="291"/>
                      </a:lnTo>
                      <a:lnTo>
                        <a:pt x="259" y="295"/>
                      </a:lnTo>
                      <a:lnTo>
                        <a:pt x="267" y="298"/>
                      </a:lnTo>
                      <a:lnTo>
                        <a:pt x="276" y="300"/>
                      </a:lnTo>
                      <a:lnTo>
                        <a:pt x="285" y="301"/>
                      </a:lnTo>
                      <a:lnTo>
                        <a:pt x="292" y="300"/>
                      </a:lnTo>
                      <a:lnTo>
                        <a:pt x="300" y="299"/>
                      </a:lnTo>
                      <a:lnTo>
                        <a:pt x="306" y="297"/>
                      </a:lnTo>
                      <a:lnTo>
                        <a:pt x="313" y="294"/>
                      </a:lnTo>
                      <a:lnTo>
                        <a:pt x="318" y="291"/>
                      </a:lnTo>
                      <a:lnTo>
                        <a:pt x="325" y="286"/>
                      </a:lnTo>
                      <a:lnTo>
                        <a:pt x="329" y="282"/>
                      </a:lnTo>
                      <a:lnTo>
                        <a:pt x="333" y="277"/>
                      </a:lnTo>
                      <a:lnTo>
                        <a:pt x="451" y="324"/>
                      </a:lnTo>
                      <a:lnTo>
                        <a:pt x="451" y="327"/>
                      </a:lnTo>
                      <a:lnTo>
                        <a:pt x="451" y="331"/>
                      </a:lnTo>
                      <a:lnTo>
                        <a:pt x="451" y="338"/>
                      </a:lnTo>
                      <a:lnTo>
                        <a:pt x="452" y="343"/>
                      </a:lnTo>
                      <a:lnTo>
                        <a:pt x="453" y="350"/>
                      </a:lnTo>
                      <a:lnTo>
                        <a:pt x="455" y="355"/>
                      </a:lnTo>
                      <a:lnTo>
                        <a:pt x="457" y="360"/>
                      </a:lnTo>
                      <a:lnTo>
                        <a:pt x="461" y="365"/>
                      </a:lnTo>
                      <a:lnTo>
                        <a:pt x="464" y="370"/>
                      </a:lnTo>
                      <a:lnTo>
                        <a:pt x="468" y="374"/>
                      </a:lnTo>
                      <a:lnTo>
                        <a:pt x="472" y="377"/>
                      </a:lnTo>
                      <a:lnTo>
                        <a:pt x="477" y="381"/>
                      </a:lnTo>
                      <a:lnTo>
                        <a:pt x="482" y="384"/>
                      </a:lnTo>
                      <a:lnTo>
                        <a:pt x="487" y="387"/>
                      </a:lnTo>
                      <a:lnTo>
                        <a:pt x="493" y="388"/>
                      </a:lnTo>
                      <a:lnTo>
                        <a:pt x="498" y="390"/>
                      </a:lnTo>
                      <a:lnTo>
                        <a:pt x="505" y="391"/>
                      </a:lnTo>
                      <a:lnTo>
                        <a:pt x="511" y="391"/>
                      </a:lnTo>
                      <a:lnTo>
                        <a:pt x="517" y="391"/>
                      </a:lnTo>
                      <a:lnTo>
                        <a:pt x="523" y="390"/>
                      </a:lnTo>
                      <a:lnTo>
                        <a:pt x="529" y="388"/>
                      </a:lnTo>
                      <a:lnTo>
                        <a:pt x="535" y="387"/>
                      </a:lnTo>
                      <a:lnTo>
                        <a:pt x="540" y="384"/>
                      </a:lnTo>
                      <a:lnTo>
                        <a:pt x="544" y="381"/>
                      </a:lnTo>
                      <a:lnTo>
                        <a:pt x="550" y="377"/>
                      </a:lnTo>
                      <a:lnTo>
                        <a:pt x="554" y="373"/>
                      </a:lnTo>
                      <a:lnTo>
                        <a:pt x="557" y="370"/>
                      </a:lnTo>
                      <a:lnTo>
                        <a:pt x="560" y="365"/>
                      </a:lnTo>
                      <a:lnTo>
                        <a:pt x="564" y="360"/>
                      </a:lnTo>
                      <a:lnTo>
                        <a:pt x="567" y="355"/>
                      </a:lnTo>
                      <a:lnTo>
                        <a:pt x="568" y="350"/>
                      </a:lnTo>
                      <a:lnTo>
                        <a:pt x="570" y="343"/>
                      </a:lnTo>
                      <a:lnTo>
                        <a:pt x="571" y="338"/>
                      </a:lnTo>
                      <a:lnTo>
                        <a:pt x="571" y="331"/>
                      </a:lnTo>
                      <a:lnTo>
                        <a:pt x="570" y="322"/>
                      </a:lnTo>
                      <a:lnTo>
                        <a:pt x="568" y="312"/>
                      </a:lnTo>
                      <a:lnTo>
                        <a:pt x="565" y="304"/>
                      </a:lnTo>
                      <a:lnTo>
                        <a:pt x="559" y="296"/>
                      </a:lnTo>
                      <a:lnTo>
                        <a:pt x="710" y="115"/>
                      </a:lnTo>
                      <a:lnTo>
                        <a:pt x="717" y="117"/>
                      </a:lnTo>
                      <a:lnTo>
                        <a:pt x="723" y="119"/>
                      </a:lnTo>
                      <a:lnTo>
                        <a:pt x="730" y="120"/>
                      </a:lnTo>
                      <a:lnTo>
                        <a:pt x="736" y="120"/>
                      </a:lnTo>
                      <a:lnTo>
                        <a:pt x="742" y="120"/>
                      </a:lnTo>
                      <a:lnTo>
                        <a:pt x="749" y="119"/>
                      </a:lnTo>
                      <a:lnTo>
                        <a:pt x="754" y="118"/>
                      </a:lnTo>
                      <a:lnTo>
                        <a:pt x="760" y="116"/>
                      </a:lnTo>
                      <a:lnTo>
                        <a:pt x="765" y="114"/>
                      </a:lnTo>
                      <a:lnTo>
                        <a:pt x="770" y="111"/>
                      </a:lnTo>
                      <a:lnTo>
                        <a:pt x="775" y="106"/>
                      </a:lnTo>
                      <a:lnTo>
                        <a:pt x="779" y="103"/>
                      </a:lnTo>
                      <a:lnTo>
                        <a:pt x="783" y="99"/>
                      </a:lnTo>
                      <a:lnTo>
                        <a:pt x="786" y="95"/>
                      </a:lnTo>
                      <a:lnTo>
                        <a:pt x="790" y="89"/>
                      </a:lnTo>
                      <a:lnTo>
                        <a:pt x="792" y="84"/>
                      </a:lnTo>
                      <a:lnTo>
                        <a:pt x="794" y="79"/>
                      </a:lnTo>
                      <a:lnTo>
                        <a:pt x="795" y="73"/>
                      </a:lnTo>
                      <a:lnTo>
                        <a:pt x="796" y="67"/>
                      </a:lnTo>
                      <a:lnTo>
                        <a:pt x="796" y="60"/>
                      </a:lnTo>
                      <a:lnTo>
                        <a:pt x="796" y="54"/>
                      </a:lnTo>
                      <a:lnTo>
                        <a:pt x="795" y="49"/>
                      </a:lnTo>
                      <a:lnTo>
                        <a:pt x="794" y="43"/>
                      </a:lnTo>
                      <a:lnTo>
                        <a:pt x="792" y="37"/>
                      </a:lnTo>
                      <a:lnTo>
                        <a:pt x="790" y="31"/>
                      </a:lnTo>
                      <a:lnTo>
                        <a:pt x="786" y="27"/>
                      </a:lnTo>
                      <a:lnTo>
                        <a:pt x="783" y="23"/>
                      </a:lnTo>
                      <a:lnTo>
                        <a:pt x="779" y="19"/>
                      </a:lnTo>
                      <a:lnTo>
                        <a:pt x="775" y="14"/>
                      </a:lnTo>
                      <a:lnTo>
                        <a:pt x="770" y="11"/>
                      </a:lnTo>
                      <a:lnTo>
                        <a:pt x="765" y="8"/>
                      </a:lnTo>
                      <a:lnTo>
                        <a:pt x="760" y="5"/>
                      </a:lnTo>
                      <a:lnTo>
                        <a:pt x="754" y="4"/>
                      </a:lnTo>
                      <a:lnTo>
                        <a:pt x="749" y="1"/>
                      </a:lnTo>
                      <a:lnTo>
                        <a:pt x="742" y="0"/>
                      </a:lnTo>
                      <a:lnTo>
                        <a:pt x="736" y="0"/>
                      </a:lnTo>
                      <a:lnTo>
                        <a:pt x="731" y="0"/>
                      </a:lnTo>
                      <a:lnTo>
                        <a:pt x="724" y="1"/>
                      </a:lnTo>
                      <a:lnTo>
                        <a:pt x="719" y="4"/>
                      </a:lnTo>
                      <a:lnTo>
                        <a:pt x="712" y="5"/>
                      </a:lnTo>
                      <a:lnTo>
                        <a:pt x="708" y="8"/>
                      </a:lnTo>
                      <a:lnTo>
                        <a:pt x="703" y="11"/>
                      </a:lnTo>
                      <a:lnTo>
                        <a:pt x="698" y="14"/>
                      </a:lnTo>
                      <a:lnTo>
                        <a:pt x="694" y="19"/>
                      </a:lnTo>
                      <a:lnTo>
                        <a:pt x="690" y="22"/>
                      </a:lnTo>
                      <a:lnTo>
                        <a:pt x="687" y="27"/>
                      </a:lnTo>
                      <a:lnTo>
                        <a:pt x="683" y="31"/>
                      </a:lnTo>
                      <a:lnTo>
                        <a:pt x="681" y="37"/>
                      </a:lnTo>
                      <a:lnTo>
                        <a:pt x="679" y="43"/>
                      </a:lnTo>
                      <a:lnTo>
                        <a:pt x="677" y="49"/>
                      </a:lnTo>
                      <a:lnTo>
                        <a:pt x="676" y="54"/>
                      </a:lnTo>
                      <a:lnTo>
                        <a:pt x="676" y="60"/>
                      </a:lnTo>
                      <a:lnTo>
                        <a:pt x="677" y="70"/>
                      </a:lnTo>
                      <a:lnTo>
                        <a:pt x="679" y="80"/>
                      </a:lnTo>
                      <a:lnTo>
                        <a:pt x="682" y="88"/>
                      </a:lnTo>
                      <a:lnTo>
                        <a:pt x="688" y="96"/>
                      </a:lnTo>
                      <a:lnTo>
                        <a:pt x="537" y="277"/>
                      </a:lnTo>
                      <a:lnTo>
                        <a:pt x="530" y="275"/>
                      </a:lnTo>
                      <a:lnTo>
                        <a:pt x="524" y="272"/>
                      </a:lnTo>
                      <a:lnTo>
                        <a:pt x="517" y="271"/>
                      </a:lnTo>
                      <a:lnTo>
                        <a:pt x="511" y="271"/>
                      </a:lnTo>
                      <a:lnTo>
                        <a:pt x="504" y="271"/>
                      </a:lnTo>
                      <a:lnTo>
                        <a:pt x="496" y="272"/>
                      </a:lnTo>
                      <a:lnTo>
                        <a:pt x="490" y="275"/>
                      </a:lnTo>
                      <a:lnTo>
                        <a:pt x="483" y="278"/>
                      </a:lnTo>
                      <a:lnTo>
                        <a:pt x="478" y="281"/>
                      </a:lnTo>
                      <a:lnTo>
                        <a:pt x="472" y="285"/>
                      </a:lnTo>
                      <a:lnTo>
                        <a:pt x="467" y="291"/>
                      </a:lnTo>
                      <a:lnTo>
                        <a:pt x="463" y="296"/>
                      </a:lnTo>
                      <a:lnTo>
                        <a:pt x="345" y="249"/>
                      </a:lnTo>
                      <a:lnTo>
                        <a:pt x="345" y="245"/>
                      </a:lnTo>
                      <a:lnTo>
                        <a:pt x="345" y="241"/>
                      </a:lnTo>
                      <a:lnTo>
                        <a:pt x="345" y="235"/>
                      </a:lnTo>
                      <a:lnTo>
                        <a:pt x="344" y="229"/>
                      </a:lnTo>
                      <a:lnTo>
                        <a:pt x="343" y="223"/>
                      </a:lnTo>
                      <a:lnTo>
                        <a:pt x="341" y="218"/>
                      </a:lnTo>
                      <a:lnTo>
                        <a:pt x="339" y="212"/>
                      </a:lnTo>
                      <a:lnTo>
                        <a:pt x="335" y="207"/>
                      </a:lnTo>
                      <a:lnTo>
                        <a:pt x="332" y="203"/>
                      </a:lnTo>
                      <a:lnTo>
                        <a:pt x="328" y="199"/>
                      </a:lnTo>
                      <a:lnTo>
                        <a:pt x="324" y="194"/>
                      </a:lnTo>
                      <a:lnTo>
                        <a:pt x="319" y="191"/>
                      </a:lnTo>
                      <a:lnTo>
                        <a:pt x="314" y="188"/>
                      </a:lnTo>
                      <a:lnTo>
                        <a:pt x="309" y="186"/>
                      </a:lnTo>
                      <a:lnTo>
                        <a:pt x="303" y="184"/>
                      </a:lnTo>
                      <a:lnTo>
                        <a:pt x="298" y="182"/>
                      </a:lnTo>
                      <a:lnTo>
                        <a:pt x="291" y="181"/>
                      </a:lnTo>
                      <a:lnTo>
                        <a:pt x="285" y="180"/>
                      </a:lnTo>
                      <a:lnTo>
                        <a:pt x="280" y="181"/>
                      </a:lnTo>
                      <a:lnTo>
                        <a:pt x="273" y="182"/>
                      </a:lnTo>
                      <a:lnTo>
                        <a:pt x="268" y="184"/>
                      </a:lnTo>
                      <a:lnTo>
                        <a:pt x="261" y="186"/>
                      </a:lnTo>
                      <a:lnTo>
                        <a:pt x="257" y="188"/>
                      </a:lnTo>
                      <a:lnTo>
                        <a:pt x="252" y="191"/>
                      </a:lnTo>
                      <a:lnTo>
                        <a:pt x="247" y="194"/>
                      </a:lnTo>
                      <a:lnTo>
                        <a:pt x="243" y="199"/>
                      </a:lnTo>
                      <a:lnTo>
                        <a:pt x="239" y="203"/>
                      </a:lnTo>
                      <a:lnTo>
                        <a:pt x="236" y="207"/>
                      </a:lnTo>
                      <a:lnTo>
                        <a:pt x="232" y="212"/>
                      </a:lnTo>
                      <a:lnTo>
                        <a:pt x="230" y="218"/>
                      </a:lnTo>
                      <a:lnTo>
                        <a:pt x="228" y="223"/>
                      </a:lnTo>
                      <a:lnTo>
                        <a:pt x="226" y="229"/>
                      </a:lnTo>
                      <a:lnTo>
                        <a:pt x="225" y="235"/>
                      </a:lnTo>
                      <a:lnTo>
                        <a:pt x="225" y="241"/>
                      </a:lnTo>
                      <a:lnTo>
                        <a:pt x="226" y="248"/>
                      </a:lnTo>
                      <a:lnTo>
                        <a:pt x="227" y="255"/>
                      </a:lnTo>
                      <a:lnTo>
                        <a:pt x="229" y="262"/>
                      </a:lnTo>
                      <a:lnTo>
                        <a:pt x="231" y="267"/>
                      </a:lnTo>
                      <a:lnTo>
                        <a:pt x="94" y="387"/>
                      </a:lnTo>
                      <a:lnTo>
                        <a:pt x="86" y="383"/>
                      </a:lnTo>
                      <a:lnTo>
                        <a:pt x="78" y="380"/>
                      </a:lnTo>
                      <a:lnTo>
                        <a:pt x="69" y="377"/>
                      </a:lnTo>
                      <a:lnTo>
                        <a:pt x="60" y="376"/>
                      </a:lnTo>
                      <a:lnTo>
                        <a:pt x="54" y="376"/>
                      </a:lnTo>
                      <a:lnTo>
                        <a:pt x="47" y="377"/>
                      </a:lnTo>
                      <a:lnTo>
                        <a:pt x="42" y="379"/>
                      </a:lnTo>
                      <a:lnTo>
                        <a:pt x="36" y="381"/>
                      </a:lnTo>
                      <a:lnTo>
                        <a:pt x="31" y="384"/>
                      </a:lnTo>
                      <a:lnTo>
                        <a:pt x="26" y="387"/>
                      </a:lnTo>
                      <a:lnTo>
                        <a:pt x="21" y="390"/>
                      </a:lnTo>
                      <a:lnTo>
                        <a:pt x="17" y="394"/>
                      </a:lnTo>
                      <a:lnTo>
                        <a:pt x="13" y="398"/>
                      </a:lnTo>
                      <a:lnTo>
                        <a:pt x="10" y="403"/>
                      </a:lnTo>
                      <a:lnTo>
                        <a:pt x="6" y="407"/>
                      </a:lnTo>
                      <a:lnTo>
                        <a:pt x="4" y="413"/>
                      </a:lnTo>
                      <a:lnTo>
                        <a:pt x="2" y="418"/>
                      </a:lnTo>
                      <a:lnTo>
                        <a:pt x="1" y="425"/>
                      </a:lnTo>
                      <a:lnTo>
                        <a:pt x="0" y="430"/>
                      </a:lnTo>
                      <a:lnTo>
                        <a:pt x="0" y="436"/>
                      </a:lnTo>
                      <a:lnTo>
                        <a:pt x="0" y="443"/>
                      </a:lnTo>
                      <a:lnTo>
                        <a:pt x="1" y="448"/>
                      </a:lnTo>
                      <a:lnTo>
                        <a:pt x="2" y="455"/>
                      </a:lnTo>
                      <a:lnTo>
                        <a:pt x="4" y="460"/>
                      </a:lnTo>
                      <a:lnTo>
                        <a:pt x="6" y="465"/>
                      </a:lnTo>
                      <a:lnTo>
                        <a:pt x="10" y="470"/>
                      </a:lnTo>
                      <a:lnTo>
                        <a:pt x="13" y="475"/>
                      </a:lnTo>
                      <a:lnTo>
                        <a:pt x="17" y="479"/>
                      </a:lnTo>
                      <a:lnTo>
                        <a:pt x="21" y="482"/>
                      </a:lnTo>
                      <a:lnTo>
                        <a:pt x="26" y="487"/>
                      </a:lnTo>
                      <a:lnTo>
                        <a:pt x="31" y="489"/>
                      </a:lnTo>
                      <a:lnTo>
                        <a:pt x="36" y="492"/>
                      </a:lnTo>
                      <a:lnTo>
                        <a:pt x="42" y="494"/>
                      </a:lnTo>
                      <a:lnTo>
                        <a:pt x="47" y="495"/>
                      </a:lnTo>
                      <a:lnTo>
                        <a:pt x="54" y="496"/>
                      </a:lnTo>
                      <a:lnTo>
                        <a:pt x="60" y="49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14" name="iṣḻiḋè">
              <a:extLst>
                <a:ext uri="{FF2B5EF4-FFF2-40B4-BE49-F238E27FC236}">
                  <a16:creationId xmlns:a16="http://schemas.microsoft.com/office/drawing/2014/main" id="{F8ACF02D-E543-43E6-AB78-7D9EB47EDB16}"/>
                </a:ext>
              </a:extLst>
            </p:cNvPr>
            <p:cNvSpPr txBox="1"/>
            <p:nvPr/>
          </p:nvSpPr>
          <p:spPr>
            <a:xfrm>
              <a:off x="673100" y="3129835"/>
              <a:ext cx="3220718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>
                <a:buSzPct val="25000"/>
              </a:pPr>
              <a:r>
                <a:rPr lang="de-DE" sz="2000" b="1" dirty="0"/>
                <a:t>Text here</a:t>
              </a:r>
            </a:p>
          </p:txBody>
        </p:sp>
        <p:sp>
          <p:nvSpPr>
            <p:cNvPr id="15" name="îŝ1íḓé">
              <a:extLst>
                <a:ext uri="{FF2B5EF4-FFF2-40B4-BE49-F238E27FC236}">
                  <a16:creationId xmlns:a16="http://schemas.microsoft.com/office/drawing/2014/main" id="{5C7019DB-7023-4C2E-A5CF-ED5C29171A8F}"/>
                </a:ext>
              </a:extLst>
            </p:cNvPr>
            <p:cNvSpPr txBox="1"/>
            <p:nvPr/>
          </p:nvSpPr>
          <p:spPr>
            <a:xfrm>
              <a:off x="673100" y="3522347"/>
              <a:ext cx="322071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Copy paste fonts. Choose the only option to retain text.…</a:t>
              </a:r>
              <a:r>
                <a:rPr lang="de-DE" sz="1200" dirty="0"/>
                <a:t>..</a:t>
              </a:r>
            </a:p>
          </p:txBody>
        </p:sp>
        <p:sp>
          <p:nvSpPr>
            <p:cNvPr id="16" name="ïŝľïďe">
              <a:extLst>
                <a:ext uri="{FF2B5EF4-FFF2-40B4-BE49-F238E27FC236}">
                  <a16:creationId xmlns:a16="http://schemas.microsoft.com/office/drawing/2014/main" id="{658C06DF-D6FC-4BD2-BF27-A9C6AA8ECE7A}"/>
                </a:ext>
              </a:extLst>
            </p:cNvPr>
            <p:cNvSpPr/>
            <p:nvPr/>
          </p:nvSpPr>
          <p:spPr>
            <a:xfrm>
              <a:off x="2778448" y="1474850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algn="ctr" defTabSz="914400"/>
              <a:r>
                <a:rPr lang="en-US" sz="1600" b="1" kern="0" dirty="0"/>
                <a:t>01</a:t>
              </a:r>
            </a:p>
          </p:txBody>
        </p:sp>
        <p:sp>
          <p:nvSpPr>
            <p:cNvPr id="17" name="iṩḷïḓé">
              <a:extLst>
                <a:ext uri="{FF2B5EF4-FFF2-40B4-BE49-F238E27FC236}">
                  <a16:creationId xmlns:a16="http://schemas.microsoft.com/office/drawing/2014/main" id="{BD403B49-41ED-41CC-9566-5949944DEEEF}"/>
                </a:ext>
              </a:extLst>
            </p:cNvPr>
            <p:cNvSpPr/>
            <p:nvPr/>
          </p:nvSpPr>
          <p:spPr>
            <a:xfrm>
              <a:off x="2778448" y="5211051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algn="ctr" defTabSz="914400"/>
              <a:r>
                <a:rPr lang="en-US" sz="1600" b="1" kern="0" dirty="0"/>
                <a:t>04</a:t>
              </a:r>
            </a:p>
          </p:txBody>
        </p:sp>
        <p:sp>
          <p:nvSpPr>
            <p:cNvPr id="18" name="îşļíde">
              <a:extLst>
                <a:ext uri="{FF2B5EF4-FFF2-40B4-BE49-F238E27FC236}">
                  <a16:creationId xmlns:a16="http://schemas.microsoft.com/office/drawing/2014/main" id="{4ED7A279-4578-46E2-B55A-E27501CAE281}"/>
                </a:ext>
              </a:extLst>
            </p:cNvPr>
            <p:cNvSpPr/>
            <p:nvPr/>
          </p:nvSpPr>
          <p:spPr>
            <a:xfrm>
              <a:off x="4028502" y="3965649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algn="ctr" defTabSz="914400"/>
              <a:r>
                <a:rPr lang="en-US" sz="1600" b="1" kern="0" dirty="0"/>
                <a:t>03</a:t>
              </a:r>
            </a:p>
          </p:txBody>
        </p:sp>
        <p:sp>
          <p:nvSpPr>
            <p:cNvPr id="19" name="ïṧlíḑê">
              <a:extLst>
                <a:ext uri="{FF2B5EF4-FFF2-40B4-BE49-F238E27FC236}">
                  <a16:creationId xmlns:a16="http://schemas.microsoft.com/office/drawing/2014/main" id="{8C90AB7F-CAEA-4E47-B728-37E9A09FF930}"/>
                </a:ext>
              </a:extLst>
            </p:cNvPr>
            <p:cNvSpPr/>
            <p:nvPr/>
          </p:nvSpPr>
          <p:spPr>
            <a:xfrm>
              <a:off x="4028502" y="2720249"/>
              <a:ext cx="576000" cy="57600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wrap="none" lIns="91440" tIns="45720" rIns="91440" bIns="45720" rtlCol="0" anchor="ctr">
              <a:norm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02</a:t>
              </a:r>
            </a:p>
          </p:txBody>
        </p:sp>
        <p:sp>
          <p:nvSpPr>
            <p:cNvPr id="20" name="íŝliďe">
              <a:extLst>
                <a:ext uri="{FF2B5EF4-FFF2-40B4-BE49-F238E27FC236}">
                  <a16:creationId xmlns:a16="http://schemas.microsoft.com/office/drawing/2014/main" id="{E34DE167-152D-443C-B24C-0AC8F61A2585}"/>
                </a:ext>
              </a:extLst>
            </p:cNvPr>
            <p:cNvSpPr txBox="1"/>
            <p:nvPr/>
          </p:nvSpPr>
          <p:spPr>
            <a:xfrm>
              <a:off x="3893818" y="1474850"/>
              <a:ext cx="762667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.…</a:t>
              </a:r>
              <a:r>
                <a:rPr lang="de-DE" sz="1200" dirty="0"/>
                <a:t>.</a:t>
              </a:r>
            </a:p>
          </p:txBody>
        </p:sp>
        <p:sp>
          <p:nvSpPr>
            <p:cNvPr id="21" name="íśḻídè">
              <a:extLst>
                <a:ext uri="{FF2B5EF4-FFF2-40B4-BE49-F238E27FC236}">
                  <a16:creationId xmlns:a16="http://schemas.microsoft.com/office/drawing/2014/main" id="{62C4283B-AFC3-4A1F-BB3A-664F16F1D0BC}"/>
                </a:ext>
              </a:extLst>
            </p:cNvPr>
            <p:cNvSpPr txBox="1"/>
            <p:nvPr/>
          </p:nvSpPr>
          <p:spPr>
            <a:xfrm>
              <a:off x="4693710" y="2731916"/>
              <a:ext cx="682677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.…</a:t>
              </a:r>
              <a:r>
                <a:rPr lang="de-DE" sz="1200" dirty="0"/>
                <a:t>.</a:t>
              </a:r>
            </a:p>
          </p:txBody>
        </p:sp>
        <p:sp>
          <p:nvSpPr>
            <p:cNvPr id="22" name="îšḻíďè">
              <a:extLst>
                <a:ext uri="{FF2B5EF4-FFF2-40B4-BE49-F238E27FC236}">
                  <a16:creationId xmlns:a16="http://schemas.microsoft.com/office/drawing/2014/main" id="{9492EF89-C45A-4338-BCB8-944C3AD7C26C}"/>
                </a:ext>
              </a:extLst>
            </p:cNvPr>
            <p:cNvSpPr txBox="1"/>
            <p:nvPr/>
          </p:nvSpPr>
          <p:spPr>
            <a:xfrm>
              <a:off x="4693710" y="3965156"/>
              <a:ext cx="6826778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.…</a:t>
              </a:r>
              <a:r>
                <a:rPr lang="de-DE" sz="1200" dirty="0"/>
                <a:t>.</a:t>
              </a:r>
            </a:p>
          </p:txBody>
        </p:sp>
        <p:sp>
          <p:nvSpPr>
            <p:cNvPr id="23" name="îsḻíḍè">
              <a:extLst>
                <a:ext uri="{FF2B5EF4-FFF2-40B4-BE49-F238E27FC236}">
                  <a16:creationId xmlns:a16="http://schemas.microsoft.com/office/drawing/2014/main" id="{A26F2622-828A-46F0-BC1F-57099B710462}"/>
                </a:ext>
              </a:extLst>
            </p:cNvPr>
            <p:cNvSpPr txBox="1"/>
            <p:nvPr/>
          </p:nvSpPr>
          <p:spPr>
            <a:xfrm>
              <a:off x="3893818" y="5211051"/>
              <a:ext cx="762667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200" dirty="0"/>
                <a:t>.…</a:t>
              </a:r>
              <a:r>
                <a:rPr lang="de-DE" sz="1200" dirty="0"/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2977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iŝ1îḓe">
            <a:extLst>
              <a:ext uri="{FF2B5EF4-FFF2-40B4-BE49-F238E27FC236}">
                <a16:creationId xmlns:a16="http://schemas.microsoft.com/office/drawing/2014/main" id="{43A0417B-8BFB-477C-838E-121CAF02E8A9}"/>
              </a:ext>
            </a:extLst>
          </p:cNvPr>
          <p:cNvGrpSpPr/>
          <p:nvPr/>
        </p:nvGrpSpPr>
        <p:grpSpPr>
          <a:xfrm>
            <a:off x="47143" y="945730"/>
            <a:ext cx="12130525" cy="2137152"/>
            <a:chOff x="35399" y="4466341"/>
            <a:chExt cx="9108601" cy="1604749"/>
          </a:xfrm>
        </p:grpSpPr>
        <p:sp>
          <p:nvSpPr>
            <p:cNvPr id="78" name="ïş1iḓé">
              <a:extLst>
                <a:ext uri="{FF2B5EF4-FFF2-40B4-BE49-F238E27FC236}">
                  <a16:creationId xmlns:a16="http://schemas.microsoft.com/office/drawing/2014/main" id="{EF0CA058-9480-4E96-B3D3-FE8EEF53A1CC}"/>
                </a:ext>
              </a:extLst>
            </p:cNvPr>
            <p:cNvSpPr/>
            <p:nvPr/>
          </p:nvSpPr>
          <p:spPr bwMode="auto">
            <a:xfrm>
              <a:off x="772875" y="4678733"/>
              <a:ext cx="4359944" cy="1392352"/>
            </a:xfrm>
            <a:custGeom>
              <a:avLst/>
              <a:gdLst>
                <a:gd name="T0" fmla="*/ 1027 w 1478"/>
                <a:gd name="T1" fmla="*/ 471 h 473"/>
                <a:gd name="T2" fmla="*/ 972 w 1478"/>
                <a:gd name="T3" fmla="*/ 473 h 473"/>
                <a:gd name="T4" fmla="*/ 970 w 1478"/>
                <a:gd name="T5" fmla="*/ 473 h 473"/>
                <a:gd name="T6" fmla="*/ 995 w 1478"/>
                <a:gd name="T7" fmla="*/ 117 h 473"/>
                <a:gd name="T8" fmla="*/ 996 w 1478"/>
                <a:gd name="T9" fmla="*/ 105 h 473"/>
                <a:gd name="T10" fmla="*/ 1006 w 1478"/>
                <a:gd name="T11" fmla="*/ 117 h 473"/>
                <a:gd name="T12" fmla="*/ 1010 w 1478"/>
                <a:gd name="T13" fmla="*/ 471 h 473"/>
                <a:gd name="T14" fmla="*/ 1461 w 1478"/>
                <a:gd name="T15" fmla="*/ 105 h 473"/>
                <a:gd name="T16" fmla="*/ 1465 w 1478"/>
                <a:gd name="T17" fmla="*/ 105 h 473"/>
                <a:gd name="T18" fmla="*/ 1475 w 1478"/>
                <a:gd name="T19" fmla="*/ 155 h 473"/>
                <a:gd name="T20" fmla="*/ 1478 w 1478"/>
                <a:gd name="T21" fmla="*/ 473 h 473"/>
                <a:gd name="T22" fmla="*/ 1465 w 1478"/>
                <a:gd name="T23" fmla="*/ 473 h 473"/>
                <a:gd name="T24" fmla="*/ 1423 w 1478"/>
                <a:gd name="T25" fmla="*/ 473 h 473"/>
                <a:gd name="T26" fmla="*/ 1415 w 1478"/>
                <a:gd name="T27" fmla="*/ 207 h 473"/>
                <a:gd name="T28" fmla="*/ 1423 w 1478"/>
                <a:gd name="T29" fmla="*/ 155 h 473"/>
                <a:gd name="T30" fmla="*/ 1427 w 1478"/>
                <a:gd name="T31" fmla="*/ 105 h 473"/>
                <a:gd name="T32" fmla="*/ 1442 w 1478"/>
                <a:gd name="T33" fmla="*/ 23 h 473"/>
                <a:gd name="T34" fmla="*/ 1461 w 1478"/>
                <a:gd name="T35" fmla="*/ 105 h 473"/>
                <a:gd name="T36" fmla="*/ 1285 w 1478"/>
                <a:gd name="T37" fmla="*/ 190 h 473"/>
                <a:gd name="T38" fmla="*/ 1335 w 1478"/>
                <a:gd name="T39" fmla="*/ 473 h 473"/>
                <a:gd name="T40" fmla="*/ 1285 w 1478"/>
                <a:gd name="T41" fmla="*/ 190 h 473"/>
                <a:gd name="T42" fmla="*/ 1176 w 1478"/>
                <a:gd name="T43" fmla="*/ 243 h 473"/>
                <a:gd name="T44" fmla="*/ 1216 w 1478"/>
                <a:gd name="T45" fmla="*/ 473 h 473"/>
                <a:gd name="T46" fmla="*/ 1176 w 1478"/>
                <a:gd name="T47" fmla="*/ 243 h 473"/>
                <a:gd name="T48" fmla="*/ 1083 w 1478"/>
                <a:gd name="T49" fmla="*/ 167 h 473"/>
                <a:gd name="T50" fmla="*/ 1125 w 1478"/>
                <a:gd name="T51" fmla="*/ 473 h 473"/>
                <a:gd name="T52" fmla="*/ 1083 w 1478"/>
                <a:gd name="T53" fmla="*/ 167 h 473"/>
                <a:gd name="T54" fmla="*/ 849 w 1478"/>
                <a:gd name="T55" fmla="*/ 295 h 473"/>
                <a:gd name="T56" fmla="*/ 884 w 1478"/>
                <a:gd name="T57" fmla="*/ 473 h 473"/>
                <a:gd name="T58" fmla="*/ 849 w 1478"/>
                <a:gd name="T59" fmla="*/ 295 h 473"/>
                <a:gd name="T60" fmla="*/ 631 w 1478"/>
                <a:gd name="T61" fmla="*/ 373 h 473"/>
                <a:gd name="T62" fmla="*/ 643 w 1478"/>
                <a:gd name="T63" fmla="*/ 318 h 473"/>
                <a:gd name="T64" fmla="*/ 667 w 1478"/>
                <a:gd name="T65" fmla="*/ 306 h 473"/>
                <a:gd name="T66" fmla="*/ 702 w 1478"/>
                <a:gd name="T67" fmla="*/ 234 h 473"/>
                <a:gd name="T68" fmla="*/ 723 w 1478"/>
                <a:gd name="T69" fmla="*/ 306 h 473"/>
                <a:gd name="T70" fmla="*/ 702 w 1478"/>
                <a:gd name="T71" fmla="*/ 473 h 473"/>
                <a:gd name="T72" fmla="*/ 687 w 1478"/>
                <a:gd name="T73" fmla="*/ 473 h 473"/>
                <a:gd name="T74" fmla="*/ 643 w 1478"/>
                <a:gd name="T75" fmla="*/ 473 h 473"/>
                <a:gd name="T76" fmla="*/ 631 w 1478"/>
                <a:gd name="T77" fmla="*/ 373 h 473"/>
                <a:gd name="T78" fmla="*/ 581 w 1478"/>
                <a:gd name="T79" fmla="*/ 255 h 473"/>
                <a:gd name="T80" fmla="*/ 623 w 1478"/>
                <a:gd name="T81" fmla="*/ 473 h 473"/>
                <a:gd name="T82" fmla="*/ 581 w 1478"/>
                <a:gd name="T83" fmla="*/ 255 h 473"/>
                <a:gd name="T84" fmla="*/ 532 w 1478"/>
                <a:gd name="T85" fmla="*/ 314 h 473"/>
                <a:gd name="T86" fmla="*/ 557 w 1478"/>
                <a:gd name="T87" fmla="*/ 356 h 473"/>
                <a:gd name="T88" fmla="*/ 532 w 1478"/>
                <a:gd name="T89" fmla="*/ 473 h 473"/>
                <a:gd name="T90" fmla="*/ 455 w 1478"/>
                <a:gd name="T91" fmla="*/ 473 h 473"/>
                <a:gd name="T92" fmla="*/ 455 w 1478"/>
                <a:gd name="T93" fmla="*/ 302 h 473"/>
                <a:gd name="T94" fmla="*/ 488 w 1478"/>
                <a:gd name="T95" fmla="*/ 356 h 473"/>
                <a:gd name="T96" fmla="*/ 532 w 1478"/>
                <a:gd name="T97" fmla="*/ 314 h 473"/>
                <a:gd name="T98" fmla="*/ 360 w 1478"/>
                <a:gd name="T99" fmla="*/ 293 h 473"/>
                <a:gd name="T100" fmla="*/ 426 w 1478"/>
                <a:gd name="T101" fmla="*/ 473 h 473"/>
                <a:gd name="T102" fmla="*/ 360 w 1478"/>
                <a:gd name="T103" fmla="*/ 293 h 473"/>
                <a:gd name="T104" fmla="*/ 287 w 1478"/>
                <a:gd name="T105" fmla="*/ 209 h 473"/>
                <a:gd name="T106" fmla="*/ 350 w 1478"/>
                <a:gd name="T107" fmla="*/ 473 h 473"/>
                <a:gd name="T108" fmla="*/ 287 w 1478"/>
                <a:gd name="T109" fmla="*/ 209 h 473"/>
                <a:gd name="T110" fmla="*/ 195 w 1478"/>
                <a:gd name="T111" fmla="*/ 184 h 473"/>
                <a:gd name="T112" fmla="*/ 241 w 1478"/>
                <a:gd name="T113" fmla="*/ 473 h 473"/>
                <a:gd name="T114" fmla="*/ 195 w 1478"/>
                <a:gd name="T115" fmla="*/ 184 h 473"/>
                <a:gd name="T116" fmla="*/ 31 w 1478"/>
                <a:gd name="T117" fmla="*/ 264 h 473"/>
                <a:gd name="T118" fmla="*/ 92 w 1478"/>
                <a:gd name="T119" fmla="*/ 473 h 473"/>
                <a:gd name="T120" fmla="*/ 31 w 1478"/>
                <a:gd name="T121" fmla="*/ 473 h 473"/>
                <a:gd name="T122" fmla="*/ 0 w 1478"/>
                <a:gd name="T123" fmla="*/ 331 h 473"/>
                <a:gd name="T124" fmla="*/ 31 w 1478"/>
                <a:gd name="T125" fmla="*/ 26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8" h="473">
                  <a:moveTo>
                    <a:pt x="1010" y="471"/>
                  </a:moveTo>
                  <a:lnTo>
                    <a:pt x="1027" y="471"/>
                  </a:lnTo>
                  <a:lnTo>
                    <a:pt x="1027" y="473"/>
                  </a:lnTo>
                  <a:lnTo>
                    <a:pt x="972" y="473"/>
                  </a:lnTo>
                  <a:lnTo>
                    <a:pt x="972" y="473"/>
                  </a:lnTo>
                  <a:lnTo>
                    <a:pt x="970" y="473"/>
                  </a:lnTo>
                  <a:lnTo>
                    <a:pt x="970" y="117"/>
                  </a:lnTo>
                  <a:lnTo>
                    <a:pt x="995" y="117"/>
                  </a:lnTo>
                  <a:lnTo>
                    <a:pt x="996" y="75"/>
                  </a:lnTo>
                  <a:lnTo>
                    <a:pt x="996" y="105"/>
                  </a:lnTo>
                  <a:lnTo>
                    <a:pt x="1002" y="105"/>
                  </a:lnTo>
                  <a:lnTo>
                    <a:pt x="1006" y="117"/>
                  </a:lnTo>
                  <a:lnTo>
                    <a:pt x="1010" y="117"/>
                  </a:lnTo>
                  <a:lnTo>
                    <a:pt x="1010" y="471"/>
                  </a:lnTo>
                  <a:lnTo>
                    <a:pt x="1010" y="471"/>
                  </a:lnTo>
                  <a:close/>
                  <a:moveTo>
                    <a:pt x="1461" y="105"/>
                  </a:moveTo>
                  <a:lnTo>
                    <a:pt x="1463" y="0"/>
                  </a:lnTo>
                  <a:lnTo>
                    <a:pt x="1465" y="105"/>
                  </a:lnTo>
                  <a:lnTo>
                    <a:pt x="1475" y="105"/>
                  </a:lnTo>
                  <a:lnTo>
                    <a:pt x="1475" y="155"/>
                  </a:lnTo>
                  <a:lnTo>
                    <a:pt x="1478" y="155"/>
                  </a:lnTo>
                  <a:lnTo>
                    <a:pt x="1478" y="473"/>
                  </a:lnTo>
                  <a:lnTo>
                    <a:pt x="1475" y="473"/>
                  </a:lnTo>
                  <a:lnTo>
                    <a:pt x="1465" y="473"/>
                  </a:lnTo>
                  <a:lnTo>
                    <a:pt x="1427" y="473"/>
                  </a:lnTo>
                  <a:lnTo>
                    <a:pt x="1423" y="473"/>
                  </a:lnTo>
                  <a:lnTo>
                    <a:pt x="1415" y="473"/>
                  </a:lnTo>
                  <a:lnTo>
                    <a:pt x="1415" y="207"/>
                  </a:lnTo>
                  <a:lnTo>
                    <a:pt x="1423" y="207"/>
                  </a:lnTo>
                  <a:lnTo>
                    <a:pt x="1423" y="155"/>
                  </a:lnTo>
                  <a:lnTo>
                    <a:pt x="1427" y="155"/>
                  </a:lnTo>
                  <a:lnTo>
                    <a:pt x="1427" y="105"/>
                  </a:lnTo>
                  <a:lnTo>
                    <a:pt x="1440" y="105"/>
                  </a:lnTo>
                  <a:lnTo>
                    <a:pt x="1442" y="23"/>
                  </a:lnTo>
                  <a:lnTo>
                    <a:pt x="1444" y="105"/>
                  </a:lnTo>
                  <a:lnTo>
                    <a:pt x="1461" y="105"/>
                  </a:lnTo>
                  <a:lnTo>
                    <a:pt x="1461" y="105"/>
                  </a:lnTo>
                  <a:close/>
                  <a:moveTo>
                    <a:pt x="1285" y="190"/>
                  </a:moveTo>
                  <a:lnTo>
                    <a:pt x="1335" y="190"/>
                  </a:lnTo>
                  <a:lnTo>
                    <a:pt x="1335" y="473"/>
                  </a:lnTo>
                  <a:lnTo>
                    <a:pt x="1285" y="473"/>
                  </a:lnTo>
                  <a:lnTo>
                    <a:pt x="1285" y="190"/>
                  </a:lnTo>
                  <a:lnTo>
                    <a:pt x="1285" y="190"/>
                  </a:lnTo>
                  <a:close/>
                  <a:moveTo>
                    <a:pt x="1176" y="243"/>
                  </a:moveTo>
                  <a:lnTo>
                    <a:pt x="1216" y="243"/>
                  </a:lnTo>
                  <a:lnTo>
                    <a:pt x="1216" y="473"/>
                  </a:lnTo>
                  <a:lnTo>
                    <a:pt x="1176" y="473"/>
                  </a:lnTo>
                  <a:lnTo>
                    <a:pt x="1176" y="243"/>
                  </a:lnTo>
                  <a:lnTo>
                    <a:pt x="1176" y="243"/>
                  </a:lnTo>
                  <a:close/>
                  <a:moveTo>
                    <a:pt x="1083" y="167"/>
                  </a:moveTo>
                  <a:lnTo>
                    <a:pt x="1125" y="167"/>
                  </a:lnTo>
                  <a:lnTo>
                    <a:pt x="1125" y="473"/>
                  </a:lnTo>
                  <a:lnTo>
                    <a:pt x="1083" y="473"/>
                  </a:lnTo>
                  <a:lnTo>
                    <a:pt x="1083" y="167"/>
                  </a:lnTo>
                  <a:lnTo>
                    <a:pt x="1083" y="167"/>
                  </a:lnTo>
                  <a:close/>
                  <a:moveTo>
                    <a:pt x="849" y="295"/>
                  </a:moveTo>
                  <a:lnTo>
                    <a:pt x="884" y="295"/>
                  </a:lnTo>
                  <a:lnTo>
                    <a:pt x="884" y="473"/>
                  </a:lnTo>
                  <a:lnTo>
                    <a:pt x="849" y="473"/>
                  </a:lnTo>
                  <a:lnTo>
                    <a:pt x="849" y="295"/>
                  </a:lnTo>
                  <a:lnTo>
                    <a:pt x="849" y="295"/>
                  </a:lnTo>
                  <a:close/>
                  <a:moveTo>
                    <a:pt x="631" y="373"/>
                  </a:moveTo>
                  <a:lnTo>
                    <a:pt x="643" y="373"/>
                  </a:lnTo>
                  <a:lnTo>
                    <a:pt x="643" y="318"/>
                  </a:lnTo>
                  <a:lnTo>
                    <a:pt x="667" y="318"/>
                  </a:lnTo>
                  <a:lnTo>
                    <a:pt x="667" y="306"/>
                  </a:lnTo>
                  <a:lnTo>
                    <a:pt x="667" y="234"/>
                  </a:lnTo>
                  <a:lnTo>
                    <a:pt x="702" y="234"/>
                  </a:lnTo>
                  <a:lnTo>
                    <a:pt x="702" y="306"/>
                  </a:lnTo>
                  <a:lnTo>
                    <a:pt x="723" y="306"/>
                  </a:lnTo>
                  <a:lnTo>
                    <a:pt x="723" y="473"/>
                  </a:lnTo>
                  <a:lnTo>
                    <a:pt x="702" y="473"/>
                  </a:lnTo>
                  <a:lnTo>
                    <a:pt x="698" y="473"/>
                  </a:lnTo>
                  <a:lnTo>
                    <a:pt x="687" y="473"/>
                  </a:lnTo>
                  <a:lnTo>
                    <a:pt x="667" y="473"/>
                  </a:lnTo>
                  <a:lnTo>
                    <a:pt x="643" y="473"/>
                  </a:lnTo>
                  <a:lnTo>
                    <a:pt x="631" y="473"/>
                  </a:lnTo>
                  <a:lnTo>
                    <a:pt x="631" y="373"/>
                  </a:lnTo>
                  <a:lnTo>
                    <a:pt x="631" y="373"/>
                  </a:lnTo>
                  <a:close/>
                  <a:moveTo>
                    <a:pt x="581" y="255"/>
                  </a:moveTo>
                  <a:lnTo>
                    <a:pt x="623" y="255"/>
                  </a:lnTo>
                  <a:lnTo>
                    <a:pt x="623" y="473"/>
                  </a:lnTo>
                  <a:lnTo>
                    <a:pt x="581" y="473"/>
                  </a:lnTo>
                  <a:lnTo>
                    <a:pt x="581" y="255"/>
                  </a:lnTo>
                  <a:lnTo>
                    <a:pt x="581" y="255"/>
                  </a:lnTo>
                  <a:close/>
                  <a:moveTo>
                    <a:pt x="532" y="314"/>
                  </a:moveTo>
                  <a:lnTo>
                    <a:pt x="557" y="314"/>
                  </a:lnTo>
                  <a:lnTo>
                    <a:pt x="557" y="356"/>
                  </a:lnTo>
                  <a:lnTo>
                    <a:pt x="557" y="473"/>
                  </a:lnTo>
                  <a:lnTo>
                    <a:pt x="532" y="473"/>
                  </a:lnTo>
                  <a:lnTo>
                    <a:pt x="488" y="473"/>
                  </a:lnTo>
                  <a:lnTo>
                    <a:pt x="455" y="473"/>
                  </a:lnTo>
                  <a:lnTo>
                    <a:pt x="455" y="356"/>
                  </a:lnTo>
                  <a:lnTo>
                    <a:pt x="455" y="302"/>
                  </a:lnTo>
                  <a:lnTo>
                    <a:pt x="488" y="302"/>
                  </a:lnTo>
                  <a:lnTo>
                    <a:pt x="488" y="356"/>
                  </a:lnTo>
                  <a:lnTo>
                    <a:pt x="532" y="356"/>
                  </a:lnTo>
                  <a:lnTo>
                    <a:pt x="532" y="314"/>
                  </a:lnTo>
                  <a:lnTo>
                    <a:pt x="532" y="314"/>
                  </a:lnTo>
                  <a:close/>
                  <a:moveTo>
                    <a:pt x="360" y="293"/>
                  </a:moveTo>
                  <a:lnTo>
                    <a:pt x="426" y="293"/>
                  </a:lnTo>
                  <a:lnTo>
                    <a:pt x="426" y="473"/>
                  </a:lnTo>
                  <a:lnTo>
                    <a:pt x="360" y="473"/>
                  </a:lnTo>
                  <a:lnTo>
                    <a:pt x="360" y="293"/>
                  </a:lnTo>
                  <a:lnTo>
                    <a:pt x="360" y="293"/>
                  </a:lnTo>
                  <a:close/>
                  <a:moveTo>
                    <a:pt x="287" y="209"/>
                  </a:moveTo>
                  <a:lnTo>
                    <a:pt x="350" y="209"/>
                  </a:lnTo>
                  <a:lnTo>
                    <a:pt x="350" y="473"/>
                  </a:lnTo>
                  <a:lnTo>
                    <a:pt x="287" y="473"/>
                  </a:lnTo>
                  <a:lnTo>
                    <a:pt x="287" y="209"/>
                  </a:lnTo>
                  <a:lnTo>
                    <a:pt x="287" y="209"/>
                  </a:lnTo>
                  <a:close/>
                  <a:moveTo>
                    <a:pt x="195" y="184"/>
                  </a:moveTo>
                  <a:lnTo>
                    <a:pt x="241" y="184"/>
                  </a:lnTo>
                  <a:lnTo>
                    <a:pt x="241" y="473"/>
                  </a:lnTo>
                  <a:lnTo>
                    <a:pt x="195" y="473"/>
                  </a:lnTo>
                  <a:lnTo>
                    <a:pt x="195" y="184"/>
                  </a:lnTo>
                  <a:lnTo>
                    <a:pt x="195" y="184"/>
                  </a:lnTo>
                  <a:close/>
                  <a:moveTo>
                    <a:pt x="31" y="264"/>
                  </a:moveTo>
                  <a:lnTo>
                    <a:pt x="92" y="264"/>
                  </a:lnTo>
                  <a:lnTo>
                    <a:pt x="92" y="473"/>
                  </a:lnTo>
                  <a:lnTo>
                    <a:pt x="61" y="473"/>
                  </a:lnTo>
                  <a:lnTo>
                    <a:pt x="31" y="473"/>
                  </a:lnTo>
                  <a:lnTo>
                    <a:pt x="0" y="473"/>
                  </a:lnTo>
                  <a:lnTo>
                    <a:pt x="0" y="331"/>
                  </a:lnTo>
                  <a:lnTo>
                    <a:pt x="31" y="331"/>
                  </a:lnTo>
                  <a:lnTo>
                    <a:pt x="31" y="264"/>
                  </a:lnTo>
                  <a:lnTo>
                    <a:pt x="31" y="264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79" name="ïsḻíďè">
              <a:extLst>
                <a:ext uri="{FF2B5EF4-FFF2-40B4-BE49-F238E27FC236}">
                  <a16:creationId xmlns:a16="http://schemas.microsoft.com/office/drawing/2014/main" id="{22282D99-9C18-48A0-9499-476200DDBFCE}"/>
                </a:ext>
              </a:extLst>
            </p:cNvPr>
            <p:cNvSpPr/>
            <p:nvPr/>
          </p:nvSpPr>
          <p:spPr bwMode="auto">
            <a:xfrm>
              <a:off x="117996" y="5321000"/>
              <a:ext cx="5994189" cy="750090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0" name="ïŝļîḓé">
              <a:extLst>
                <a:ext uri="{FF2B5EF4-FFF2-40B4-BE49-F238E27FC236}">
                  <a16:creationId xmlns:a16="http://schemas.microsoft.com/office/drawing/2014/main" id="{088393C9-D291-44A4-A7DA-D65892D83C00}"/>
                </a:ext>
              </a:extLst>
            </p:cNvPr>
            <p:cNvSpPr/>
            <p:nvPr/>
          </p:nvSpPr>
          <p:spPr bwMode="auto">
            <a:xfrm>
              <a:off x="430686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1" name="íSļïḋê">
              <a:extLst>
                <a:ext uri="{FF2B5EF4-FFF2-40B4-BE49-F238E27FC236}">
                  <a16:creationId xmlns:a16="http://schemas.microsoft.com/office/drawing/2014/main" id="{58F93A61-6759-4FEF-A3F3-0B81661536F0}"/>
                </a:ext>
              </a:extLst>
            </p:cNvPr>
            <p:cNvSpPr/>
            <p:nvPr/>
          </p:nvSpPr>
          <p:spPr bwMode="auto">
            <a:xfrm>
              <a:off x="908568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2" name="ísḷïdê">
              <a:extLst>
                <a:ext uri="{FF2B5EF4-FFF2-40B4-BE49-F238E27FC236}">
                  <a16:creationId xmlns:a16="http://schemas.microsoft.com/office/drawing/2014/main" id="{908917E0-C917-4EEF-8642-C81A6892115A}"/>
                </a:ext>
              </a:extLst>
            </p:cNvPr>
            <p:cNvSpPr/>
            <p:nvPr/>
          </p:nvSpPr>
          <p:spPr bwMode="auto">
            <a:xfrm>
              <a:off x="2041328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3" name="íṡľîďe">
              <a:extLst>
                <a:ext uri="{FF2B5EF4-FFF2-40B4-BE49-F238E27FC236}">
                  <a16:creationId xmlns:a16="http://schemas.microsoft.com/office/drawing/2014/main" id="{CDF8003B-FBB8-4919-B18E-9658724EBB25}"/>
                </a:ext>
              </a:extLst>
            </p:cNvPr>
            <p:cNvSpPr/>
            <p:nvPr/>
          </p:nvSpPr>
          <p:spPr bwMode="auto">
            <a:xfrm>
              <a:off x="2118028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4" name="i$ľíḑè">
              <a:extLst>
                <a:ext uri="{FF2B5EF4-FFF2-40B4-BE49-F238E27FC236}">
                  <a16:creationId xmlns:a16="http://schemas.microsoft.com/office/drawing/2014/main" id="{9922A063-0C4B-4705-BDC6-185810E08F54}"/>
                </a:ext>
              </a:extLst>
            </p:cNvPr>
            <p:cNvSpPr/>
            <p:nvPr/>
          </p:nvSpPr>
          <p:spPr bwMode="auto">
            <a:xfrm>
              <a:off x="2348117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5" name="ïṡḷïďè">
              <a:extLst>
                <a:ext uri="{FF2B5EF4-FFF2-40B4-BE49-F238E27FC236}">
                  <a16:creationId xmlns:a16="http://schemas.microsoft.com/office/drawing/2014/main" id="{95CF838D-AA1A-42D8-87BB-1E8C2C018CF5}"/>
                </a:ext>
              </a:extLst>
            </p:cNvPr>
            <p:cNvSpPr/>
            <p:nvPr/>
          </p:nvSpPr>
          <p:spPr bwMode="auto">
            <a:xfrm>
              <a:off x="2660808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6" name="íṥḻíḍé">
              <a:extLst>
                <a:ext uri="{FF2B5EF4-FFF2-40B4-BE49-F238E27FC236}">
                  <a16:creationId xmlns:a16="http://schemas.microsoft.com/office/drawing/2014/main" id="{681CA9BE-BB28-44DA-869C-067E198E2CBC}"/>
                </a:ext>
              </a:extLst>
            </p:cNvPr>
            <p:cNvSpPr/>
            <p:nvPr/>
          </p:nvSpPr>
          <p:spPr bwMode="auto">
            <a:xfrm>
              <a:off x="2796502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7" name="íSḷíḓé">
              <a:extLst>
                <a:ext uri="{FF2B5EF4-FFF2-40B4-BE49-F238E27FC236}">
                  <a16:creationId xmlns:a16="http://schemas.microsoft.com/office/drawing/2014/main" id="{6A421ACE-4B79-4E10-80B5-852107A748D0}"/>
                </a:ext>
              </a:extLst>
            </p:cNvPr>
            <p:cNvSpPr/>
            <p:nvPr/>
          </p:nvSpPr>
          <p:spPr bwMode="auto">
            <a:xfrm>
              <a:off x="3421880" y="5610901"/>
              <a:ext cx="147494" cy="442486"/>
            </a:xfrm>
            <a:custGeom>
              <a:avLst/>
              <a:gdLst>
                <a:gd name="T0" fmla="*/ 9 w 50"/>
                <a:gd name="T1" fmla="*/ 23 h 149"/>
                <a:gd name="T2" fmla="*/ 13 w 50"/>
                <a:gd name="T3" fmla="*/ 23 h 149"/>
                <a:gd name="T4" fmla="*/ 23 w 50"/>
                <a:gd name="T5" fmla="*/ 0 h 149"/>
                <a:gd name="T6" fmla="*/ 29 w 50"/>
                <a:gd name="T7" fmla="*/ 0 h 149"/>
                <a:gd name="T8" fmla="*/ 36 w 50"/>
                <a:gd name="T9" fmla="*/ 23 h 149"/>
                <a:gd name="T10" fmla="*/ 42 w 50"/>
                <a:gd name="T11" fmla="*/ 23 h 149"/>
                <a:gd name="T12" fmla="*/ 42 w 50"/>
                <a:gd name="T13" fmla="*/ 36 h 149"/>
                <a:gd name="T14" fmla="*/ 44 w 50"/>
                <a:gd name="T15" fmla="*/ 42 h 149"/>
                <a:gd name="T16" fmla="*/ 50 w 50"/>
                <a:gd name="T17" fmla="*/ 42 h 149"/>
                <a:gd name="T18" fmla="*/ 50 w 50"/>
                <a:gd name="T19" fmla="*/ 149 h 149"/>
                <a:gd name="T20" fmla="*/ 0 w 50"/>
                <a:gd name="T21" fmla="*/ 149 h 149"/>
                <a:gd name="T22" fmla="*/ 0 w 50"/>
                <a:gd name="T23" fmla="*/ 42 h 149"/>
                <a:gd name="T24" fmla="*/ 8 w 50"/>
                <a:gd name="T25" fmla="*/ 42 h 149"/>
                <a:gd name="T26" fmla="*/ 9 w 50"/>
                <a:gd name="T27" fmla="*/ 36 h 149"/>
                <a:gd name="T28" fmla="*/ 9 w 50"/>
                <a:gd name="T29" fmla="*/ 23 h 149"/>
                <a:gd name="T30" fmla="*/ 9 w 50"/>
                <a:gd name="T31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49">
                  <a:moveTo>
                    <a:pt x="9" y="23"/>
                  </a:moveTo>
                  <a:lnTo>
                    <a:pt x="13" y="23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2" y="36"/>
                  </a:lnTo>
                  <a:lnTo>
                    <a:pt x="44" y="42"/>
                  </a:lnTo>
                  <a:lnTo>
                    <a:pt x="50" y="42"/>
                  </a:lnTo>
                  <a:lnTo>
                    <a:pt x="50" y="149"/>
                  </a:lnTo>
                  <a:lnTo>
                    <a:pt x="0" y="149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9" y="36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8" name="ï$1idé">
              <a:extLst>
                <a:ext uri="{FF2B5EF4-FFF2-40B4-BE49-F238E27FC236}">
                  <a16:creationId xmlns:a16="http://schemas.microsoft.com/office/drawing/2014/main" id="{1E17624C-0943-48A7-AF4A-F8325BA314DF}"/>
                </a:ext>
              </a:extLst>
            </p:cNvPr>
            <p:cNvSpPr/>
            <p:nvPr/>
          </p:nvSpPr>
          <p:spPr bwMode="auto">
            <a:xfrm>
              <a:off x="3646071" y="5964889"/>
              <a:ext cx="82597" cy="88498"/>
            </a:xfrm>
            <a:custGeom>
              <a:avLst/>
              <a:gdLst>
                <a:gd name="T0" fmla="*/ 0 w 28"/>
                <a:gd name="T1" fmla="*/ 0 h 31"/>
                <a:gd name="T2" fmla="*/ 28 w 28"/>
                <a:gd name="T3" fmla="*/ 0 h 31"/>
                <a:gd name="T4" fmla="*/ 28 w 28"/>
                <a:gd name="T5" fmla="*/ 31 h 31"/>
                <a:gd name="T6" fmla="*/ 0 w 28"/>
                <a:gd name="T7" fmla="*/ 31 h 31"/>
                <a:gd name="T8" fmla="*/ 0 w 28"/>
                <a:gd name="T9" fmla="*/ 0 h 31"/>
                <a:gd name="T10" fmla="*/ 0 w 2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28" y="0"/>
                  </a:lnTo>
                  <a:lnTo>
                    <a:pt x="2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89" name="iṡḷíḑé">
              <a:extLst>
                <a:ext uri="{FF2B5EF4-FFF2-40B4-BE49-F238E27FC236}">
                  <a16:creationId xmlns:a16="http://schemas.microsoft.com/office/drawing/2014/main" id="{1A2147BA-9B0C-4223-985E-B1748177AA52}"/>
                </a:ext>
              </a:extLst>
            </p:cNvPr>
            <p:cNvSpPr/>
            <p:nvPr/>
          </p:nvSpPr>
          <p:spPr bwMode="auto">
            <a:xfrm>
              <a:off x="3675572" y="5021475"/>
              <a:ext cx="778773" cy="1031913"/>
            </a:xfrm>
            <a:custGeom>
              <a:avLst/>
              <a:gdLst>
                <a:gd name="T0" fmla="*/ 124 w 266"/>
                <a:gd name="T1" fmla="*/ 0 h 476"/>
                <a:gd name="T2" fmla="*/ 203 w 266"/>
                <a:gd name="T3" fmla="*/ 0 h 476"/>
                <a:gd name="T4" fmla="*/ 203 w 266"/>
                <a:gd name="T5" fmla="*/ 5 h 476"/>
                <a:gd name="T6" fmla="*/ 209 w 266"/>
                <a:gd name="T7" fmla="*/ 5 h 476"/>
                <a:gd name="T8" fmla="*/ 209 w 266"/>
                <a:gd name="T9" fmla="*/ 9 h 476"/>
                <a:gd name="T10" fmla="*/ 214 w 266"/>
                <a:gd name="T11" fmla="*/ 9 h 476"/>
                <a:gd name="T12" fmla="*/ 214 w 266"/>
                <a:gd name="T13" fmla="*/ 17 h 476"/>
                <a:gd name="T14" fmla="*/ 222 w 266"/>
                <a:gd name="T15" fmla="*/ 17 h 476"/>
                <a:gd name="T16" fmla="*/ 222 w 266"/>
                <a:gd name="T17" fmla="*/ 430 h 476"/>
                <a:gd name="T18" fmla="*/ 230 w 266"/>
                <a:gd name="T19" fmla="*/ 430 h 476"/>
                <a:gd name="T20" fmla="*/ 230 w 266"/>
                <a:gd name="T21" fmla="*/ 453 h 476"/>
                <a:gd name="T22" fmla="*/ 230 w 266"/>
                <a:gd name="T23" fmla="*/ 462 h 476"/>
                <a:gd name="T24" fmla="*/ 266 w 266"/>
                <a:gd name="T25" fmla="*/ 462 h 476"/>
                <a:gd name="T26" fmla="*/ 266 w 266"/>
                <a:gd name="T27" fmla="*/ 476 h 476"/>
                <a:gd name="T28" fmla="*/ 230 w 266"/>
                <a:gd name="T29" fmla="*/ 476 h 476"/>
                <a:gd name="T30" fmla="*/ 222 w 266"/>
                <a:gd name="T31" fmla="*/ 476 h 476"/>
                <a:gd name="T32" fmla="*/ 199 w 266"/>
                <a:gd name="T33" fmla="*/ 476 h 476"/>
                <a:gd name="T34" fmla="*/ 124 w 266"/>
                <a:gd name="T35" fmla="*/ 476 h 476"/>
                <a:gd name="T36" fmla="*/ 48 w 266"/>
                <a:gd name="T37" fmla="*/ 476 h 476"/>
                <a:gd name="T38" fmla="*/ 0 w 266"/>
                <a:gd name="T39" fmla="*/ 476 h 476"/>
                <a:gd name="T40" fmla="*/ 0 w 266"/>
                <a:gd name="T41" fmla="*/ 453 h 476"/>
                <a:gd name="T42" fmla="*/ 0 w 266"/>
                <a:gd name="T43" fmla="*/ 411 h 476"/>
                <a:gd name="T44" fmla="*/ 10 w 266"/>
                <a:gd name="T45" fmla="*/ 411 h 476"/>
                <a:gd name="T46" fmla="*/ 10 w 266"/>
                <a:gd name="T47" fmla="*/ 166 h 476"/>
                <a:gd name="T48" fmla="*/ 17 w 266"/>
                <a:gd name="T49" fmla="*/ 166 h 476"/>
                <a:gd name="T50" fmla="*/ 17 w 266"/>
                <a:gd name="T51" fmla="*/ 155 h 476"/>
                <a:gd name="T52" fmla="*/ 23 w 266"/>
                <a:gd name="T53" fmla="*/ 155 h 476"/>
                <a:gd name="T54" fmla="*/ 23 w 266"/>
                <a:gd name="T55" fmla="*/ 143 h 476"/>
                <a:gd name="T56" fmla="*/ 25 w 266"/>
                <a:gd name="T57" fmla="*/ 143 h 476"/>
                <a:gd name="T58" fmla="*/ 44 w 266"/>
                <a:gd name="T59" fmla="*/ 111 h 476"/>
                <a:gd name="T60" fmla="*/ 46 w 266"/>
                <a:gd name="T61" fmla="*/ 111 h 476"/>
                <a:gd name="T62" fmla="*/ 48 w 266"/>
                <a:gd name="T63" fmla="*/ 111 h 476"/>
                <a:gd name="T64" fmla="*/ 48 w 266"/>
                <a:gd name="T65" fmla="*/ 76 h 476"/>
                <a:gd name="T66" fmla="*/ 50 w 266"/>
                <a:gd name="T67" fmla="*/ 76 h 476"/>
                <a:gd name="T68" fmla="*/ 50 w 266"/>
                <a:gd name="T69" fmla="*/ 113 h 476"/>
                <a:gd name="T70" fmla="*/ 69 w 266"/>
                <a:gd name="T71" fmla="*/ 143 h 476"/>
                <a:gd name="T72" fmla="*/ 71 w 266"/>
                <a:gd name="T73" fmla="*/ 143 h 476"/>
                <a:gd name="T74" fmla="*/ 71 w 266"/>
                <a:gd name="T75" fmla="*/ 155 h 476"/>
                <a:gd name="T76" fmla="*/ 75 w 266"/>
                <a:gd name="T77" fmla="*/ 155 h 476"/>
                <a:gd name="T78" fmla="*/ 75 w 266"/>
                <a:gd name="T79" fmla="*/ 166 h 476"/>
                <a:gd name="T80" fmla="*/ 82 w 266"/>
                <a:gd name="T81" fmla="*/ 166 h 476"/>
                <a:gd name="T82" fmla="*/ 82 w 266"/>
                <a:gd name="T83" fmla="*/ 453 h 476"/>
                <a:gd name="T84" fmla="*/ 124 w 266"/>
                <a:gd name="T85" fmla="*/ 453 h 476"/>
                <a:gd name="T86" fmla="*/ 124 w 266"/>
                <a:gd name="T87" fmla="*/ 23 h 476"/>
                <a:gd name="T88" fmla="*/ 124 w 266"/>
                <a:gd name="T89" fmla="*/ 17 h 476"/>
                <a:gd name="T90" fmla="*/ 124 w 266"/>
                <a:gd name="T91" fmla="*/ 17 h 476"/>
                <a:gd name="T92" fmla="*/ 124 w 266"/>
                <a:gd name="T93" fmla="*/ 11 h 476"/>
                <a:gd name="T94" fmla="*/ 124 w 266"/>
                <a:gd name="T95" fmla="*/ 9 h 476"/>
                <a:gd name="T96" fmla="*/ 124 w 266"/>
                <a:gd name="T97" fmla="*/ 5 h 476"/>
                <a:gd name="T98" fmla="*/ 124 w 266"/>
                <a:gd name="T99" fmla="*/ 0 h 476"/>
                <a:gd name="T100" fmla="*/ 124 w 266"/>
                <a:gd name="T101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476">
                  <a:moveTo>
                    <a:pt x="124" y="0"/>
                  </a:moveTo>
                  <a:lnTo>
                    <a:pt x="203" y="0"/>
                  </a:lnTo>
                  <a:lnTo>
                    <a:pt x="203" y="5"/>
                  </a:lnTo>
                  <a:lnTo>
                    <a:pt x="209" y="5"/>
                  </a:lnTo>
                  <a:lnTo>
                    <a:pt x="209" y="9"/>
                  </a:lnTo>
                  <a:lnTo>
                    <a:pt x="214" y="9"/>
                  </a:lnTo>
                  <a:lnTo>
                    <a:pt x="214" y="17"/>
                  </a:lnTo>
                  <a:lnTo>
                    <a:pt x="222" y="17"/>
                  </a:lnTo>
                  <a:lnTo>
                    <a:pt x="222" y="430"/>
                  </a:lnTo>
                  <a:lnTo>
                    <a:pt x="230" y="430"/>
                  </a:lnTo>
                  <a:lnTo>
                    <a:pt x="230" y="453"/>
                  </a:lnTo>
                  <a:lnTo>
                    <a:pt x="230" y="462"/>
                  </a:lnTo>
                  <a:lnTo>
                    <a:pt x="266" y="462"/>
                  </a:lnTo>
                  <a:lnTo>
                    <a:pt x="266" y="476"/>
                  </a:lnTo>
                  <a:lnTo>
                    <a:pt x="230" y="476"/>
                  </a:lnTo>
                  <a:lnTo>
                    <a:pt x="222" y="476"/>
                  </a:lnTo>
                  <a:lnTo>
                    <a:pt x="199" y="476"/>
                  </a:lnTo>
                  <a:lnTo>
                    <a:pt x="124" y="476"/>
                  </a:lnTo>
                  <a:lnTo>
                    <a:pt x="48" y="476"/>
                  </a:lnTo>
                  <a:lnTo>
                    <a:pt x="0" y="476"/>
                  </a:lnTo>
                  <a:lnTo>
                    <a:pt x="0" y="453"/>
                  </a:lnTo>
                  <a:lnTo>
                    <a:pt x="0" y="411"/>
                  </a:lnTo>
                  <a:lnTo>
                    <a:pt x="10" y="411"/>
                  </a:lnTo>
                  <a:lnTo>
                    <a:pt x="10" y="166"/>
                  </a:lnTo>
                  <a:lnTo>
                    <a:pt x="17" y="166"/>
                  </a:lnTo>
                  <a:lnTo>
                    <a:pt x="17" y="155"/>
                  </a:lnTo>
                  <a:lnTo>
                    <a:pt x="23" y="15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11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55"/>
                  </a:lnTo>
                  <a:lnTo>
                    <a:pt x="75" y="155"/>
                  </a:lnTo>
                  <a:lnTo>
                    <a:pt x="75" y="166"/>
                  </a:lnTo>
                  <a:lnTo>
                    <a:pt x="82" y="166"/>
                  </a:lnTo>
                  <a:lnTo>
                    <a:pt x="82" y="453"/>
                  </a:lnTo>
                  <a:lnTo>
                    <a:pt x="124" y="453"/>
                  </a:lnTo>
                  <a:lnTo>
                    <a:pt x="124" y="2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0" name="işľíďê">
              <a:extLst>
                <a:ext uri="{FF2B5EF4-FFF2-40B4-BE49-F238E27FC236}">
                  <a16:creationId xmlns:a16="http://schemas.microsoft.com/office/drawing/2014/main" id="{168C43A5-3211-4A70-8BF4-BC8D0950DE0B}"/>
                </a:ext>
              </a:extLst>
            </p:cNvPr>
            <p:cNvSpPr/>
            <p:nvPr/>
          </p:nvSpPr>
          <p:spPr bwMode="auto">
            <a:xfrm>
              <a:off x="4383548" y="5622700"/>
              <a:ext cx="306789" cy="430687"/>
            </a:xfrm>
            <a:custGeom>
              <a:avLst/>
              <a:gdLst>
                <a:gd name="T0" fmla="*/ 48 w 103"/>
                <a:gd name="T1" fmla="*/ 112 h 145"/>
                <a:gd name="T2" fmla="*/ 103 w 103"/>
                <a:gd name="T3" fmla="*/ 112 h 145"/>
                <a:gd name="T4" fmla="*/ 103 w 103"/>
                <a:gd name="T5" fmla="*/ 145 h 145"/>
                <a:gd name="T6" fmla="*/ 48 w 103"/>
                <a:gd name="T7" fmla="*/ 145 h 145"/>
                <a:gd name="T8" fmla="*/ 23 w 103"/>
                <a:gd name="T9" fmla="*/ 145 h 145"/>
                <a:gd name="T10" fmla="*/ 0 w 103"/>
                <a:gd name="T11" fmla="*/ 145 h 145"/>
                <a:gd name="T12" fmla="*/ 0 w 103"/>
                <a:gd name="T13" fmla="*/ 11 h 145"/>
                <a:gd name="T14" fmla="*/ 6 w 103"/>
                <a:gd name="T15" fmla="*/ 11 h 145"/>
                <a:gd name="T16" fmla="*/ 6 w 103"/>
                <a:gd name="T17" fmla="*/ 0 h 145"/>
                <a:gd name="T18" fmla="*/ 34 w 103"/>
                <a:gd name="T19" fmla="*/ 0 h 145"/>
                <a:gd name="T20" fmla="*/ 34 w 103"/>
                <a:gd name="T21" fmla="*/ 11 h 145"/>
                <a:gd name="T22" fmla="*/ 48 w 103"/>
                <a:gd name="T23" fmla="*/ 11 h 145"/>
                <a:gd name="T24" fmla="*/ 48 w 103"/>
                <a:gd name="T25" fmla="*/ 112 h 145"/>
                <a:gd name="T26" fmla="*/ 48 w 103"/>
                <a:gd name="T27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145">
                  <a:moveTo>
                    <a:pt x="48" y="112"/>
                  </a:moveTo>
                  <a:lnTo>
                    <a:pt x="103" y="112"/>
                  </a:lnTo>
                  <a:lnTo>
                    <a:pt x="103" y="145"/>
                  </a:lnTo>
                  <a:lnTo>
                    <a:pt x="48" y="145"/>
                  </a:lnTo>
                  <a:lnTo>
                    <a:pt x="23" y="145"/>
                  </a:lnTo>
                  <a:lnTo>
                    <a:pt x="0" y="145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48" y="11"/>
                  </a:lnTo>
                  <a:lnTo>
                    <a:pt x="48" y="112"/>
                  </a:lnTo>
                  <a:lnTo>
                    <a:pt x="48" y="112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1" name="ïṣlíḋé">
              <a:extLst>
                <a:ext uri="{FF2B5EF4-FFF2-40B4-BE49-F238E27FC236}">
                  <a16:creationId xmlns:a16="http://schemas.microsoft.com/office/drawing/2014/main" id="{3191677A-AA28-48D9-B23F-4953F926ADBE}"/>
                </a:ext>
              </a:extLst>
            </p:cNvPr>
            <p:cNvSpPr/>
            <p:nvPr/>
          </p:nvSpPr>
          <p:spPr bwMode="auto">
            <a:xfrm>
              <a:off x="4908627" y="5634500"/>
              <a:ext cx="365788" cy="418888"/>
            </a:xfrm>
            <a:custGeom>
              <a:avLst/>
              <a:gdLst>
                <a:gd name="T0" fmla="*/ 0 w 124"/>
                <a:gd name="T1" fmla="*/ 0 h 142"/>
                <a:gd name="T2" fmla="*/ 124 w 124"/>
                <a:gd name="T3" fmla="*/ 0 h 142"/>
                <a:gd name="T4" fmla="*/ 124 w 124"/>
                <a:gd name="T5" fmla="*/ 142 h 142"/>
                <a:gd name="T6" fmla="*/ 0 w 124"/>
                <a:gd name="T7" fmla="*/ 142 h 142"/>
                <a:gd name="T8" fmla="*/ 0 w 124"/>
                <a:gd name="T9" fmla="*/ 0 h 142"/>
                <a:gd name="T10" fmla="*/ 0 w 124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2">
                  <a:moveTo>
                    <a:pt x="0" y="0"/>
                  </a:moveTo>
                  <a:lnTo>
                    <a:pt x="124" y="0"/>
                  </a:lnTo>
                  <a:lnTo>
                    <a:pt x="124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2" name="ïš1ïḋê">
              <a:extLst>
                <a:ext uri="{FF2B5EF4-FFF2-40B4-BE49-F238E27FC236}">
                  <a16:creationId xmlns:a16="http://schemas.microsoft.com/office/drawing/2014/main" id="{8320DDDC-CBB1-4CCC-B065-C189F95E56F3}"/>
                </a:ext>
              </a:extLst>
            </p:cNvPr>
            <p:cNvSpPr/>
            <p:nvPr/>
          </p:nvSpPr>
          <p:spPr bwMode="auto">
            <a:xfrm>
              <a:off x="5303915" y="5410309"/>
              <a:ext cx="873170" cy="643080"/>
            </a:xfrm>
            <a:custGeom>
              <a:avLst/>
              <a:gdLst>
                <a:gd name="T0" fmla="*/ 84 w 296"/>
                <a:gd name="T1" fmla="*/ 193 h 218"/>
                <a:gd name="T2" fmla="*/ 94 w 296"/>
                <a:gd name="T3" fmla="*/ 193 h 218"/>
                <a:gd name="T4" fmla="*/ 94 w 296"/>
                <a:gd name="T5" fmla="*/ 199 h 218"/>
                <a:gd name="T6" fmla="*/ 113 w 296"/>
                <a:gd name="T7" fmla="*/ 199 h 218"/>
                <a:gd name="T8" fmla="*/ 113 w 296"/>
                <a:gd name="T9" fmla="*/ 206 h 218"/>
                <a:gd name="T10" fmla="*/ 160 w 296"/>
                <a:gd name="T11" fmla="*/ 206 h 218"/>
                <a:gd name="T12" fmla="*/ 160 w 296"/>
                <a:gd name="T13" fmla="*/ 9 h 218"/>
                <a:gd name="T14" fmla="*/ 178 w 296"/>
                <a:gd name="T15" fmla="*/ 9 h 218"/>
                <a:gd name="T16" fmla="*/ 178 w 296"/>
                <a:gd name="T17" fmla="*/ 0 h 218"/>
                <a:gd name="T18" fmla="*/ 218 w 296"/>
                <a:gd name="T19" fmla="*/ 0 h 218"/>
                <a:gd name="T20" fmla="*/ 218 w 296"/>
                <a:gd name="T21" fmla="*/ 9 h 218"/>
                <a:gd name="T22" fmla="*/ 231 w 296"/>
                <a:gd name="T23" fmla="*/ 9 h 218"/>
                <a:gd name="T24" fmla="*/ 231 w 296"/>
                <a:gd name="T25" fmla="*/ 206 h 218"/>
                <a:gd name="T26" fmla="*/ 245 w 296"/>
                <a:gd name="T27" fmla="*/ 206 h 218"/>
                <a:gd name="T28" fmla="*/ 245 w 296"/>
                <a:gd name="T29" fmla="*/ 214 h 218"/>
                <a:gd name="T30" fmla="*/ 296 w 296"/>
                <a:gd name="T31" fmla="*/ 214 h 218"/>
                <a:gd name="T32" fmla="*/ 296 w 296"/>
                <a:gd name="T33" fmla="*/ 218 h 218"/>
                <a:gd name="T34" fmla="*/ 245 w 296"/>
                <a:gd name="T35" fmla="*/ 218 h 218"/>
                <a:gd name="T36" fmla="*/ 231 w 296"/>
                <a:gd name="T37" fmla="*/ 218 h 218"/>
                <a:gd name="T38" fmla="*/ 160 w 296"/>
                <a:gd name="T39" fmla="*/ 218 h 218"/>
                <a:gd name="T40" fmla="*/ 130 w 296"/>
                <a:gd name="T41" fmla="*/ 218 h 218"/>
                <a:gd name="T42" fmla="*/ 84 w 296"/>
                <a:gd name="T43" fmla="*/ 218 h 218"/>
                <a:gd name="T44" fmla="*/ 80 w 296"/>
                <a:gd name="T45" fmla="*/ 218 h 218"/>
                <a:gd name="T46" fmla="*/ 50 w 296"/>
                <a:gd name="T47" fmla="*/ 218 h 218"/>
                <a:gd name="T48" fmla="*/ 0 w 296"/>
                <a:gd name="T49" fmla="*/ 218 h 218"/>
                <a:gd name="T50" fmla="*/ 0 w 296"/>
                <a:gd name="T51" fmla="*/ 4 h 218"/>
                <a:gd name="T52" fmla="*/ 50 w 296"/>
                <a:gd name="T53" fmla="*/ 4 h 218"/>
                <a:gd name="T54" fmla="*/ 50 w 296"/>
                <a:gd name="T55" fmla="*/ 25 h 218"/>
                <a:gd name="T56" fmla="*/ 84 w 296"/>
                <a:gd name="T57" fmla="*/ 25 h 218"/>
                <a:gd name="T58" fmla="*/ 84 w 296"/>
                <a:gd name="T59" fmla="*/ 193 h 218"/>
                <a:gd name="T60" fmla="*/ 84 w 296"/>
                <a:gd name="T61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6" h="218">
                  <a:moveTo>
                    <a:pt x="84" y="193"/>
                  </a:moveTo>
                  <a:lnTo>
                    <a:pt x="94" y="193"/>
                  </a:lnTo>
                  <a:lnTo>
                    <a:pt x="94" y="199"/>
                  </a:lnTo>
                  <a:lnTo>
                    <a:pt x="113" y="199"/>
                  </a:lnTo>
                  <a:lnTo>
                    <a:pt x="113" y="206"/>
                  </a:lnTo>
                  <a:lnTo>
                    <a:pt x="160" y="206"/>
                  </a:lnTo>
                  <a:lnTo>
                    <a:pt x="160" y="9"/>
                  </a:lnTo>
                  <a:lnTo>
                    <a:pt x="178" y="9"/>
                  </a:lnTo>
                  <a:lnTo>
                    <a:pt x="178" y="0"/>
                  </a:lnTo>
                  <a:lnTo>
                    <a:pt x="218" y="0"/>
                  </a:lnTo>
                  <a:lnTo>
                    <a:pt x="218" y="9"/>
                  </a:lnTo>
                  <a:lnTo>
                    <a:pt x="231" y="9"/>
                  </a:lnTo>
                  <a:lnTo>
                    <a:pt x="231" y="206"/>
                  </a:lnTo>
                  <a:lnTo>
                    <a:pt x="245" y="206"/>
                  </a:lnTo>
                  <a:lnTo>
                    <a:pt x="245" y="214"/>
                  </a:lnTo>
                  <a:lnTo>
                    <a:pt x="296" y="214"/>
                  </a:lnTo>
                  <a:lnTo>
                    <a:pt x="296" y="218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160" y="218"/>
                  </a:lnTo>
                  <a:lnTo>
                    <a:pt x="130" y="218"/>
                  </a:lnTo>
                  <a:lnTo>
                    <a:pt x="84" y="218"/>
                  </a:lnTo>
                  <a:lnTo>
                    <a:pt x="80" y="218"/>
                  </a:lnTo>
                  <a:lnTo>
                    <a:pt x="50" y="218"/>
                  </a:lnTo>
                  <a:lnTo>
                    <a:pt x="0" y="218"/>
                  </a:lnTo>
                  <a:lnTo>
                    <a:pt x="0" y="4"/>
                  </a:lnTo>
                  <a:lnTo>
                    <a:pt x="50" y="4"/>
                  </a:lnTo>
                  <a:lnTo>
                    <a:pt x="50" y="25"/>
                  </a:lnTo>
                  <a:lnTo>
                    <a:pt x="84" y="25"/>
                  </a:lnTo>
                  <a:lnTo>
                    <a:pt x="84" y="193"/>
                  </a:lnTo>
                  <a:lnTo>
                    <a:pt x="84" y="19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3" name="îşľïḑè">
              <a:extLst>
                <a:ext uri="{FF2B5EF4-FFF2-40B4-BE49-F238E27FC236}">
                  <a16:creationId xmlns:a16="http://schemas.microsoft.com/office/drawing/2014/main" id="{25052F6D-2B8A-4F35-9600-5947CC8953FB}"/>
                </a:ext>
              </a:extLst>
            </p:cNvPr>
            <p:cNvSpPr/>
            <p:nvPr/>
          </p:nvSpPr>
          <p:spPr bwMode="auto">
            <a:xfrm>
              <a:off x="35399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4" name="iṧlíḓé">
              <a:extLst>
                <a:ext uri="{FF2B5EF4-FFF2-40B4-BE49-F238E27FC236}">
                  <a16:creationId xmlns:a16="http://schemas.microsoft.com/office/drawing/2014/main" id="{3AF28C68-F863-40F0-954C-4254AE7D9B95}"/>
                </a:ext>
              </a:extLst>
            </p:cNvPr>
            <p:cNvSpPr/>
            <p:nvPr/>
          </p:nvSpPr>
          <p:spPr bwMode="auto">
            <a:xfrm>
              <a:off x="2796502" y="4887064"/>
              <a:ext cx="595877" cy="1166323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5" name="îsḻíḋè">
              <a:extLst>
                <a:ext uri="{FF2B5EF4-FFF2-40B4-BE49-F238E27FC236}">
                  <a16:creationId xmlns:a16="http://schemas.microsoft.com/office/drawing/2014/main" id="{51137A8F-ABC8-4440-9AFB-1FC4687959F1}"/>
                </a:ext>
              </a:extLst>
            </p:cNvPr>
            <p:cNvSpPr/>
            <p:nvPr/>
          </p:nvSpPr>
          <p:spPr bwMode="auto">
            <a:xfrm>
              <a:off x="4708034" y="6006189"/>
              <a:ext cx="631276" cy="47199"/>
            </a:xfrm>
            <a:custGeom>
              <a:avLst/>
              <a:gdLst>
                <a:gd name="T0" fmla="*/ 0 w 212"/>
                <a:gd name="T1" fmla="*/ 0 h 15"/>
                <a:gd name="T2" fmla="*/ 212 w 212"/>
                <a:gd name="T3" fmla="*/ 0 h 15"/>
                <a:gd name="T4" fmla="*/ 212 w 212"/>
                <a:gd name="T5" fmla="*/ 15 h 15"/>
                <a:gd name="T6" fmla="*/ 0 w 212"/>
                <a:gd name="T7" fmla="*/ 15 h 15"/>
                <a:gd name="T8" fmla="*/ 0 w 212"/>
                <a:gd name="T9" fmla="*/ 0 h 15"/>
                <a:gd name="T10" fmla="*/ 0 w 21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5">
                  <a:moveTo>
                    <a:pt x="0" y="0"/>
                  </a:moveTo>
                  <a:lnTo>
                    <a:pt x="212" y="0"/>
                  </a:lnTo>
                  <a:lnTo>
                    <a:pt x="212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6" name="iS1ïḋe">
              <a:extLst>
                <a:ext uri="{FF2B5EF4-FFF2-40B4-BE49-F238E27FC236}">
                  <a16:creationId xmlns:a16="http://schemas.microsoft.com/office/drawing/2014/main" id="{ACAF9169-9E69-43AB-8649-CC1D1B045587}"/>
                </a:ext>
              </a:extLst>
            </p:cNvPr>
            <p:cNvSpPr/>
            <p:nvPr/>
          </p:nvSpPr>
          <p:spPr bwMode="auto">
            <a:xfrm>
              <a:off x="6503219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7" name="íṥḻîde">
              <a:extLst>
                <a:ext uri="{FF2B5EF4-FFF2-40B4-BE49-F238E27FC236}">
                  <a16:creationId xmlns:a16="http://schemas.microsoft.com/office/drawing/2014/main" id="{6CA68B0C-A4C2-4A67-9E75-8E2D0D245AF2}"/>
                </a:ext>
              </a:extLst>
            </p:cNvPr>
            <p:cNvSpPr/>
            <p:nvPr/>
          </p:nvSpPr>
          <p:spPr bwMode="auto">
            <a:xfrm>
              <a:off x="6981101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8" name="ís1ïḓé">
              <a:extLst>
                <a:ext uri="{FF2B5EF4-FFF2-40B4-BE49-F238E27FC236}">
                  <a16:creationId xmlns:a16="http://schemas.microsoft.com/office/drawing/2014/main" id="{DFFF36CF-FA57-43EB-B90E-44D28B4FAB25}"/>
                </a:ext>
              </a:extLst>
            </p:cNvPr>
            <p:cNvSpPr/>
            <p:nvPr/>
          </p:nvSpPr>
          <p:spPr bwMode="auto">
            <a:xfrm>
              <a:off x="8113861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99" name="iṩľïde">
              <a:extLst>
                <a:ext uri="{FF2B5EF4-FFF2-40B4-BE49-F238E27FC236}">
                  <a16:creationId xmlns:a16="http://schemas.microsoft.com/office/drawing/2014/main" id="{84F4B06B-33D8-4394-851A-26B5305E6F86}"/>
                </a:ext>
              </a:extLst>
            </p:cNvPr>
            <p:cNvSpPr/>
            <p:nvPr/>
          </p:nvSpPr>
          <p:spPr bwMode="auto">
            <a:xfrm>
              <a:off x="8190561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0" name="îŝḷîḑe">
              <a:extLst>
                <a:ext uri="{FF2B5EF4-FFF2-40B4-BE49-F238E27FC236}">
                  <a16:creationId xmlns:a16="http://schemas.microsoft.com/office/drawing/2014/main" id="{0080A7CA-8470-4A42-A100-04059262D66C}"/>
                </a:ext>
              </a:extLst>
            </p:cNvPr>
            <p:cNvSpPr/>
            <p:nvPr/>
          </p:nvSpPr>
          <p:spPr bwMode="auto">
            <a:xfrm>
              <a:off x="8420651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1" name="îŝļîḑe">
              <a:extLst>
                <a:ext uri="{FF2B5EF4-FFF2-40B4-BE49-F238E27FC236}">
                  <a16:creationId xmlns:a16="http://schemas.microsoft.com/office/drawing/2014/main" id="{BA3DA673-0E9F-4F0E-BB1A-4D9FCFDDD290}"/>
                </a:ext>
              </a:extLst>
            </p:cNvPr>
            <p:cNvSpPr/>
            <p:nvPr/>
          </p:nvSpPr>
          <p:spPr bwMode="auto">
            <a:xfrm>
              <a:off x="8733341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2" name="îṧļíḍê">
              <a:extLst>
                <a:ext uri="{FF2B5EF4-FFF2-40B4-BE49-F238E27FC236}">
                  <a16:creationId xmlns:a16="http://schemas.microsoft.com/office/drawing/2014/main" id="{6567D649-77F0-4F58-A80C-74A8DD6CBBC3}"/>
                </a:ext>
              </a:extLst>
            </p:cNvPr>
            <p:cNvSpPr/>
            <p:nvPr/>
          </p:nvSpPr>
          <p:spPr bwMode="auto">
            <a:xfrm>
              <a:off x="8869035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3" name="îṣḷiḓé">
              <a:extLst>
                <a:ext uri="{FF2B5EF4-FFF2-40B4-BE49-F238E27FC236}">
                  <a16:creationId xmlns:a16="http://schemas.microsoft.com/office/drawing/2014/main" id="{70B6C313-85E9-465E-B970-55B568E480A9}"/>
                </a:ext>
              </a:extLst>
            </p:cNvPr>
            <p:cNvSpPr/>
            <p:nvPr/>
          </p:nvSpPr>
          <p:spPr bwMode="auto">
            <a:xfrm>
              <a:off x="6107932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4" name="íŝlídê">
              <a:extLst>
                <a:ext uri="{FF2B5EF4-FFF2-40B4-BE49-F238E27FC236}">
                  <a16:creationId xmlns:a16="http://schemas.microsoft.com/office/drawing/2014/main" id="{19CA359D-AB7B-48C9-9A70-58918DD72DEC}"/>
                </a:ext>
              </a:extLst>
            </p:cNvPr>
            <p:cNvSpPr/>
            <p:nvPr/>
          </p:nvSpPr>
          <p:spPr bwMode="auto">
            <a:xfrm>
              <a:off x="8454305" y="4466341"/>
              <a:ext cx="595877" cy="1587046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05" name="ïśḻïḋé">
              <a:extLst>
                <a:ext uri="{FF2B5EF4-FFF2-40B4-BE49-F238E27FC236}">
                  <a16:creationId xmlns:a16="http://schemas.microsoft.com/office/drawing/2014/main" id="{FE69FCC3-F8C5-4938-BE81-F25F9C97B37F}"/>
                </a:ext>
              </a:extLst>
            </p:cNvPr>
            <p:cNvSpPr/>
            <p:nvPr/>
          </p:nvSpPr>
          <p:spPr bwMode="auto">
            <a:xfrm>
              <a:off x="3813013" y="5050424"/>
              <a:ext cx="5330987" cy="1020666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2" name="íṧḻîďè">
            <a:extLst>
              <a:ext uri="{FF2B5EF4-FFF2-40B4-BE49-F238E27FC236}">
                <a16:creationId xmlns:a16="http://schemas.microsoft.com/office/drawing/2014/main" id="{E00FB30C-FAD8-4332-BBEF-7F12426959CB}"/>
              </a:ext>
            </a:extLst>
          </p:cNvPr>
          <p:cNvSpPr/>
          <p:nvPr/>
        </p:nvSpPr>
        <p:spPr>
          <a:xfrm>
            <a:off x="0" y="3082876"/>
            <a:ext cx="12192000" cy="37751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1" name="îṧļïḋe">
            <a:extLst>
              <a:ext uri="{FF2B5EF4-FFF2-40B4-BE49-F238E27FC236}">
                <a16:creationId xmlns:a16="http://schemas.microsoft.com/office/drawing/2014/main" id="{414269D1-4BD9-4857-821E-87E30D60E058}"/>
              </a:ext>
            </a:extLst>
          </p:cNvPr>
          <p:cNvSpPr/>
          <p:nvPr/>
        </p:nvSpPr>
        <p:spPr>
          <a:xfrm>
            <a:off x="673726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kern="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9" name="ïš1íḋè">
            <a:extLst>
              <a:ext uri="{FF2B5EF4-FFF2-40B4-BE49-F238E27FC236}">
                <a16:creationId xmlns:a16="http://schemas.microsoft.com/office/drawing/2014/main" id="{B6A1E7E1-B9F6-4E92-A737-421C18BDACB7}"/>
              </a:ext>
            </a:extLst>
          </p:cNvPr>
          <p:cNvSpPr/>
          <p:nvPr/>
        </p:nvSpPr>
        <p:spPr>
          <a:xfrm>
            <a:off x="669926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单击</a:t>
            </a: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此处</a:t>
            </a: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íṥḻidê">
            <a:extLst>
              <a:ext uri="{FF2B5EF4-FFF2-40B4-BE49-F238E27FC236}">
                <a16:creationId xmlns:a16="http://schemas.microsoft.com/office/drawing/2014/main" id="{0B4053AD-5131-436E-A2F3-76FC1141A78E}"/>
              </a:ext>
            </a:extLst>
          </p:cNvPr>
          <p:cNvSpPr txBox="1"/>
          <p:nvPr/>
        </p:nvSpPr>
        <p:spPr>
          <a:xfrm>
            <a:off x="669925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4" name="ïśļïḓè">
            <a:extLst>
              <a:ext uri="{FF2B5EF4-FFF2-40B4-BE49-F238E27FC236}">
                <a16:creationId xmlns:a16="http://schemas.microsoft.com/office/drawing/2014/main" id="{65A160D3-2B08-4C35-8C9C-F0D551C34988}"/>
              </a:ext>
            </a:extLst>
          </p:cNvPr>
          <p:cNvSpPr/>
          <p:nvPr/>
        </p:nvSpPr>
        <p:spPr>
          <a:xfrm>
            <a:off x="2533516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kern="0">
                <a:solidFill>
                  <a:schemeClr val="accent1"/>
                </a:solidFill>
                <a:cs typeface="+mn-ea"/>
                <a:sym typeface="+mn-lt"/>
              </a:rPr>
              <a:t>02</a:t>
            </a:r>
            <a:endParaRPr lang="en-US" altLang="zh-CN" sz="1400" b="1" kern="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8" name="iŝļiďé">
            <a:extLst>
              <a:ext uri="{FF2B5EF4-FFF2-40B4-BE49-F238E27FC236}">
                <a16:creationId xmlns:a16="http://schemas.microsoft.com/office/drawing/2014/main" id="{11DCB4C1-C92C-41DB-8A35-918A7533B9C7}"/>
              </a:ext>
            </a:extLst>
          </p:cNvPr>
          <p:cNvSpPr/>
          <p:nvPr/>
        </p:nvSpPr>
        <p:spPr>
          <a:xfrm>
            <a:off x="2530476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单击此处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9" name="işḷíḍê">
            <a:extLst>
              <a:ext uri="{FF2B5EF4-FFF2-40B4-BE49-F238E27FC236}">
                <a16:creationId xmlns:a16="http://schemas.microsoft.com/office/drawing/2014/main" id="{F8B2FECA-373A-4F87-B803-BD18D24F7132}"/>
              </a:ext>
            </a:extLst>
          </p:cNvPr>
          <p:cNvSpPr txBox="1"/>
          <p:nvPr/>
        </p:nvSpPr>
        <p:spPr>
          <a:xfrm>
            <a:off x="2530475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7" name="iṥļiḋè">
            <a:extLst>
              <a:ext uri="{FF2B5EF4-FFF2-40B4-BE49-F238E27FC236}">
                <a16:creationId xmlns:a16="http://schemas.microsoft.com/office/drawing/2014/main" id="{317876FA-4A93-4F9B-864E-EB68AA9487C7}"/>
              </a:ext>
            </a:extLst>
          </p:cNvPr>
          <p:cNvSpPr/>
          <p:nvPr/>
        </p:nvSpPr>
        <p:spPr>
          <a:xfrm>
            <a:off x="4393306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kern="0">
                <a:solidFill>
                  <a:schemeClr val="accent1"/>
                </a:solidFill>
                <a:cs typeface="+mn-ea"/>
                <a:sym typeface="+mn-lt"/>
              </a:rPr>
              <a:t>03</a:t>
            </a:r>
            <a:endParaRPr lang="en-US" altLang="zh-CN" sz="1400" b="1" kern="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4" name="îṩḻíḓé">
            <a:extLst>
              <a:ext uri="{FF2B5EF4-FFF2-40B4-BE49-F238E27FC236}">
                <a16:creationId xmlns:a16="http://schemas.microsoft.com/office/drawing/2014/main" id="{A66A64E9-3907-4467-AAEE-9B478516DB01}"/>
              </a:ext>
            </a:extLst>
          </p:cNvPr>
          <p:cNvSpPr/>
          <p:nvPr/>
        </p:nvSpPr>
        <p:spPr>
          <a:xfrm>
            <a:off x="4391026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单击</a:t>
            </a: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此处</a:t>
            </a: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5" name="î$ļiḓé">
            <a:extLst>
              <a:ext uri="{FF2B5EF4-FFF2-40B4-BE49-F238E27FC236}">
                <a16:creationId xmlns:a16="http://schemas.microsoft.com/office/drawing/2014/main" id="{0718D670-EF7E-4FE7-A7A0-25911779D2A6}"/>
              </a:ext>
            </a:extLst>
          </p:cNvPr>
          <p:cNvSpPr txBox="1"/>
          <p:nvPr/>
        </p:nvSpPr>
        <p:spPr>
          <a:xfrm>
            <a:off x="4391025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0" name="ïṧ1iḓè">
            <a:extLst>
              <a:ext uri="{FF2B5EF4-FFF2-40B4-BE49-F238E27FC236}">
                <a16:creationId xmlns:a16="http://schemas.microsoft.com/office/drawing/2014/main" id="{030CDA79-4764-4F03-8E33-6F746C41256C}"/>
              </a:ext>
            </a:extLst>
          </p:cNvPr>
          <p:cNvSpPr/>
          <p:nvPr/>
        </p:nvSpPr>
        <p:spPr>
          <a:xfrm>
            <a:off x="6253096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kern="0">
                <a:solidFill>
                  <a:schemeClr val="accent1"/>
                </a:solidFill>
                <a:cs typeface="+mn-ea"/>
                <a:sym typeface="+mn-lt"/>
              </a:rPr>
              <a:t>04</a:t>
            </a:r>
            <a:endParaRPr lang="en-US" altLang="zh-CN" sz="1400" b="1" kern="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50" name="íşḻîḍè">
            <a:extLst>
              <a:ext uri="{FF2B5EF4-FFF2-40B4-BE49-F238E27FC236}">
                <a16:creationId xmlns:a16="http://schemas.microsoft.com/office/drawing/2014/main" id="{D43EFB48-83A2-46B9-A21D-3CC522D9D3B1}"/>
              </a:ext>
            </a:extLst>
          </p:cNvPr>
          <p:cNvSpPr/>
          <p:nvPr/>
        </p:nvSpPr>
        <p:spPr>
          <a:xfrm>
            <a:off x="6251576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单击</a:t>
            </a: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此处</a:t>
            </a: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1" name="ïṧ1ïdé">
            <a:extLst>
              <a:ext uri="{FF2B5EF4-FFF2-40B4-BE49-F238E27FC236}">
                <a16:creationId xmlns:a16="http://schemas.microsoft.com/office/drawing/2014/main" id="{D4EE32B1-C5D1-4996-967E-45DEF2F391A7}"/>
              </a:ext>
            </a:extLst>
          </p:cNvPr>
          <p:cNvSpPr txBox="1"/>
          <p:nvPr/>
        </p:nvSpPr>
        <p:spPr>
          <a:xfrm>
            <a:off x="6251575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3" name="íŝḻíḋe">
            <a:extLst>
              <a:ext uri="{FF2B5EF4-FFF2-40B4-BE49-F238E27FC236}">
                <a16:creationId xmlns:a16="http://schemas.microsoft.com/office/drawing/2014/main" id="{5B391CEF-01D5-4D7A-9389-78E31D3C0357}"/>
              </a:ext>
            </a:extLst>
          </p:cNvPr>
          <p:cNvSpPr/>
          <p:nvPr/>
        </p:nvSpPr>
        <p:spPr>
          <a:xfrm>
            <a:off x="8112886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kern="0">
                <a:solidFill>
                  <a:schemeClr val="accent1"/>
                </a:solidFill>
                <a:cs typeface="+mn-ea"/>
                <a:sym typeface="+mn-lt"/>
              </a:rPr>
              <a:t>05</a:t>
            </a:r>
            <a:endParaRPr lang="en-US" altLang="zh-CN" sz="1400" b="1" kern="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56" name="íṧ1ïḍê">
            <a:extLst>
              <a:ext uri="{FF2B5EF4-FFF2-40B4-BE49-F238E27FC236}">
                <a16:creationId xmlns:a16="http://schemas.microsoft.com/office/drawing/2014/main" id="{45C2E77D-A3C6-431D-BF5D-E09A4949B7D0}"/>
              </a:ext>
            </a:extLst>
          </p:cNvPr>
          <p:cNvSpPr/>
          <p:nvPr/>
        </p:nvSpPr>
        <p:spPr>
          <a:xfrm>
            <a:off x="8112126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单击</a:t>
            </a: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此处</a:t>
            </a: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7" name="ïSlïḓé">
            <a:extLst>
              <a:ext uri="{FF2B5EF4-FFF2-40B4-BE49-F238E27FC236}">
                <a16:creationId xmlns:a16="http://schemas.microsoft.com/office/drawing/2014/main" id="{DD4DBCE0-F5F4-44DA-8163-3C485D5E4701}"/>
              </a:ext>
            </a:extLst>
          </p:cNvPr>
          <p:cNvSpPr txBox="1"/>
          <p:nvPr/>
        </p:nvSpPr>
        <p:spPr>
          <a:xfrm>
            <a:off x="8112125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6" name="ïšḷiḓè">
            <a:extLst>
              <a:ext uri="{FF2B5EF4-FFF2-40B4-BE49-F238E27FC236}">
                <a16:creationId xmlns:a16="http://schemas.microsoft.com/office/drawing/2014/main" id="{7EA631C2-B056-432A-8CC9-7D74F29C6BE5}"/>
              </a:ext>
            </a:extLst>
          </p:cNvPr>
          <p:cNvSpPr/>
          <p:nvPr/>
        </p:nvSpPr>
        <p:spPr>
          <a:xfrm>
            <a:off x="9972674" y="2828925"/>
            <a:ext cx="448358" cy="448358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1" indent="-169061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kern="0">
                <a:solidFill>
                  <a:schemeClr val="accent1"/>
                </a:solidFill>
                <a:cs typeface="+mn-ea"/>
                <a:sym typeface="+mn-lt"/>
              </a:rPr>
              <a:t>06</a:t>
            </a:r>
            <a:endParaRPr lang="en-US" altLang="zh-CN" sz="1400" b="1" kern="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62" name="ís1îḑê">
            <a:extLst>
              <a:ext uri="{FF2B5EF4-FFF2-40B4-BE49-F238E27FC236}">
                <a16:creationId xmlns:a16="http://schemas.microsoft.com/office/drawing/2014/main" id="{9BCBD249-742E-4BEA-AEE3-346697F9CF9C}"/>
              </a:ext>
            </a:extLst>
          </p:cNvPr>
          <p:cNvSpPr/>
          <p:nvPr/>
        </p:nvSpPr>
        <p:spPr>
          <a:xfrm>
            <a:off x="9972675" y="3455734"/>
            <a:ext cx="1558925" cy="350520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单击</a:t>
            </a:r>
            <a:r>
              <a:rPr lang="zh-CN" altLang="en-US" sz="1200" b="1" dirty="0">
                <a:solidFill>
                  <a:schemeClr val="bg1"/>
                </a:solidFill>
                <a:cs typeface="+mn-ea"/>
                <a:sym typeface="+mn-lt"/>
              </a:rPr>
              <a:t>此处</a:t>
            </a:r>
            <a:r>
              <a:rPr lang="zh-CN" altLang="en-US" sz="1200" b="1">
                <a:solidFill>
                  <a:schemeClr val="bg1"/>
                </a:solidFill>
                <a:cs typeface="+mn-ea"/>
                <a:sym typeface="+mn-lt"/>
              </a:rPr>
              <a:t>添加标题</a:t>
            </a:r>
            <a:endParaRPr lang="en-US" altLang="zh-CN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3" name="îŝ1iḓe">
            <a:extLst>
              <a:ext uri="{FF2B5EF4-FFF2-40B4-BE49-F238E27FC236}">
                <a16:creationId xmlns:a16="http://schemas.microsoft.com/office/drawing/2014/main" id="{9C6D4F3B-44B2-4C55-BF9E-A9ECFD23EA2B}"/>
              </a:ext>
            </a:extLst>
          </p:cNvPr>
          <p:cNvSpPr txBox="1"/>
          <p:nvPr/>
        </p:nvSpPr>
        <p:spPr>
          <a:xfrm>
            <a:off x="9972674" y="3806254"/>
            <a:ext cx="1558925" cy="11181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Supporting text here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… 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…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en-US" sz="1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75" name="îṩļïďê">
            <a:extLst>
              <a:ext uri="{FF2B5EF4-FFF2-40B4-BE49-F238E27FC236}">
                <a16:creationId xmlns:a16="http://schemas.microsoft.com/office/drawing/2014/main" id="{D3FD5FDA-1A73-4109-9027-F15CABA82ED3}"/>
              </a:ext>
            </a:extLst>
          </p:cNvPr>
          <p:cNvGrpSpPr/>
          <p:nvPr/>
        </p:nvGrpSpPr>
        <p:grpSpPr>
          <a:xfrm>
            <a:off x="596900" y="1102556"/>
            <a:ext cx="3292369" cy="830997"/>
            <a:chOff x="8133865" y="4592427"/>
            <a:chExt cx="3292369" cy="830997"/>
          </a:xfrm>
        </p:grpSpPr>
        <p:grpSp>
          <p:nvGrpSpPr>
            <p:cNvPr id="71" name="íṥļiḓè">
              <a:extLst>
                <a:ext uri="{FF2B5EF4-FFF2-40B4-BE49-F238E27FC236}">
                  <a16:creationId xmlns:a16="http://schemas.microsoft.com/office/drawing/2014/main" id="{A8DCC915-64E7-4224-9045-AE6F9DE204B0}"/>
                </a:ext>
              </a:extLst>
            </p:cNvPr>
            <p:cNvGrpSpPr/>
            <p:nvPr/>
          </p:nvGrpSpPr>
          <p:grpSpPr>
            <a:xfrm>
              <a:off x="8133865" y="4592427"/>
              <a:ext cx="3292369" cy="830997"/>
              <a:chOff x="1561641" y="900225"/>
              <a:chExt cx="3292369" cy="830997"/>
            </a:xfrm>
            <a:noFill/>
          </p:grpSpPr>
          <p:sp>
            <p:nvSpPr>
              <p:cNvPr id="72" name="iš1íde">
                <a:extLst>
                  <a:ext uri="{FF2B5EF4-FFF2-40B4-BE49-F238E27FC236}">
                    <a16:creationId xmlns:a16="http://schemas.microsoft.com/office/drawing/2014/main" id="{5D70ADD5-9BDC-4B00-9F43-CF8657F95D22}"/>
                  </a:ext>
                </a:extLst>
              </p:cNvPr>
              <p:cNvSpPr/>
              <p:nvPr/>
            </p:nvSpPr>
            <p:spPr>
              <a:xfrm>
                <a:off x="1561641" y="900225"/>
                <a:ext cx="2185791" cy="830997"/>
              </a:xfrm>
              <a:prstGeom prst="rect">
                <a:avLst/>
              </a:prstGeom>
              <a:grpFill/>
            </p:spPr>
            <p:txBody>
              <a:bodyPr wrap="square" lIns="0" tIns="0" rIns="0" bIns="0">
                <a:spAutoFit/>
              </a:bodyPr>
              <a:lstStyle/>
              <a:p>
                <a:pPr lvl="0">
                  <a:defRPr/>
                </a:pPr>
                <a:r>
                  <a:rPr lang="zh-CN" altLang="en-US" sz="5400" b="1" kern="0" dirty="0">
                    <a:ln w="6350">
                      <a:noFill/>
                    </a:ln>
                    <a:cs typeface="+mn-ea"/>
                    <a:sym typeface="+mn-lt"/>
                  </a:rPr>
                  <a:t>目录</a:t>
                </a:r>
                <a:endParaRPr lang="en-US" altLang="zh-CN" sz="5400" b="1" kern="0" dirty="0">
                  <a:ln w="6350">
                    <a:noFill/>
                  </a:ln>
                  <a:cs typeface="+mn-ea"/>
                  <a:sym typeface="+mn-lt"/>
                </a:endParaRPr>
              </a:p>
            </p:txBody>
          </p:sp>
          <p:sp>
            <p:nvSpPr>
              <p:cNvPr id="73" name="ï$ḻîďe">
                <a:extLst>
                  <a:ext uri="{FF2B5EF4-FFF2-40B4-BE49-F238E27FC236}">
                    <a16:creationId xmlns:a16="http://schemas.microsoft.com/office/drawing/2014/main" id="{56837F86-7615-4783-B566-DAB13F42DE81}"/>
                  </a:ext>
                </a:extLst>
              </p:cNvPr>
              <p:cNvSpPr/>
              <p:nvPr/>
            </p:nvSpPr>
            <p:spPr>
              <a:xfrm>
                <a:off x="3076280" y="1295960"/>
                <a:ext cx="1777730" cy="369332"/>
              </a:xfrm>
              <a:prstGeom prst="rect">
                <a:avLst/>
              </a:prstGeom>
              <a:grpFill/>
            </p:spPr>
            <p:txBody>
              <a:bodyPr wrap="none" lIns="0" tIns="0" rIns="0" bIns="0">
                <a:spAutoFit/>
              </a:bodyPr>
              <a:lstStyle/>
              <a:p>
                <a:pPr lvl="0" algn="ctr">
                  <a:defRPr/>
                </a:pPr>
                <a:r>
                  <a:rPr lang="en-US" altLang="zh-CN" sz="2400" kern="0" dirty="0">
                    <a:ln w="6350"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+mn-ea"/>
                    <a:sym typeface="+mn-lt"/>
                  </a:rPr>
                  <a:t>CONTENTS </a:t>
                </a:r>
                <a:endParaRPr lang="zh-CN" altLang="en-US" sz="2400" kern="0" dirty="0">
                  <a:ln w="6350"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4" name="iŝ1iḍé">
              <a:extLst>
                <a:ext uri="{FF2B5EF4-FFF2-40B4-BE49-F238E27FC236}">
                  <a16:creationId xmlns:a16="http://schemas.microsoft.com/office/drawing/2014/main" id="{E1DFF412-0ADA-4509-8114-42096E9DF582}"/>
                </a:ext>
              </a:extLst>
            </p:cNvPr>
            <p:cNvSpPr/>
            <p:nvPr/>
          </p:nvSpPr>
          <p:spPr>
            <a:xfrm rot="5400000">
              <a:off x="9724571" y="4821122"/>
              <a:ext cx="188684" cy="16265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6" name="îšľiḋè">
            <a:extLst>
              <a:ext uri="{FF2B5EF4-FFF2-40B4-BE49-F238E27FC236}">
                <a16:creationId xmlns:a16="http://schemas.microsoft.com/office/drawing/2014/main" id="{6F119898-89A2-4CC3-B7E0-6436BBE2DF7D}"/>
              </a:ext>
            </a:extLst>
          </p:cNvPr>
          <p:cNvGrpSpPr/>
          <p:nvPr/>
        </p:nvGrpSpPr>
        <p:grpSpPr>
          <a:xfrm>
            <a:off x="10110130" y="532863"/>
            <a:ext cx="1410357" cy="437099"/>
            <a:chOff x="4996000" y="520587"/>
            <a:chExt cx="2264418" cy="701791"/>
          </a:xfrm>
        </p:grpSpPr>
        <p:grpSp>
          <p:nvGrpSpPr>
            <p:cNvPr id="107" name="iş1ïḓe">
              <a:extLst>
                <a:ext uri="{FF2B5EF4-FFF2-40B4-BE49-F238E27FC236}">
                  <a16:creationId xmlns:a16="http://schemas.microsoft.com/office/drawing/2014/main" id="{33204DCB-FAE1-4A1A-A6C9-21C1382B66ED}"/>
                </a:ext>
              </a:extLst>
            </p:cNvPr>
            <p:cNvGrpSpPr/>
            <p:nvPr/>
          </p:nvGrpSpPr>
          <p:grpSpPr>
            <a:xfrm>
              <a:off x="4996000" y="520587"/>
              <a:ext cx="697196" cy="701791"/>
              <a:chOff x="3551238" y="3067050"/>
              <a:chExt cx="722313" cy="727075"/>
            </a:xfrm>
          </p:grpSpPr>
          <p:sp>
            <p:nvSpPr>
              <p:cNvPr id="137" name="ïṡľîḍê">
                <a:extLst>
                  <a:ext uri="{FF2B5EF4-FFF2-40B4-BE49-F238E27FC236}">
                    <a16:creationId xmlns:a16="http://schemas.microsoft.com/office/drawing/2014/main" id="{5C44B62A-6543-42CE-8BE7-15981749E7F0}"/>
                  </a:ext>
                </a:extLst>
              </p:cNvPr>
              <p:cNvSpPr/>
              <p:nvPr/>
            </p:nvSpPr>
            <p:spPr bwMode="auto">
              <a:xfrm>
                <a:off x="3575051" y="3087688"/>
                <a:ext cx="673100" cy="679450"/>
              </a:xfrm>
              <a:custGeom>
                <a:avLst/>
                <a:gdLst>
                  <a:gd name="T0" fmla="*/ 102 w 204"/>
                  <a:gd name="T1" fmla="*/ 0 h 204"/>
                  <a:gd name="T2" fmla="*/ 204 w 204"/>
                  <a:gd name="T3" fmla="*/ 102 h 204"/>
                  <a:gd name="T4" fmla="*/ 102 w 204"/>
                  <a:gd name="T5" fmla="*/ 204 h 204"/>
                  <a:gd name="T6" fmla="*/ 0 w 204"/>
                  <a:gd name="T7" fmla="*/ 102 h 204"/>
                  <a:gd name="T8" fmla="*/ 102 w 204"/>
                  <a:gd name="T9" fmla="*/ 0 h 204"/>
                  <a:gd name="T10" fmla="*/ 102 w 204"/>
                  <a:gd name="T11" fmla="*/ 25 h 204"/>
                  <a:gd name="T12" fmla="*/ 24 w 204"/>
                  <a:gd name="T13" fmla="*/ 103 h 204"/>
                  <a:gd name="T14" fmla="*/ 102 w 204"/>
                  <a:gd name="T15" fmla="*/ 181 h 204"/>
                  <a:gd name="T16" fmla="*/ 180 w 204"/>
                  <a:gd name="T17" fmla="*/ 103 h 204"/>
                  <a:gd name="T18" fmla="*/ 102 w 204"/>
                  <a:gd name="T19" fmla="*/ 2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0"/>
                    </a:moveTo>
                    <a:cubicBezTo>
                      <a:pt x="159" y="0"/>
                      <a:pt x="204" y="46"/>
                      <a:pt x="204" y="102"/>
                    </a:cubicBezTo>
                    <a:cubicBezTo>
                      <a:pt x="204" y="158"/>
                      <a:pt x="159" y="204"/>
                      <a:pt x="102" y="204"/>
                    </a:cubicBezTo>
                    <a:cubicBezTo>
                      <a:pt x="46" y="204"/>
                      <a:pt x="0" y="158"/>
                      <a:pt x="0" y="102"/>
                    </a:cubicBezTo>
                    <a:cubicBezTo>
                      <a:pt x="0" y="46"/>
                      <a:pt x="46" y="0"/>
                      <a:pt x="102" y="0"/>
                    </a:cubicBezTo>
                    <a:close/>
                    <a:moveTo>
                      <a:pt x="102" y="25"/>
                    </a:moveTo>
                    <a:cubicBezTo>
                      <a:pt x="59" y="25"/>
                      <a:pt x="24" y="60"/>
                      <a:pt x="24" y="103"/>
                    </a:cubicBezTo>
                    <a:cubicBezTo>
                      <a:pt x="24" y="146"/>
                      <a:pt x="59" y="181"/>
                      <a:pt x="102" y="181"/>
                    </a:cubicBezTo>
                    <a:cubicBezTo>
                      <a:pt x="145" y="181"/>
                      <a:pt x="180" y="146"/>
                      <a:pt x="180" y="103"/>
                    </a:cubicBezTo>
                    <a:cubicBezTo>
                      <a:pt x="180" y="60"/>
                      <a:pt x="145" y="25"/>
                      <a:pt x="102" y="25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" name="ïsļïḋè">
                <a:extLst>
                  <a:ext uri="{FF2B5EF4-FFF2-40B4-BE49-F238E27FC236}">
                    <a16:creationId xmlns:a16="http://schemas.microsoft.com/office/drawing/2014/main" id="{46BCB842-6EA1-42B4-ACAE-2BEB708BDC48}"/>
                  </a:ext>
                </a:extLst>
              </p:cNvPr>
              <p:cNvSpPr/>
              <p:nvPr/>
            </p:nvSpPr>
            <p:spPr bwMode="auto">
              <a:xfrm>
                <a:off x="3621088" y="3103563"/>
                <a:ext cx="584200" cy="203200"/>
              </a:xfrm>
              <a:custGeom>
                <a:avLst/>
                <a:gdLst>
                  <a:gd name="T0" fmla="*/ 8 w 177"/>
                  <a:gd name="T1" fmla="*/ 53 h 61"/>
                  <a:gd name="T2" fmla="*/ 0 w 177"/>
                  <a:gd name="T3" fmla="*/ 56 h 61"/>
                  <a:gd name="T4" fmla="*/ 5 w 177"/>
                  <a:gd name="T5" fmla="*/ 52 h 61"/>
                  <a:gd name="T6" fmla="*/ 4 w 177"/>
                  <a:gd name="T7" fmla="*/ 50 h 61"/>
                  <a:gd name="T8" fmla="*/ 5 w 177"/>
                  <a:gd name="T9" fmla="*/ 48 h 61"/>
                  <a:gd name="T10" fmla="*/ 10 w 177"/>
                  <a:gd name="T11" fmla="*/ 41 h 61"/>
                  <a:gd name="T12" fmla="*/ 17 w 177"/>
                  <a:gd name="T13" fmla="*/ 50 h 61"/>
                  <a:gd name="T14" fmla="*/ 14 w 177"/>
                  <a:gd name="T15" fmla="*/ 35 h 61"/>
                  <a:gd name="T16" fmla="*/ 23 w 177"/>
                  <a:gd name="T17" fmla="*/ 46 h 61"/>
                  <a:gd name="T18" fmla="*/ 31 w 177"/>
                  <a:gd name="T19" fmla="*/ 38 h 61"/>
                  <a:gd name="T20" fmla="*/ 29 w 177"/>
                  <a:gd name="T21" fmla="*/ 40 h 61"/>
                  <a:gd name="T22" fmla="*/ 18 w 177"/>
                  <a:gd name="T23" fmla="*/ 32 h 61"/>
                  <a:gd name="T24" fmla="*/ 19 w 177"/>
                  <a:gd name="T25" fmla="*/ 30 h 61"/>
                  <a:gd name="T26" fmla="*/ 21 w 177"/>
                  <a:gd name="T27" fmla="*/ 27 h 61"/>
                  <a:gd name="T28" fmla="*/ 41 w 177"/>
                  <a:gd name="T29" fmla="*/ 29 h 61"/>
                  <a:gd name="T30" fmla="*/ 43 w 177"/>
                  <a:gd name="T31" fmla="*/ 29 h 61"/>
                  <a:gd name="T32" fmla="*/ 35 w 177"/>
                  <a:gd name="T33" fmla="*/ 35 h 61"/>
                  <a:gd name="T34" fmla="*/ 31 w 177"/>
                  <a:gd name="T35" fmla="*/ 21 h 61"/>
                  <a:gd name="T36" fmla="*/ 46 w 177"/>
                  <a:gd name="T37" fmla="*/ 11 h 61"/>
                  <a:gd name="T38" fmla="*/ 47 w 177"/>
                  <a:gd name="T39" fmla="*/ 11 h 61"/>
                  <a:gd name="T40" fmla="*/ 47 w 177"/>
                  <a:gd name="T41" fmla="*/ 26 h 61"/>
                  <a:gd name="T42" fmla="*/ 39 w 177"/>
                  <a:gd name="T43" fmla="*/ 15 h 61"/>
                  <a:gd name="T44" fmla="*/ 72 w 177"/>
                  <a:gd name="T45" fmla="*/ 16 h 61"/>
                  <a:gd name="T46" fmla="*/ 71 w 177"/>
                  <a:gd name="T47" fmla="*/ 2 h 61"/>
                  <a:gd name="T48" fmla="*/ 65 w 177"/>
                  <a:gd name="T49" fmla="*/ 15 h 61"/>
                  <a:gd name="T50" fmla="*/ 64 w 177"/>
                  <a:gd name="T51" fmla="*/ 4 h 61"/>
                  <a:gd name="T52" fmla="*/ 84 w 177"/>
                  <a:gd name="T53" fmla="*/ 1 h 61"/>
                  <a:gd name="T54" fmla="*/ 84 w 177"/>
                  <a:gd name="T55" fmla="*/ 1 h 61"/>
                  <a:gd name="T56" fmla="*/ 78 w 177"/>
                  <a:gd name="T57" fmla="*/ 16 h 61"/>
                  <a:gd name="T58" fmla="*/ 77 w 177"/>
                  <a:gd name="T59" fmla="*/ 15 h 61"/>
                  <a:gd name="T60" fmla="*/ 90 w 177"/>
                  <a:gd name="T61" fmla="*/ 1 h 61"/>
                  <a:gd name="T62" fmla="*/ 94 w 177"/>
                  <a:gd name="T63" fmla="*/ 15 h 61"/>
                  <a:gd name="T64" fmla="*/ 92 w 177"/>
                  <a:gd name="T65" fmla="*/ 15 h 61"/>
                  <a:gd name="T66" fmla="*/ 113 w 177"/>
                  <a:gd name="T67" fmla="*/ 3 h 61"/>
                  <a:gd name="T68" fmla="*/ 102 w 177"/>
                  <a:gd name="T69" fmla="*/ 2 h 61"/>
                  <a:gd name="T70" fmla="*/ 105 w 177"/>
                  <a:gd name="T71" fmla="*/ 14 h 61"/>
                  <a:gd name="T72" fmla="*/ 117 w 177"/>
                  <a:gd name="T73" fmla="*/ 5 h 61"/>
                  <a:gd name="T74" fmla="*/ 122 w 177"/>
                  <a:gd name="T75" fmla="*/ 19 h 61"/>
                  <a:gd name="T76" fmla="*/ 119 w 177"/>
                  <a:gd name="T77" fmla="*/ 13 h 61"/>
                  <a:gd name="T78" fmla="*/ 121 w 177"/>
                  <a:gd name="T79" fmla="*/ 12 h 61"/>
                  <a:gd name="T80" fmla="*/ 124 w 177"/>
                  <a:gd name="T81" fmla="*/ 10 h 61"/>
                  <a:gd name="T82" fmla="*/ 131 w 177"/>
                  <a:gd name="T83" fmla="*/ 26 h 61"/>
                  <a:gd name="T84" fmla="*/ 126 w 177"/>
                  <a:gd name="T85" fmla="*/ 23 h 61"/>
                  <a:gd name="T86" fmla="*/ 124 w 177"/>
                  <a:gd name="T87" fmla="*/ 23 h 61"/>
                  <a:gd name="T88" fmla="*/ 137 w 177"/>
                  <a:gd name="T89" fmla="*/ 14 h 61"/>
                  <a:gd name="T90" fmla="*/ 133 w 177"/>
                  <a:gd name="T91" fmla="*/ 11 h 61"/>
                  <a:gd name="T92" fmla="*/ 137 w 177"/>
                  <a:gd name="T93" fmla="*/ 32 h 61"/>
                  <a:gd name="T94" fmla="*/ 137 w 177"/>
                  <a:gd name="T95" fmla="*/ 32 h 61"/>
                  <a:gd name="T96" fmla="*/ 145 w 177"/>
                  <a:gd name="T97" fmla="*/ 19 h 61"/>
                  <a:gd name="T98" fmla="*/ 146 w 177"/>
                  <a:gd name="T99" fmla="*/ 19 h 61"/>
                  <a:gd name="T100" fmla="*/ 159 w 177"/>
                  <a:gd name="T101" fmla="*/ 31 h 61"/>
                  <a:gd name="T102" fmla="*/ 149 w 177"/>
                  <a:gd name="T103" fmla="*/ 42 h 61"/>
                  <a:gd name="T104" fmla="*/ 155 w 177"/>
                  <a:gd name="T105" fmla="*/ 27 h 61"/>
                  <a:gd name="T106" fmla="*/ 166 w 177"/>
                  <a:gd name="T107" fmla="*/ 40 h 61"/>
                  <a:gd name="T108" fmla="*/ 160 w 177"/>
                  <a:gd name="T109" fmla="*/ 37 h 61"/>
                  <a:gd name="T110" fmla="*/ 153 w 177"/>
                  <a:gd name="T111" fmla="*/ 46 h 61"/>
                  <a:gd name="T112" fmla="*/ 177 w 177"/>
                  <a:gd name="T113" fmla="*/ 55 h 61"/>
                  <a:gd name="T114" fmla="*/ 162 w 177"/>
                  <a:gd name="T115" fmla="*/ 60 h 61"/>
                  <a:gd name="T116" fmla="*/ 165 w 177"/>
                  <a:gd name="T117" fmla="*/ 55 h 61"/>
                  <a:gd name="T118" fmla="*/ 173 w 177"/>
                  <a:gd name="T119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7" h="61">
                    <a:moveTo>
                      <a:pt x="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6" y="47"/>
                      <a:pt x="6" y="47"/>
                      <a:pt x="6" y="4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1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6" y="48"/>
                      <a:pt x="6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6" y="46"/>
                      <a:pt x="6" y="46"/>
                      <a:pt x="6" y="46"/>
                    </a:cubicBezTo>
                    <a:close/>
                    <a:moveTo>
                      <a:pt x="22" y="48"/>
                    </a:moveTo>
                    <a:cubicBezTo>
                      <a:pt x="22" y="49"/>
                      <a:pt x="21" y="49"/>
                      <a:pt x="21" y="49"/>
                    </a:cubicBezTo>
                    <a:cubicBezTo>
                      <a:pt x="20" y="50"/>
                      <a:pt x="19" y="49"/>
                      <a:pt x="18" y="48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8" y="50"/>
                      <a:pt x="19" y="51"/>
                      <a:pt x="20" y="50"/>
                    </a:cubicBezTo>
                    <a:cubicBezTo>
                      <a:pt x="21" y="50"/>
                      <a:pt x="22" y="50"/>
                      <a:pt x="23" y="49"/>
                    </a:cubicBezTo>
                    <a:cubicBezTo>
                      <a:pt x="24" y="48"/>
                      <a:pt x="24" y="47"/>
                      <a:pt x="24" y="46"/>
                    </a:cubicBezTo>
                    <a:cubicBezTo>
                      <a:pt x="24" y="45"/>
                      <a:pt x="23" y="44"/>
                      <a:pt x="22" y="4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4" y="37"/>
                      <a:pt x="14" y="37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3" y="44"/>
                      <a:pt x="23" y="45"/>
                      <a:pt x="23" y="46"/>
                    </a:cubicBezTo>
                    <a:cubicBezTo>
                      <a:pt x="23" y="47"/>
                      <a:pt x="23" y="47"/>
                      <a:pt x="22" y="48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6"/>
                      <a:pt x="34" y="36"/>
                      <a:pt x="34" y="36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8"/>
                      <a:pt x="32" y="37"/>
                      <a:pt x="32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9" y="41"/>
                      <a:pt x="29" y="40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7" y="42"/>
                      <a:pt x="27" y="41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1"/>
                      <a:pt x="19" y="31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33" y="36"/>
                      <a:pt x="33" y="36"/>
                      <a:pt x="33" y="36"/>
                    </a:cubicBezTo>
                    <a:close/>
                    <a:moveTo>
                      <a:pt x="38" y="26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1" y="30"/>
                      <a:pt x="41" y="30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2" y="29"/>
                      <a:pt x="42" y="2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5" y="34"/>
                      <a:pt x="35" y="34"/>
                    </a:cubicBezTo>
                    <a:cubicBezTo>
                      <a:pt x="35" y="34"/>
                      <a:pt x="35" y="34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6" y="33"/>
                    </a:cubicBezTo>
                    <a:cubicBezTo>
                      <a:pt x="36" y="33"/>
                      <a:pt x="36" y="32"/>
                      <a:pt x="36" y="32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8" y="26"/>
                      <a:pt x="38" y="26"/>
                      <a:pt x="38" y="26"/>
                    </a:cubicBezTo>
                    <a:close/>
                    <a:moveTo>
                      <a:pt x="31" y="21"/>
                    </a:moveTo>
                    <a:cubicBezTo>
                      <a:pt x="31" y="21"/>
                      <a:pt x="31" y="21"/>
                      <a:pt x="31" y="21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1" y="21"/>
                      <a:pt x="31" y="21"/>
                      <a:pt x="31" y="21"/>
                    </a:cubicBezTo>
                    <a:close/>
                    <a:moveTo>
                      <a:pt x="51" y="21"/>
                    </a:moveTo>
                    <a:cubicBezTo>
                      <a:pt x="51" y="21"/>
                      <a:pt x="51" y="21"/>
                      <a:pt x="51" y="2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5" y="11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1"/>
                      <a:pt x="47" y="11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6" y="27"/>
                      <a:pt x="46" y="26"/>
                      <a:pt x="45" y="2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9" y="14"/>
                      <a:pt x="39" y="14"/>
                      <a:pt x="38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51" y="21"/>
                      <a:pt x="51" y="21"/>
                      <a:pt x="51" y="21"/>
                    </a:cubicBezTo>
                    <a:close/>
                    <a:moveTo>
                      <a:pt x="70" y="17"/>
                    </a:moveTo>
                    <a:cubicBezTo>
                      <a:pt x="70" y="17"/>
                      <a:pt x="71" y="17"/>
                      <a:pt x="72" y="16"/>
                    </a:cubicBezTo>
                    <a:cubicBezTo>
                      <a:pt x="72" y="15"/>
                      <a:pt x="72" y="14"/>
                      <a:pt x="72" y="14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69" y="3"/>
                      <a:pt x="69" y="3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0" y="2"/>
                      <a:pt x="70" y="2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5"/>
                      <a:pt x="73" y="16"/>
                      <a:pt x="72" y="16"/>
                    </a:cubicBezTo>
                    <a:cubicBezTo>
                      <a:pt x="71" y="17"/>
                      <a:pt x="71" y="18"/>
                      <a:pt x="70" y="18"/>
                    </a:cubicBezTo>
                    <a:cubicBezTo>
                      <a:pt x="68" y="18"/>
                      <a:pt x="67" y="18"/>
                      <a:pt x="66" y="18"/>
                    </a:cubicBezTo>
                    <a:cubicBezTo>
                      <a:pt x="66" y="17"/>
                      <a:pt x="65" y="17"/>
                      <a:pt x="65" y="15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2" y="5"/>
                      <a:pt x="62" y="4"/>
                      <a:pt x="62" y="4"/>
                    </a:cubicBezTo>
                    <a:cubicBezTo>
                      <a:pt x="62" y="4"/>
                      <a:pt x="62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6"/>
                      <a:pt x="67" y="17"/>
                      <a:pt x="67" y="17"/>
                    </a:cubicBezTo>
                    <a:cubicBezTo>
                      <a:pt x="68" y="18"/>
                      <a:pt x="69" y="18"/>
                      <a:pt x="70" y="17"/>
                    </a:cubicBezTo>
                    <a:close/>
                    <a:moveTo>
                      <a:pt x="84" y="12"/>
                    </a:move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4" y="1"/>
                      <a:pt x="84" y="1"/>
                      <a:pt x="83" y="1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5" y="1"/>
                      <a:pt x="85" y="1"/>
                      <a:pt x="84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7" y="15"/>
                      <a:pt x="78" y="15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6"/>
                      <a:pt x="77" y="16"/>
                      <a:pt x="77" y="16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2"/>
                      <a:pt x="76" y="2"/>
                      <a:pt x="76" y="1"/>
                    </a:cubicBezTo>
                    <a:cubicBezTo>
                      <a:pt x="76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84" y="12"/>
                      <a:pt x="84" y="12"/>
                      <a:pt x="84" y="12"/>
                    </a:cubicBezTo>
                    <a:close/>
                    <a:moveTo>
                      <a:pt x="90" y="1"/>
                    </a:moveTo>
                    <a:cubicBezTo>
                      <a:pt x="90" y="0"/>
                      <a:pt x="90" y="0"/>
                      <a:pt x="90" y="0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5" y="1"/>
                      <a:pt x="95" y="1"/>
                      <a:pt x="95" y="2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5" y="15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3" y="1"/>
                      <a:pt x="92" y="1"/>
                    </a:cubicBezTo>
                    <a:cubicBezTo>
                      <a:pt x="90" y="1"/>
                      <a:pt x="90" y="1"/>
                      <a:pt x="90" y="1"/>
                    </a:cubicBezTo>
                    <a:close/>
                    <a:moveTo>
                      <a:pt x="109" y="3"/>
                    </a:moveTo>
                    <a:cubicBezTo>
                      <a:pt x="109" y="2"/>
                      <a:pt x="109" y="2"/>
                      <a:pt x="109" y="2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2" y="3"/>
                      <a:pt x="112" y="3"/>
                      <a:pt x="11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4" y="17"/>
                      <a:pt x="104" y="17"/>
                      <a:pt x="104" y="17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3"/>
                      <a:pt x="103" y="2"/>
                      <a:pt x="103" y="2"/>
                    </a:cubicBezTo>
                    <a:cubicBezTo>
                      <a:pt x="103" y="2"/>
                      <a:pt x="103" y="2"/>
                      <a:pt x="102" y="2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102" y="1"/>
                      <a:pt x="102" y="1"/>
                      <a:pt x="102" y="1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3"/>
                      <a:pt x="105" y="3"/>
                      <a:pt x="105" y="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10" y="3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09" y="3"/>
                      <a:pt x="109" y="3"/>
                      <a:pt x="109" y="3"/>
                    </a:cubicBezTo>
                    <a:close/>
                    <a:moveTo>
                      <a:pt x="116" y="5"/>
                    </a:move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7" y="5"/>
                      <a:pt x="117" y="6"/>
                      <a:pt x="117" y="6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3" y="18"/>
                      <a:pt x="113" y="19"/>
                      <a:pt x="113" y="19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11" y="19"/>
                      <a:pt x="111" y="19"/>
                      <a:pt x="111" y="19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122" y="19"/>
                      <a:pt x="122" y="19"/>
                      <a:pt x="122" y="19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1" y="19"/>
                      <a:pt x="120" y="20"/>
                      <a:pt x="120" y="20"/>
                    </a:cubicBezTo>
                    <a:cubicBezTo>
                      <a:pt x="119" y="21"/>
                      <a:pt x="118" y="21"/>
                      <a:pt x="117" y="20"/>
                    </a:cubicBezTo>
                    <a:cubicBezTo>
                      <a:pt x="115" y="20"/>
                      <a:pt x="115" y="20"/>
                      <a:pt x="115" y="20"/>
                    </a:cubicBezTo>
                    <a:cubicBezTo>
                      <a:pt x="115" y="20"/>
                      <a:pt x="114" y="19"/>
                      <a:pt x="114" y="19"/>
                    </a:cubicBezTo>
                    <a:cubicBezTo>
                      <a:pt x="114" y="19"/>
                      <a:pt x="114" y="19"/>
                      <a:pt x="114" y="19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3"/>
                      <a:pt x="120" y="13"/>
                      <a:pt x="120" y="14"/>
                    </a:cubicBezTo>
                    <a:cubicBezTo>
                      <a:pt x="120" y="14"/>
                      <a:pt x="120" y="15"/>
                      <a:pt x="120" y="15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0" y="13"/>
                      <a:pt x="120" y="13"/>
                      <a:pt x="119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8" y="6"/>
                      <a:pt x="119" y="6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122" y="7"/>
                      <a:pt x="123" y="7"/>
                      <a:pt x="123" y="8"/>
                    </a:cubicBezTo>
                    <a:cubicBezTo>
                      <a:pt x="124" y="8"/>
                      <a:pt x="124" y="9"/>
                      <a:pt x="124" y="1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6" y="5"/>
                      <a:pt x="116" y="5"/>
                      <a:pt x="116" y="5"/>
                    </a:cubicBezTo>
                    <a:close/>
                    <a:moveTo>
                      <a:pt x="136" y="17"/>
                    </a:moveTo>
                    <a:cubicBezTo>
                      <a:pt x="136" y="18"/>
                      <a:pt x="135" y="19"/>
                      <a:pt x="134" y="19"/>
                    </a:cubicBezTo>
                    <a:cubicBezTo>
                      <a:pt x="133" y="19"/>
                      <a:pt x="133" y="19"/>
                      <a:pt x="132" y="19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1" y="26"/>
                      <a:pt x="131" y="27"/>
                      <a:pt x="131" y="27"/>
                    </a:cubicBezTo>
                    <a:cubicBezTo>
                      <a:pt x="131" y="27"/>
                      <a:pt x="131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0" y="18"/>
                      <a:pt x="130" y="18"/>
                      <a:pt x="130" y="18"/>
                    </a:cubicBezTo>
                    <a:cubicBezTo>
                      <a:pt x="129" y="17"/>
                      <a:pt x="129" y="17"/>
                      <a:pt x="129" y="17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25" y="24"/>
                      <a:pt x="125" y="24"/>
                      <a:pt x="126" y="24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3"/>
                      <a:pt x="124" y="23"/>
                    </a:cubicBezTo>
                    <a:cubicBezTo>
                      <a:pt x="124" y="23"/>
                      <a:pt x="124" y="23"/>
                      <a:pt x="124" y="23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30" y="11"/>
                      <a:pt x="130" y="11"/>
                      <a:pt x="130" y="1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2"/>
                      <a:pt x="136" y="13"/>
                      <a:pt x="137" y="14"/>
                    </a:cubicBezTo>
                    <a:cubicBezTo>
                      <a:pt x="137" y="15"/>
                      <a:pt x="137" y="16"/>
                      <a:pt x="136" y="17"/>
                    </a:cubicBezTo>
                    <a:close/>
                    <a:moveTo>
                      <a:pt x="129" y="17"/>
                    </a:move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2" y="18"/>
                      <a:pt x="133" y="18"/>
                    </a:cubicBezTo>
                    <a:cubicBezTo>
                      <a:pt x="134" y="18"/>
                      <a:pt x="134" y="17"/>
                      <a:pt x="135" y="16"/>
                    </a:cubicBezTo>
                    <a:cubicBezTo>
                      <a:pt x="135" y="15"/>
                      <a:pt x="136" y="15"/>
                      <a:pt x="135" y="14"/>
                    </a:cubicBezTo>
                    <a:cubicBezTo>
                      <a:pt x="135" y="13"/>
                      <a:pt x="135" y="12"/>
                      <a:pt x="133" y="12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32" y="11"/>
                      <a:pt x="132" y="11"/>
                      <a:pt x="132" y="12"/>
                    </a:cubicBezTo>
                    <a:cubicBezTo>
                      <a:pt x="129" y="17"/>
                      <a:pt x="129" y="17"/>
                      <a:pt x="129" y="17"/>
                    </a:cubicBezTo>
                    <a:close/>
                    <a:moveTo>
                      <a:pt x="141" y="25"/>
                    </a:moveTo>
                    <a:cubicBezTo>
                      <a:pt x="142" y="27"/>
                      <a:pt x="142" y="28"/>
                      <a:pt x="142" y="28"/>
                    </a:cubicBezTo>
                    <a:cubicBezTo>
                      <a:pt x="142" y="29"/>
                      <a:pt x="142" y="30"/>
                      <a:pt x="142" y="30"/>
                    </a:cubicBezTo>
                    <a:cubicBezTo>
                      <a:pt x="141" y="31"/>
                      <a:pt x="141" y="32"/>
                      <a:pt x="140" y="32"/>
                    </a:cubicBezTo>
                    <a:cubicBezTo>
                      <a:pt x="139" y="32"/>
                      <a:pt x="138" y="32"/>
                      <a:pt x="137" y="32"/>
                    </a:cubicBezTo>
                    <a:cubicBezTo>
                      <a:pt x="137" y="31"/>
                      <a:pt x="136" y="30"/>
                      <a:pt x="136" y="29"/>
                    </a:cubicBezTo>
                    <a:cubicBezTo>
                      <a:pt x="135" y="28"/>
                      <a:pt x="136" y="27"/>
                      <a:pt x="136" y="26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5" y="30"/>
                      <a:pt x="135" y="30"/>
                      <a:pt x="135" y="30"/>
                    </a:cubicBezTo>
                    <a:cubicBezTo>
                      <a:pt x="135" y="30"/>
                      <a:pt x="135" y="30"/>
                      <a:pt x="136" y="31"/>
                    </a:cubicBezTo>
                    <a:cubicBezTo>
                      <a:pt x="136" y="31"/>
                      <a:pt x="136" y="32"/>
                      <a:pt x="137" y="32"/>
                    </a:cubicBezTo>
                    <a:cubicBezTo>
                      <a:pt x="138" y="33"/>
                      <a:pt x="139" y="33"/>
                      <a:pt x="140" y="33"/>
                    </a:cubicBezTo>
                    <a:cubicBezTo>
                      <a:pt x="142" y="33"/>
                      <a:pt x="142" y="32"/>
                      <a:pt x="143" y="31"/>
                    </a:cubicBezTo>
                    <a:cubicBezTo>
                      <a:pt x="144" y="30"/>
                      <a:pt x="144" y="29"/>
                      <a:pt x="144" y="28"/>
                    </a:cubicBezTo>
                    <a:cubicBezTo>
                      <a:pt x="144" y="27"/>
                      <a:pt x="143" y="26"/>
                      <a:pt x="142" y="25"/>
                    </a:cubicBezTo>
                    <a:cubicBezTo>
                      <a:pt x="141" y="23"/>
                      <a:pt x="141" y="22"/>
                      <a:pt x="141" y="22"/>
                    </a:cubicBezTo>
                    <a:cubicBezTo>
                      <a:pt x="141" y="21"/>
                      <a:pt x="141" y="20"/>
                      <a:pt x="141" y="20"/>
                    </a:cubicBezTo>
                    <a:cubicBezTo>
                      <a:pt x="142" y="19"/>
                      <a:pt x="142" y="19"/>
                      <a:pt x="143" y="19"/>
                    </a:cubicBezTo>
                    <a:cubicBezTo>
                      <a:pt x="144" y="18"/>
                      <a:pt x="144" y="18"/>
                      <a:pt x="145" y="19"/>
                    </a:cubicBezTo>
                    <a:cubicBezTo>
                      <a:pt x="146" y="20"/>
                      <a:pt x="147" y="20"/>
                      <a:pt x="147" y="21"/>
                    </a:cubicBezTo>
                    <a:cubicBezTo>
                      <a:pt x="147" y="22"/>
                      <a:pt x="147" y="23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9" y="21"/>
                      <a:pt x="149" y="21"/>
                      <a:pt x="149" y="21"/>
                    </a:cubicBezTo>
                    <a:cubicBezTo>
                      <a:pt x="149" y="21"/>
                      <a:pt x="149" y="21"/>
                      <a:pt x="148" y="21"/>
                    </a:cubicBezTo>
                    <a:cubicBezTo>
                      <a:pt x="148" y="21"/>
                      <a:pt x="148" y="21"/>
                      <a:pt x="148" y="21"/>
                    </a:cubicBezTo>
                    <a:cubicBezTo>
                      <a:pt x="148" y="21"/>
                      <a:pt x="147" y="20"/>
                      <a:pt x="147" y="20"/>
                    </a:cubicBezTo>
                    <a:cubicBezTo>
                      <a:pt x="147" y="19"/>
                      <a:pt x="146" y="19"/>
                      <a:pt x="146" y="19"/>
                    </a:cubicBezTo>
                    <a:cubicBezTo>
                      <a:pt x="145" y="18"/>
                      <a:pt x="144" y="18"/>
                      <a:pt x="143" y="18"/>
                    </a:cubicBezTo>
                    <a:cubicBezTo>
                      <a:pt x="141" y="18"/>
                      <a:pt x="141" y="19"/>
                      <a:pt x="140" y="19"/>
                    </a:cubicBezTo>
                    <a:cubicBezTo>
                      <a:pt x="139" y="20"/>
                      <a:pt x="139" y="21"/>
                      <a:pt x="139" y="22"/>
                    </a:cubicBezTo>
                    <a:cubicBezTo>
                      <a:pt x="140" y="23"/>
                      <a:pt x="140" y="24"/>
                      <a:pt x="141" y="25"/>
                    </a:cubicBezTo>
                    <a:close/>
                    <a:moveTo>
                      <a:pt x="154" y="26"/>
                    </a:moveTo>
                    <a:cubicBezTo>
                      <a:pt x="154" y="26"/>
                      <a:pt x="154" y="26"/>
                      <a:pt x="154" y="26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7" y="29"/>
                      <a:pt x="157" y="29"/>
                      <a:pt x="157" y="29"/>
                    </a:cubicBezTo>
                    <a:cubicBezTo>
                      <a:pt x="157" y="29"/>
                      <a:pt x="157" y="29"/>
                      <a:pt x="156" y="3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7" y="39"/>
                      <a:pt x="147" y="40"/>
                    </a:cubicBezTo>
                    <a:cubicBezTo>
                      <a:pt x="147" y="40"/>
                      <a:pt x="147" y="40"/>
                      <a:pt x="148" y="4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4" y="37"/>
                      <a:pt x="144" y="37"/>
                      <a:pt x="144" y="37"/>
                    </a:cubicBezTo>
                    <a:cubicBezTo>
                      <a:pt x="145" y="38"/>
                      <a:pt x="145" y="38"/>
                      <a:pt x="145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55" y="29"/>
                      <a:pt x="155" y="29"/>
                      <a:pt x="155" y="29"/>
                    </a:cubicBezTo>
                    <a:cubicBezTo>
                      <a:pt x="155" y="28"/>
                      <a:pt x="156" y="28"/>
                      <a:pt x="156" y="28"/>
                    </a:cubicBezTo>
                    <a:cubicBezTo>
                      <a:pt x="156" y="28"/>
                      <a:pt x="155" y="28"/>
                      <a:pt x="155" y="27"/>
                    </a:cubicBezTo>
                    <a:cubicBezTo>
                      <a:pt x="154" y="26"/>
                      <a:pt x="154" y="26"/>
                      <a:pt x="154" y="26"/>
                    </a:cubicBezTo>
                    <a:close/>
                    <a:moveTo>
                      <a:pt x="155" y="50"/>
                    </a:moveTo>
                    <a:cubicBezTo>
                      <a:pt x="156" y="50"/>
                      <a:pt x="156" y="50"/>
                      <a:pt x="156" y="50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8"/>
                      <a:pt x="155" y="48"/>
                    </a:cubicBezTo>
                    <a:cubicBezTo>
                      <a:pt x="165" y="40"/>
                      <a:pt x="165" y="40"/>
                      <a:pt x="165" y="40"/>
                    </a:cubicBezTo>
                    <a:cubicBezTo>
                      <a:pt x="166" y="40"/>
                      <a:pt x="166" y="40"/>
                      <a:pt x="166" y="40"/>
                    </a:cubicBezTo>
                    <a:cubicBezTo>
                      <a:pt x="166" y="40"/>
                      <a:pt x="166" y="40"/>
                      <a:pt x="167" y="40"/>
                    </a:cubicBezTo>
                    <a:cubicBezTo>
                      <a:pt x="167" y="41"/>
                      <a:pt x="167" y="42"/>
                      <a:pt x="167" y="42"/>
                    </a:cubicBezTo>
                    <a:cubicBezTo>
                      <a:pt x="167" y="43"/>
                      <a:pt x="167" y="43"/>
                      <a:pt x="166" y="45"/>
                    </a:cubicBezTo>
                    <a:cubicBezTo>
                      <a:pt x="166" y="45"/>
                      <a:pt x="166" y="45"/>
                      <a:pt x="166" y="45"/>
                    </a:cubicBezTo>
                    <a:cubicBezTo>
                      <a:pt x="169" y="42"/>
                      <a:pt x="169" y="42"/>
                      <a:pt x="169" y="42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2" y="37"/>
                      <a:pt x="163" y="37"/>
                      <a:pt x="163" y="37"/>
                    </a:cubicBezTo>
                    <a:cubicBezTo>
                      <a:pt x="163" y="37"/>
                      <a:pt x="164" y="37"/>
                      <a:pt x="164" y="38"/>
                    </a:cubicBezTo>
                    <a:cubicBezTo>
                      <a:pt x="165" y="38"/>
                      <a:pt x="165" y="38"/>
                      <a:pt x="165" y="38"/>
                    </a:cubicBezTo>
                    <a:cubicBezTo>
                      <a:pt x="165" y="39"/>
                      <a:pt x="165" y="39"/>
                      <a:pt x="164" y="39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3" y="47"/>
                      <a:pt x="153" y="47"/>
                    </a:cubicBezTo>
                    <a:cubicBezTo>
                      <a:pt x="153" y="46"/>
                      <a:pt x="153" y="46"/>
                      <a:pt x="153" y="46"/>
                    </a:cubicBezTo>
                    <a:cubicBezTo>
                      <a:pt x="152" y="47"/>
                      <a:pt x="152" y="47"/>
                      <a:pt x="152" y="47"/>
                    </a:cubicBezTo>
                    <a:cubicBezTo>
                      <a:pt x="155" y="50"/>
                      <a:pt x="155" y="50"/>
                      <a:pt x="155" y="50"/>
                    </a:cubicBezTo>
                    <a:close/>
                    <a:moveTo>
                      <a:pt x="174" y="54"/>
                    </a:moveTo>
                    <a:cubicBezTo>
                      <a:pt x="174" y="54"/>
                      <a:pt x="175" y="54"/>
                      <a:pt x="175" y="53"/>
                    </a:cubicBezTo>
                    <a:cubicBezTo>
                      <a:pt x="175" y="53"/>
                      <a:pt x="175" y="53"/>
                      <a:pt x="174" y="53"/>
                    </a:cubicBezTo>
                    <a:cubicBezTo>
                      <a:pt x="174" y="52"/>
                      <a:pt x="174" y="52"/>
                      <a:pt x="174" y="52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5" y="55"/>
                    </a:cubicBezTo>
                    <a:cubicBezTo>
                      <a:pt x="175" y="55"/>
                      <a:pt x="175" y="55"/>
                      <a:pt x="174" y="55"/>
                    </a:cubicBezTo>
                    <a:cubicBezTo>
                      <a:pt x="166" y="56"/>
                      <a:pt x="166" y="56"/>
                      <a:pt x="166" y="56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62" y="59"/>
                      <a:pt x="162" y="59"/>
                      <a:pt x="162" y="59"/>
                    </a:cubicBezTo>
                    <a:cubicBezTo>
                      <a:pt x="161" y="59"/>
                      <a:pt x="162" y="59"/>
                      <a:pt x="162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59" y="56"/>
                      <a:pt x="159" y="56"/>
                      <a:pt x="159" y="56"/>
                    </a:cubicBezTo>
                    <a:cubicBezTo>
                      <a:pt x="160" y="56"/>
                      <a:pt x="160" y="56"/>
                      <a:pt x="160" y="56"/>
                    </a:cubicBezTo>
                    <a:cubicBezTo>
                      <a:pt x="160" y="57"/>
                      <a:pt x="160" y="57"/>
                      <a:pt x="160" y="57"/>
                    </a:cubicBezTo>
                    <a:cubicBezTo>
                      <a:pt x="160" y="57"/>
                      <a:pt x="160" y="57"/>
                      <a:pt x="161" y="57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71" y="48"/>
                      <a:pt x="171" y="48"/>
                      <a:pt x="171" y="48"/>
                    </a:cubicBezTo>
                    <a:cubicBezTo>
                      <a:pt x="171" y="48"/>
                      <a:pt x="171" y="48"/>
                      <a:pt x="171" y="47"/>
                    </a:cubicBezTo>
                    <a:cubicBezTo>
                      <a:pt x="171" y="47"/>
                      <a:pt x="171" y="47"/>
                      <a:pt x="171" y="47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72" y="49"/>
                      <a:pt x="172" y="49"/>
                      <a:pt x="172" y="49"/>
                    </a:cubicBezTo>
                    <a:cubicBezTo>
                      <a:pt x="172" y="49"/>
                      <a:pt x="172" y="49"/>
                      <a:pt x="171" y="49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7" y="55"/>
                      <a:pt x="167" y="55"/>
                      <a:pt x="167" y="55"/>
                    </a:cubicBezTo>
                    <a:lnTo>
                      <a:pt x="174" y="54"/>
                    </a:ln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" name="isļíḑe">
                <a:extLst>
                  <a:ext uri="{FF2B5EF4-FFF2-40B4-BE49-F238E27FC236}">
                    <a16:creationId xmlns:a16="http://schemas.microsoft.com/office/drawing/2014/main" id="{86F6C746-24DA-4CEF-A5BE-1C49F7D85F0C}"/>
                  </a:ext>
                </a:extLst>
              </p:cNvPr>
              <p:cNvSpPr/>
              <p:nvPr/>
            </p:nvSpPr>
            <p:spPr bwMode="auto">
              <a:xfrm>
                <a:off x="3667126" y="3184525"/>
                <a:ext cx="492125" cy="496888"/>
              </a:xfrm>
              <a:custGeom>
                <a:avLst/>
                <a:gdLst>
                  <a:gd name="T0" fmla="*/ 74 w 149"/>
                  <a:gd name="T1" fmla="*/ 0 h 149"/>
                  <a:gd name="T2" fmla="*/ 149 w 149"/>
                  <a:gd name="T3" fmla="*/ 74 h 149"/>
                  <a:gd name="T4" fmla="*/ 74 w 149"/>
                  <a:gd name="T5" fmla="*/ 149 h 149"/>
                  <a:gd name="T6" fmla="*/ 0 w 149"/>
                  <a:gd name="T7" fmla="*/ 74 h 149"/>
                  <a:gd name="T8" fmla="*/ 74 w 149"/>
                  <a:gd name="T9" fmla="*/ 0 h 149"/>
                  <a:gd name="T10" fmla="*/ 74 w 149"/>
                  <a:gd name="T11" fmla="*/ 2 h 149"/>
                  <a:gd name="T12" fmla="*/ 2 w 149"/>
                  <a:gd name="T13" fmla="*/ 74 h 149"/>
                  <a:gd name="T14" fmla="*/ 74 w 149"/>
                  <a:gd name="T15" fmla="*/ 146 h 149"/>
                  <a:gd name="T16" fmla="*/ 146 w 149"/>
                  <a:gd name="T17" fmla="*/ 74 h 149"/>
                  <a:gd name="T18" fmla="*/ 74 w 149"/>
                  <a:gd name="T1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9" h="149">
                    <a:moveTo>
                      <a:pt x="74" y="0"/>
                    </a:move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115"/>
                      <a:pt x="115" y="149"/>
                      <a:pt x="74" y="149"/>
                    </a:cubicBezTo>
                    <a:cubicBezTo>
                      <a:pt x="33" y="149"/>
                      <a:pt x="0" y="11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lose/>
                    <a:moveTo>
                      <a:pt x="74" y="2"/>
                    </a:moveTo>
                    <a:cubicBezTo>
                      <a:pt x="35" y="2"/>
                      <a:pt x="2" y="34"/>
                      <a:pt x="2" y="74"/>
                    </a:cubicBezTo>
                    <a:cubicBezTo>
                      <a:pt x="2" y="114"/>
                      <a:pt x="35" y="146"/>
                      <a:pt x="74" y="146"/>
                    </a:cubicBezTo>
                    <a:cubicBezTo>
                      <a:pt x="114" y="146"/>
                      <a:pt x="146" y="114"/>
                      <a:pt x="146" y="74"/>
                    </a:cubicBezTo>
                    <a:cubicBezTo>
                      <a:pt x="146" y="34"/>
                      <a:pt x="114" y="2"/>
                      <a:pt x="74" y="2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ï$lïḋê">
                <a:extLst>
                  <a:ext uri="{FF2B5EF4-FFF2-40B4-BE49-F238E27FC236}">
                    <a16:creationId xmlns:a16="http://schemas.microsoft.com/office/drawing/2014/main" id="{1986E120-C4C2-4DDB-9C59-AD0A8C6CE0F2}"/>
                  </a:ext>
                </a:extLst>
              </p:cNvPr>
              <p:cNvSpPr/>
              <p:nvPr/>
            </p:nvSpPr>
            <p:spPr bwMode="auto">
              <a:xfrm>
                <a:off x="3775076" y="3248025"/>
                <a:ext cx="274638" cy="146050"/>
              </a:xfrm>
              <a:custGeom>
                <a:avLst/>
                <a:gdLst>
                  <a:gd name="T0" fmla="*/ 10 w 83"/>
                  <a:gd name="T1" fmla="*/ 43 h 44"/>
                  <a:gd name="T2" fmla="*/ 18 w 83"/>
                  <a:gd name="T3" fmla="*/ 39 h 44"/>
                  <a:gd name="T4" fmla="*/ 67 w 83"/>
                  <a:gd name="T5" fmla="*/ 39 h 44"/>
                  <a:gd name="T6" fmla="*/ 73 w 83"/>
                  <a:gd name="T7" fmla="*/ 42 h 44"/>
                  <a:gd name="T8" fmla="*/ 76 w 83"/>
                  <a:gd name="T9" fmla="*/ 43 h 44"/>
                  <a:gd name="T10" fmla="*/ 83 w 83"/>
                  <a:gd name="T11" fmla="*/ 35 h 44"/>
                  <a:gd name="T12" fmla="*/ 76 w 83"/>
                  <a:gd name="T13" fmla="*/ 37 h 44"/>
                  <a:gd name="T14" fmla="*/ 69 w 83"/>
                  <a:gd name="T15" fmla="*/ 33 h 44"/>
                  <a:gd name="T16" fmla="*/ 70 w 83"/>
                  <a:gd name="T17" fmla="*/ 26 h 44"/>
                  <a:gd name="T18" fmla="*/ 64 w 83"/>
                  <a:gd name="T19" fmla="*/ 30 h 44"/>
                  <a:gd name="T20" fmla="*/ 59 w 83"/>
                  <a:gd name="T21" fmla="*/ 31 h 44"/>
                  <a:gd name="T22" fmla="*/ 56 w 83"/>
                  <a:gd name="T23" fmla="*/ 29 h 44"/>
                  <a:gd name="T24" fmla="*/ 56 w 83"/>
                  <a:gd name="T25" fmla="*/ 24 h 44"/>
                  <a:gd name="T26" fmla="*/ 58 w 83"/>
                  <a:gd name="T27" fmla="*/ 23 h 44"/>
                  <a:gd name="T28" fmla="*/ 58 w 83"/>
                  <a:gd name="T29" fmla="*/ 19 h 44"/>
                  <a:gd name="T30" fmla="*/ 54 w 83"/>
                  <a:gd name="T31" fmla="*/ 19 h 44"/>
                  <a:gd name="T32" fmla="*/ 53 w 83"/>
                  <a:gd name="T33" fmla="*/ 21 h 44"/>
                  <a:gd name="T34" fmla="*/ 44 w 83"/>
                  <a:gd name="T35" fmla="*/ 21 h 44"/>
                  <a:gd name="T36" fmla="*/ 43 w 83"/>
                  <a:gd name="T37" fmla="*/ 18 h 44"/>
                  <a:gd name="T38" fmla="*/ 44 w 83"/>
                  <a:gd name="T39" fmla="*/ 13 h 44"/>
                  <a:gd name="T40" fmla="*/ 43 w 83"/>
                  <a:gd name="T41" fmla="*/ 8 h 44"/>
                  <a:gd name="T42" fmla="*/ 43 w 83"/>
                  <a:gd name="T43" fmla="*/ 6 h 44"/>
                  <a:gd name="T44" fmla="*/ 43 w 83"/>
                  <a:gd name="T45" fmla="*/ 2 h 44"/>
                  <a:gd name="T46" fmla="*/ 43 w 83"/>
                  <a:gd name="T47" fmla="*/ 0 h 44"/>
                  <a:gd name="T48" fmla="*/ 40 w 83"/>
                  <a:gd name="T49" fmla="*/ 0 h 44"/>
                  <a:gd name="T50" fmla="*/ 39 w 83"/>
                  <a:gd name="T51" fmla="*/ 2 h 44"/>
                  <a:gd name="T52" fmla="*/ 39 w 83"/>
                  <a:gd name="T53" fmla="*/ 6 h 44"/>
                  <a:gd name="T54" fmla="*/ 39 w 83"/>
                  <a:gd name="T55" fmla="*/ 8 h 44"/>
                  <a:gd name="T56" fmla="*/ 38 w 83"/>
                  <a:gd name="T57" fmla="*/ 13 h 44"/>
                  <a:gd name="T58" fmla="*/ 38 w 83"/>
                  <a:gd name="T59" fmla="*/ 18 h 44"/>
                  <a:gd name="T60" fmla="*/ 38 w 83"/>
                  <a:gd name="T61" fmla="*/ 21 h 44"/>
                  <a:gd name="T62" fmla="*/ 30 w 83"/>
                  <a:gd name="T63" fmla="*/ 21 h 44"/>
                  <a:gd name="T64" fmla="*/ 29 w 83"/>
                  <a:gd name="T65" fmla="*/ 19 h 44"/>
                  <a:gd name="T66" fmla="*/ 25 w 83"/>
                  <a:gd name="T67" fmla="*/ 19 h 44"/>
                  <a:gd name="T68" fmla="*/ 25 w 83"/>
                  <a:gd name="T69" fmla="*/ 23 h 44"/>
                  <a:gd name="T70" fmla="*/ 26 w 83"/>
                  <a:gd name="T71" fmla="*/ 24 h 44"/>
                  <a:gd name="T72" fmla="*/ 27 w 83"/>
                  <a:gd name="T73" fmla="*/ 29 h 44"/>
                  <a:gd name="T74" fmla="*/ 22 w 83"/>
                  <a:gd name="T75" fmla="*/ 31 h 44"/>
                  <a:gd name="T76" fmla="*/ 13 w 83"/>
                  <a:gd name="T77" fmla="*/ 26 h 44"/>
                  <a:gd name="T78" fmla="*/ 13 w 83"/>
                  <a:gd name="T79" fmla="*/ 35 h 44"/>
                  <a:gd name="T80" fmla="*/ 7 w 83"/>
                  <a:gd name="T81" fmla="*/ 37 h 44"/>
                  <a:gd name="T82" fmla="*/ 0 w 83"/>
                  <a:gd name="T83" fmla="*/ 34 h 44"/>
                  <a:gd name="T84" fmla="*/ 5 w 83"/>
                  <a:gd name="T85" fmla="*/ 42 h 44"/>
                  <a:gd name="T86" fmla="*/ 10 w 83"/>
                  <a:gd name="T87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44">
                    <a:moveTo>
                      <a:pt x="10" y="43"/>
                    </a:moveTo>
                    <a:cubicBezTo>
                      <a:pt x="18" y="39"/>
                      <a:pt x="18" y="39"/>
                      <a:pt x="18" y="39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4" y="43"/>
                      <a:pt x="75" y="43"/>
                      <a:pt x="76" y="43"/>
                    </a:cubicBezTo>
                    <a:cubicBezTo>
                      <a:pt x="80" y="42"/>
                      <a:pt x="83" y="35"/>
                      <a:pt x="83" y="35"/>
                    </a:cubicBezTo>
                    <a:cubicBezTo>
                      <a:pt x="83" y="35"/>
                      <a:pt x="79" y="38"/>
                      <a:pt x="76" y="37"/>
                    </a:cubicBezTo>
                    <a:cubicBezTo>
                      <a:pt x="73" y="37"/>
                      <a:pt x="69" y="36"/>
                      <a:pt x="69" y="33"/>
                    </a:cubicBezTo>
                    <a:cubicBezTo>
                      <a:pt x="69" y="30"/>
                      <a:pt x="70" y="27"/>
                      <a:pt x="70" y="26"/>
                    </a:cubicBezTo>
                    <a:cubicBezTo>
                      <a:pt x="70" y="26"/>
                      <a:pt x="67" y="29"/>
                      <a:pt x="64" y="30"/>
                    </a:cubicBezTo>
                    <a:cubicBezTo>
                      <a:pt x="61" y="32"/>
                      <a:pt x="60" y="31"/>
                      <a:pt x="59" y="31"/>
                    </a:cubicBezTo>
                    <a:cubicBezTo>
                      <a:pt x="57" y="30"/>
                      <a:pt x="56" y="29"/>
                      <a:pt x="56" y="29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9"/>
                      <a:pt x="54" y="21"/>
                      <a:pt x="53" y="21"/>
                    </a:cubicBezTo>
                    <a:cubicBezTo>
                      <a:pt x="52" y="21"/>
                      <a:pt x="44" y="21"/>
                      <a:pt x="44" y="21"/>
                    </a:cubicBezTo>
                    <a:cubicBezTo>
                      <a:pt x="44" y="21"/>
                      <a:pt x="43" y="20"/>
                      <a:pt x="43" y="18"/>
                    </a:cubicBezTo>
                    <a:cubicBezTo>
                      <a:pt x="44" y="17"/>
                      <a:pt x="44" y="17"/>
                      <a:pt x="44" y="13"/>
                    </a:cubicBezTo>
                    <a:cubicBezTo>
                      <a:pt x="44" y="10"/>
                      <a:pt x="44" y="9"/>
                      <a:pt x="43" y="8"/>
                    </a:cubicBezTo>
                    <a:cubicBezTo>
                      <a:pt x="43" y="7"/>
                      <a:pt x="42" y="7"/>
                      <a:pt x="43" y="6"/>
                    </a:cubicBezTo>
                    <a:cubicBezTo>
                      <a:pt x="44" y="5"/>
                      <a:pt x="44" y="4"/>
                      <a:pt x="43" y="2"/>
                    </a:cubicBezTo>
                    <a:cubicBezTo>
                      <a:pt x="42" y="1"/>
                      <a:pt x="43" y="2"/>
                      <a:pt x="43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9" y="0"/>
                      <a:pt x="40" y="1"/>
                      <a:pt x="39" y="2"/>
                    </a:cubicBezTo>
                    <a:cubicBezTo>
                      <a:pt x="38" y="3"/>
                      <a:pt x="38" y="5"/>
                      <a:pt x="39" y="6"/>
                    </a:cubicBezTo>
                    <a:cubicBezTo>
                      <a:pt x="39" y="7"/>
                      <a:pt x="40" y="7"/>
                      <a:pt x="39" y="8"/>
                    </a:cubicBezTo>
                    <a:cubicBezTo>
                      <a:pt x="38" y="9"/>
                      <a:pt x="38" y="10"/>
                      <a:pt x="38" y="13"/>
                    </a:cubicBezTo>
                    <a:cubicBezTo>
                      <a:pt x="38" y="16"/>
                      <a:pt x="38" y="17"/>
                      <a:pt x="38" y="18"/>
                    </a:cubicBezTo>
                    <a:cubicBezTo>
                      <a:pt x="39" y="20"/>
                      <a:pt x="38" y="21"/>
                      <a:pt x="38" y="21"/>
                    </a:cubicBezTo>
                    <a:cubicBezTo>
                      <a:pt x="37" y="21"/>
                      <a:pt x="30" y="21"/>
                      <a:pt x="30" y="21"/>
                    </a:cubicBezTo>
                    <a:cubicBezTo>
                      <a:pt x="30" y="21"/>
                      <a:pt x="29" y="20"/>
                      <a:pt x="29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4" y="31"/>
                      <a:pt x="22" y="31"/>
                    </a:cubicBezTo>
                    <a:cubicBezTo>
                      <a:pt x="19" y="31"/>
                      <a:pt x="13" y="26"/>
                      <a:pt x="13" y="26"/>
                    </a:cubicBezTo>
                    <a:cubicBezTo>
                      <a:pt x="13" y="26"/>
                      <a:pt x="14" y="33"/>
                      <a:pt x="13" y="35"/>
                    </a:cubicBezTo>
                    <a:cubicBezTo>
                      <a:pt x="13" y="37"/>
                      <a:pt x="10" y="37"/>
                      <a:pt x="7" y="37"/>
                    </a:cubicBezTo>
                    <a:cubicBezTo>
                      <a:pt x="4" y="37"/>
                      <a:pt x="0" y="35"/>
                      <a:pt x="0" y="34"/>
                    </a:cubicBezTo>
                    <a:cubicBezTo>
                      <a:pt x="0" y="34"/>
                      <a:pt x="3" y="40"/>
                      <a:pt x="5" y="42"/>
                    </a:cubicBezTo>
                    <a:cubicBezTo>
                      <a:pt x="7" y="44"/>
                      <a:pt x="10" y="43"/>
                      <a:pt x="10" y="4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išļïḋe">
                <a:extLst>
                  <a:ext uri="{FF2B5EF4-FFF2-40B4-BE49-F238E27FC236}">
                    <a16:creationId xmlns:a16="http://schemas.microsoft.com/office/drawing/2014/main" id="{8BB228DE-5AEC-464A-9C18-1206DBD3E665}"/>
                  </a:ext>
                </a:extLst>
              </p:cNvPr>
              <p:cNvSpPr/>
              <p:nvPr/>
            </p:nvSpPr>
            <p:spPr bwMode="auto">
              <a:xfrm>
                <a:off x="3614738" y="3370263"/>
                <a:ext cx="596900" cy="241300"/>
              </a:xfrm>
              <a:custGeom>
                <a:avLst/>
                <a:gdLst>
                  <a:gd name="T0" fmla="*/ 58 w 181"/>
                  <a:gd name="T1" fmla="*/ 72 h 72"/>
                  <a:gd name="T2" fmla="*/ 8 w 181"/>
                  <a:gd name="T3" fmla="*/ 72 h 72"/>
                  <a:gd name="T4" fmla="*/ 3 w 181"/>
                  <a:gd name="T5" fmla="*/ 63 h 72"/>
                  <a:gd name="T6" fmla="*/ 6 w 181"/>
                  <a:gd name="T7" fmla="*/ 63 h 72"/>
                  <a:gd name="T8" fmla="*/ 11 w 181"/>
                  <a:gd name="T9" fmla="*/ 55 h 72"/>
                  <a:gd name="T10" fmla="*/ 14 w 181"/>
                  <a:gd name="T11" fmla="*/ 55 h 72"/>
                  <a:gd name="T12" fmla="*/ 14 w 181"/>
                  <a:gd name="T13" fmla="*/ 29 h 72"/>
                  <a:gd name="T14" fmla="*/ 0 w 181"/>
                  <a:gd name="T15" fmla="*/ 4 h 72"/>
                  <a:gd name="T16" fmla="*/ 30 w 181"/>
                  <a:gd name="T17" fmla="*/ 0 h 72"/>
                  <a:gd name="T18" fmla="*/ 58 w 181"/>
                  <a:gd name="T19" fmla="*/ 8 h 72"/>
                  <a:gd name="T20" fmla="*/ 51 w 181"/>
                  <a:gd name="T21" fmla="*/ 25 h 72"/>
                  <a:gd name="T22" fmla="*/ 131 w 181"/>
                  <a:gd name="T23" fmla="*/ 25 h 72"/>
                  <a:gd name="T24" fmla="*/ 122 w 181"/>
                  <a:gd name="T25" fmla="*/ 8 h 72"/>
                  <a:gd name="T26" fmla="*/ 150 w 181"/>
                  <a:gd name="T27" fmla="*/ 0 h 72"/>
                  <a:gd name="T28" fmla="*/ 181 w 181"/>
                  <a:gd name="T29" fmla="*/ 5 h 72"/>
                  <a:gd name="T30" fmla="*/ 166 w 181"/>
                  <a:gd name="T31" fmla="*/ 28 h 72"/>
                  <a:gd name="T32" fmla="*/ 166 w 181"/>
                  <a:gd name="T33" fmla="*/ 55 h 72"/>
                  <a:gd name="T34" fmla="*/ 171 w 181"/>
                  <a:gd name="T35" fmla="*/ 55 h 72"/>
                  <a:gd name="T36" fmla="*/ 178 w 181"/>
                  <a:gd name="T37" fmla="*/ 65 h 72"/>
                  <a:gd name="T38" fmla="*/ 174 w 181"/>
                  <a:gd name="T39" fmla="*/ 72 h 72"/>
                  <a:gd name="T40" fmla="*/ 58 w 181"/>
                  <a:gd name="T4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72">
                    <a:moveTo>
                      <a:pt x="58" y="72"/>
                    </a:moveTo>
                    <a:cubicBezTo>
                      <a:pt x="8" y="72"/>
                      <a:pt x="8" y="72"/>
                      <a:pt x="8" y="7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7" y="61"/>
                      <a:pt x="10" y="57"/>
                      <a:pt x="11" y="55"/>
                    </a:cubicBezTo>
                    <a:cubicBezTo>
                      <a:pt x="12" y="55"/>
                      <a:pt x="13" y="55"/>
                      <a:pt x="14" y="55"/>
                    </a:cubicBezTo>
                    <a:cubicBezTo>
                      <a:pt x="14" y="45"/>
                      <a:pt x="14" y="39"/>
                      <a:pt x="14" y="29"/>
                    </a:cubicBezTo>
                    <a:cubicBezTo>
                      <a:pt x="6" y="25"/>
                      <a:pt x="0" y="19"/>
                      <a:pt x="0" y="4"/>
                    </a:cubicBezTo>
                    <a:cubicBezTo>
                      <a:pt x="13" y="19"/>
                      <a:pt x="25" y="20"/>
                      <a:pt x="30" y="0"/>
                    </a:cubicBezTo>
                    <a:cubicBezTo>
                      <a:pt x="40" y="22"/>
                      <a:pt x="50" y="16"/>
                      <a:pt x="58" y="8"/>
                    </a:cubicBezTo>
                    <a:cubicBezTo>
                      <a:pt x="59" y="17"/>
                      <a:pt x="51" y="24"/>
                      <a:pt x="5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8" y="21"/>
                      <a:pt x="123" y="15"/>
                      <a:pt x="122" y="8"/>
                    </a:cubicBezTo>
                    <a:cubicBezTo>
                      <a:pt x="131" y="18"/>
                      <a:pt x="141" y="23"/>
                      <a:pt x="150" y="0"/>
                    </a:cubicBezTo>
                    <a:cubicBezTo>
                      <a:pt x="160" y="23"/>
                      <a:pt x="169" y="16"/>
                      <a:pt x="181" y="5"/>
                    </a:cubicBezTo>
                    <a:cubicBezTo>
                      <a:pt x="178" y="23"/>
                      <a:pt x="174" y="23"/>
                      <a:pt x="166" y="28"/>
                    </a:cubicBezTo>
                    <a:cubicBezTo>
                      <a:pt x="166" y="38"/>
                      <a:pt x="166" y="45"/>
                      <a:pt x="166" y="55"/>
                    </a:cubicBezTo>
                    <a:cubicBezTo>
                      <a:pt x="168" y="55"/>
                      <a:pt x="169" y="55"/>
                      <a:pt x="171" y="5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4" y="72"/>
                      <a:pt x="174" y="72"/>
                      <a:pt x="174" y="72"/>
                    </a:cubicBezTo>
                    <a:lnTo>
                      <a:pt x="58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iSļïḓè">
                <a:extLst>
                  <a:ext uri="{FF2B5EF4-FFF2-40B4-BE49-F238E27FC236}">
                    <a16:creationId xmlns:a16="http://schemas.microsoft.com/office/drawing/2014/main" id="{5EA2C8C1-AC02-4B2C-A46C-2456AA30C003}"/>
                  </a:ext>
                </a:extLst>
              </p:cNvPr>
              <p:cNvSpPr/>
              <p:nvPr/>
            </p:nvSpPr>
            <p:spPr bwMode="auto">
              <a:xfrm>
                <a:off x="3624263" y="3381375"/>
                <a:ext cx="577850" cy="200025"/>
              </a:xfrm>
              <a:custGeom>
                <a:avLst/>
                <a:gdLst>
                  <a:gd name="T0" fmla="*/ 130 w 175"/>
                  <a:gd name="T1" fmla="*/ 51 h 60"/>
                  <a:gd name="T2" fmla="*/ 130 w 175"/>
                  <a:gd name="T3" fmla="*/ 50 h 60"/>
                  <a:gd name="T4" fmla="*/ 48 w 175"/>
                  <a:gd name="T5" fmla="*/ 50 h 60"/>
                  <a:gd name="T6" fmla="*/ 48 w 175"/>
                  <a:gd name="T7" fmla="*/ 51 h 60"/>
                  <a:gd name="T8" fmla="*/ 52 w 175"/>
                  <a:gd name="T9" fmla="*/ 51 h 60"/>
                  <a:gd name="T10" fmla="*/ 48 w 175"/>
                  <a:gd name="T11" fmla="*/ 60 h 60"/>
                  <a:gd name="T12" fmla="*/ 7 w 175"/>
                  <a:gd name="T13" fmla="*/ 60 h 60"/>
                  <a:gd name="T14" fmla="*/ 10 w 175"/>
                  <a:gd name="T15" fmla="*/ 54 h 60"/>
                  <a:gd name="T16" fmla="*/ 14 w 175"/>
                  <a:gd name="T17" fmla="*/ 54 h 60"/>
                  <a:gd name="T18" fmla="*/ 13 w 175"/>
                  <a:gd name="T19" fmla="*/ 25 h 60"/>
                  <a:gd name="T20" fmla="*/ 0 w 175"/>
                  <a:gd name="T21" fmla="*/ 7 h 60"/>
                  <a:gd name="T22" fmla="*/ 28 w 175"/>
                  <a:gd name="T23" fmla="*/ 0 h 60"/>
                  <a:gd name="T24" fmla="*/ 55 w 175"/>
                  <a:gd name="T25" fmla="*/ 7 h 60"/>
                  <a:gd name="T26" fmla="*/ 48 w 175"/>
                  <a:gd name="T27" fmla="*/ 22 h 60"/>
                  <a:gd name="T28" fmla="*/ 127 w 175"/>
                  <a:gd name="T29" fmla="*/ 22 h 60"/>
                  <a:gd name="T30" fmla="*/ 119 w 175"/>
                  <a:gd name="T31" fmla="*/ 7 h 60"/>
                  <a:gd name="T32" fmla="*/ 147 w 175"/>
                  <a:gd name="T33" fmla="*/ 0 h 60"/>
                  <a:gd name="T34" fmla="*/ 175 w 175"/>
                  <a:gd name="T35" fmla="*/ 7 h 60"/>
                  <a:gd name="T36" fmla="*/ 161 w 175"/>
                  <a:gd name="T37" fmla="*/ 24 h 60"/>
                  <a:gd name="T38" fmla="*/ 161 w 175"/>
                  <a:gd name="T39" fmla="*/ 53 h 60"/>
                  <a:gd name="T40" fmla="*/ 165 w 175"/>
                  <a:gd name="T41" fmla="*/ 53 h 60"/>
                  <a:gd name="T42" fmla="*/ 169 w 175"/>
                  <a:gd name="T43" fmla="*/ 60 h 60"/>
                  <a:gd name="T44" fmla="*/ 128 w 175"/>
                  <a:gd name="T45" fmla="*/ 60 h 60"/>
                  <a:gd name="T46" fmla="*/ 124 w 175"/>
                  <a:gd name="T47" fmla="*/ 51 h 60"/>
                  <a:gd name="T48" fmla="*/ 130 w 175"/>
                  <a:gd name="T49" fmla="*/ 5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5" h="60">
                    <a:moveTo>
                      <a:pt x="130" y="51"/>
                    </a:moveTo>
                    <a:cubicBezTo>
                      <a:pt x="130" y="50"/>
                      <a:pt x="130" y="50"/>
                      <a:pt x="130" y="50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34" y="60"/>
                      <a:pt x="20" y="60"/>
                      <a:pt x="7" y="60"/>
                    </a:cubicBezTo>
                    <a:cubicBezTo>
                      <a:pt x="8" y="58"/>
                      <a:pt x="9" y="56"/>
                      <a:pt x="10" y="54"/>
                    </a:cubicBezTo>
                    <a:cubicBezTo>
                      <a:pt x="11" y="54"/>
                      <a:pt x="12" y="54"/>
                      <a:pt x="14" y="54"/>
                    </a:cubicBezTo>
                    <a:cubicBezTo>
                      <a:pt x="14" y="44"/>
                      <a:pt x="13" y="34"/>
                      <a:pt x="13" y="25"/>
                    </a:cubicBezTo>
                    <a:cubicBezTo>
                      <a:pt x="5" y="20"/>
                      <a:pt x="1" y="14"/>
                      <a:pt x="0" y="7"/>
                    </a:cubicBezTo>
                    <a:cubicBezTo>
                      <a:pt x="12" y="18"/>
                      <a:pt x="22" y="17"/>
                      <a:pt x="28" y="0"/>
                    </a:cubicBezTo>
                    <a:cubicBezTo>
                      <a:pt x="37" y="22"/>
                      <a:pt x="47" y="15"/>
                      <a:pt x="55" y="7"/>
                    </a:cubicBezTo>
                    <a:cubicBezTo>
                      <a:pt x="55" y="14"/>
                      <a:pt x="50" y="17"/>
                      <a:pt x="48" y="22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5" y="18"/>
                      <a:pt x="120" y="14"/>
                      <a:pt x="119" y="7"/>
                    </a:cubicBezTo>
                    <a:cubicBezTo>
                      <a:pt x="127" y="15"/>
                      <a:pt x="137" y="22"/>
                      <a:pt x="147" y="0"/>
                    </a:cubicBezTo>
                    <a:cubicBezTo>
                      <a:pt x="153" y="17"/>
                      <a:pt x="163" y="18"/>
                      <a:pt x="175" y="7"/>
                    </a:cubicBezTo>
                    <a:cubicBezTo>
                      <a:pt x="173" y="14"/>
                      <a:pt x="169" y="19"/>
                      <a:pt x="161" y="24"/>
                    </a:cubicBezTo>
                    <a:cubicBezTo>
                      <a:pt x="161" y="34"/>
                      <a:pt x="161" y="44"/>
                      <a:pt x="161" y="53"/>
                    </a:cubicBezTo>
                    <a:cubicBezTo>
                      <a:pt x="162" y="53"/>
                      <a:pt x="164" y="53"/>
                      <a:pt x="165" y="53"/>
                    </a:cubicBezTo>
                    <a:cubicBezTo>
                      <a:pt x="166" y="55"/>
                      <a:pt x="167" y="58"/>
                      <a:pt x="169" y="60"/>
                    </a:cubicBezTo>
                    <a:cubicBezTo>
                      <a:pt x="155" y="60"/>
                      <a:pt x="142" y="60"/>
                      <a:pt x="128" y="60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30" y="51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" name="îŝlíḍè">
                <a:extLst>
                  <a:ext uri="{FF2B5EF4-FFF2-40B4-BE49-F238E27FC236}">
                    <a16:creationId xmlns:a16="http://schemas.microsoft.com/office/drawing/2014/main" id="{313603EF-1ED0-4A36-9108-AE428111BA45}"/>
                  </a:ext>
                </a:extLst>
              </p:cNvPr>
              <p:cNvSpPr/>
              <p:nvPr/>
            </p:nvSpPr>
            <p:spPr bwMode="auto">
              <a:xfrm>
                <a:off x="4065588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iŝḷïḋe">
                <a:extLst>
                  <a:ext uri="{FF2B5EF4-FFF2-40B4-BE49-F238E27FC236}">
                    <a16:creationId xmlns:a16="http://schemas.microsoft.com/office/drawing/2014/main" id="{C5D675E9-628E-4500-B58B-A3D5E14835AB}"/>
                  </a:ext>
                </a:extLst>
              </p:cNvPr>
              <p:cNvSpPr/>
              <p:nvPr/>
            </p:nvSpPr>
            <p:spPr bwMode="auto">
              <a:xfrm>
                <a:off x="3740151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" name="îṣlïďè">
                <a:extLst>
                  <a:ext uri="{FF2B5EF4-FFF2-40B4-BE49-F238E27FC236}">
                    <a16:creationId xmlns:a16="http://schemas.microsoft.com/office/drawing/2014/main" id="{F9526213-9BDB-4DC6-8345-9F7DAF896176}"/>
                  </a:ext>
                </a:extLst>
              </p:cNvPr>
              <p:cNvSpPr/>
              <p:nvPr/>
            </p:nvSpPr>
            <p:spPr bwMode="auto">
              <a:xfrm>
                <a:off x="4125913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ïS1îḍé">
                <a:extLst>
                  <a:ext uri="{FF2B5EF4-FFF2-40B4-BE49-F238E27FC236}">
                    <a16:creationId xmlns:a16="http://schemas.microsoft.com/office/drawing/2014/main" id="{2049DD5D-AA41-447A-A0C5-9E5D307DABE5}"/>
                  </a:ext>
                </a:extLst>
              </p:cNvPr>
              <p:cNvSpPr/>
              <p:nvPr/>
            </p:nvSpPr>
            <p:spPr bwMode="auto">
              <a:xfrm>
                <a:off x="3709988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işḷîďe">
                <a:extLst>
                  <a:ext uri="{FF2B5EF4-FFF2-40B4-BE49-F238E27FC236}">
                    <a16:creationId xmlns:a16="http://schemas.microsoft.com/office/drawing/2014/main" id="{D35846D3-023D-4E57-9176-5F164D158FAC}"/>
                  </a:ext>
                </a:extLst>
              </p:cNvPr>
              <p:cNvSpPr/>
              <p:nvPr/>
            </p:nvSpPr>
            <p:spPr bwMode="auto">
              <a:xfrm>
                <a:off x="4095751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" name="ïśľiḓê">
                <a:extLst>
                  <a:ext uri="{FF2B5EF4-FFF2-40B4-BE49-F238E27FC236}">
                    <a16:creationId xmlns:a16="http://schemas.microsoft.com/office/drawing/2014/main" id="{B6DCDBA2-5422-49FC-8CC8-FF3AE216762D}"/>
                  </a:ext>
                </a:extLst>
              </p:cNvPr>
              <p:cNvSpPr/>
              <p:nvPr/>
            </p:nvSpPr>
            <p:spPr bwMode="auto">
              <a:xfrm>
                <a:off x="3663951" y="3460750"/>
                <a:ext cx="495300" cy="3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ïṩḷïďé">
                <a:extLst>
                  <a:ext uri="{FF2B5EF4-FFF2-40B4-BE49-F238E27FC236}">
                    <a16:creationId xmlns:a16="http://schemas.microsoft.com/office/drawing/2014/main" id="{6943BED3-62B6-4218-B683-629385004C36}"/>
                  </a:ext>
                </a:extLst>
              </p:cNvPr>
              <p:cNvSpPr/>
              <p:nvPr/>
            </p:nvSpPr>
            <p:spPr bwMode="auto">
              <a:xfrm>
                <a:off x="3663951" y="3473450"/>
                <a:ext cx="11588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i$ḷídé">
                <a:extLst>
                  <a:ext uri="{FF2B5EF4-FFF2-40B4-BE49-F238E27FC236}">
                    <a16:creationId xmlns:a16="http://schemas.microsoft.com/office/drawing/2014/main" id="{2552E6F5-3A5C-4526-A935-9C1DF0D0882F}"/>
                  </a:ext>
                </a:extLst>
              </p:cNvPr>
              <p:cNvSpPr/>
              <p:nvPr/>
            </p:nvSpPr>
            <p:spPr bwMode="auto">
              <a:xfrm>
                <a:off x="3789363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" name="ïs1iḓé">
                <a:extLst>
                  <a:ext uri="{FF2B5EF4-FFF2-40B4-BE49-F238E27FC236}">
                    <a16:creationId xmlns:a16="http://schemas.microsoft.com/office/drawing/2014/main" id="{C943CD98-C52A-411F-955D-723794A72DA7}"/>
                  </a:ext>
                </a:extLst>
              </p:cNvPr>
              <p:cNvSpPr/>
              <p:nvPr/>
            </p:nvSpPr>
            <p:spPr bwMode="auto">
              <a:xfrm>
                <a:off x="3851276" y="3473450"/>
                <a:ext cx="571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íSlîḋè">
                <a:extLst>
                  <a:ext uri="{FF2B5EF4-FFF2-40B4-BE49-F238E27FC236}">
                    <a16:creationId xmlns:a16="http://schemas.microsoft.com/office/drawing/2014/main" id="{BF90FC03-62C5-4AB1-95B3-942B1EB7866D}"/>
                  </a:ext>
                </a:extLst>
              </p:cNvPr>
              <p:cNvSpPr/>
              <p:nvPr/>
            </p:nvSpPr>
            <p:spPr bwMode="auto">
              <a:xfrm>
                <a:off x="3917951" y="3473450"/>
                <a:ext cx="555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íṩḷîďê">
                <a:extLst>
                  <a:ext uri="{FF2B5EF4-FFF2-40B4-BE49-F238E27FC236}">
                    <a16:creationId xmlns:a16="http://schemas.microsoft.com/office/drawing/2014/main" id="{F41724ED-B83C-4763-8DAA-140AE29EDDF3}"/>
                  </a:ext>
                </a:extLst>
              </p:cNvPr>
              <p:cNvSpPr/>
              <p:nvPr/>
            </p:nvSpPr>
            <p:spPr bwMode="auto">
              <a:xfrm>
                <a:off x="3994151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" name="îṥḷídè">
                <a:extLst>
                  <a:ext uri="{FF2B5EF4-FFF2-40B4-BE49-F238E27FC236}">
                    <a16:creationId xmlns:a16="http://schemas.microsoft.com/office/drawing/2014/main" id="{80B0B00C-631E-41B5-B62B-6FB04AA9B147}"/>
                  </a:ext>
                </a:extLst>
              </p:cNvPr>
              <p:cNvSpPr/>
              <p:nvPr/>
            </p:nvSpPr>
            <p:spPr bwMode="auto">
              <a:xfrm>
                <a:off x="4046538" y="3473450"/>
                <a:ext cx="11271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" name="îSlíḑè">
                <a:extLst>
                  <a:ext uri="{FF2B5EF4-FFF2-40B4-BE49-F238E27FC236}">
                    <a16:creationId xmlns:a16="http://schemas.microsoft.com/office/drawing/2014/main" id="{39C4CA2F-5EC9-4398-B553-9BE4653799D8}"/>
                  </a:ext>
                </a:extLst>
              </p:cNvPr>
              <p:cNvSpPr/>
              <p:nvPr/>
            </p:nvSpPr>
            <p:spPr bwMode="auto">
              <a:xfrm>
                <a:off x="3979863" y="3473450"/>
                <a:ext cx="793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" name="ïŝḻiḓê">
                <a:extLst>
                  <a:ext uri="{FF2B5EF4-FFF2-40B4-BE49-F238E27FC236}">
                    <a16:creationId xmlns:a16="http://schemas.microsoft.com/office/drawing/2014/main" id="{9E2B88F2-74E4-40BC-92C7-78AE7FDC5A8D}"/>
                  </a:ext>
                </a:extLst>
              </p:cNvPr>
              <p:cNvSpPr/>
              <p:nvPr/>
            </p:nvSpPr>
            <p:spPr bwMode="auto">
              <a:xfrm>
                <a:off x="3838576" y="3473450"/>
                <a:ext cx="63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" name="işļîḓê">
                <a:extLst>
                  <a:ext uri="{FF2B5EF4-FFF2-40B4-BE49-F238E27FC236}">
                    <a16:creationId xmlns:a16="http://schemas.microsoft.com/office/drawing/2014/main" id="{46F481A5-C87F-4220-8A47-6B335800D1A7}"/>
                  </a:ext>
                </a:extLst>
              </p:cNvPr>
              <p:cNvSpPr/>
              <p:nvPr/>
            </p:nvSpPr>
            <p:spPr bwMode="auto">
              <a:xfrm>
                <a:off x="3851276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" name="ïslíḍè">
                <a:extLst>
                  <a:ext uri="{FF2B5EF4-FFF2-40B4-BE49-F238E27FC236}">
                    <a16:creationId xmlns:a16="http://schemas.microsoft.com/office/drawing/2014/main" id="{6D31B4E7-192C-4627-9AB9-D970987A9A1E}"/>
                  </a:ext>
                </a:extLst>
              </p:cNvPr>
              <p:cNvSpPr/>
              <p:nvPr/>
            </p:nvSpPr>
            <p:spPr bwMode="auto">
              <a:xfrm>
                <a:off x="3817938" y="3384550"/>
                <a:ext cx="26988" cy="15875"/>
              </a:xfrm>
              <a:custGeom>
                <a:avLst/>
                <a:gdLst>
                  <a:gd name="T0" fmla="*/ 7 w 8"/>
                  <a:gd name="T1" fmla="*/ 0 h 5"/>
                  <a:gd name="T2" fmla="*/ 8 w 8"/>
                  <a:gd name="T3" fmla="*/ 2 h 5"/>
                  <a:gd name="T4" fmla="*/ 1 w 8"/>
                  <a:gd name="T5" fmla="*/ 5 h 5"/>
                  <a:gd name="T6" fmla="*/ 7 w 8"/>
                  <a:gd name="T7" fmla="*/ 0 h 5"/>
                  <a:gd name="T8" fmla="*/ 7 w 8"/>
                  <a:gd name="T9" fmla="*/ 0 h 5"/>
                  <a:gd name="T10" fmla="*/ 7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7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2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ïṥlïḓé">
                <a:extLst>
                  <a:ext uri="{FF2B5EF4-FFF2-40B4-BE49-F238E27FC236}">
                    <a16:creationId xmlns:a16="http://schemas.microsoft.com/office/drawing/2014/main" id="{C7521351-45F9-4C26-ABE5-E22C4B456B05}"/>
                  </a:ext>
                </a:extLst>
              </p:cNvPr>
              <p:cNvSpPr/>
              <p:nvPr/>
            </p:nvSpPr>
            <p:spPr bwMode="auto">
              <a:xfrm>
                <a:off x="3983038" y="3384550"/>
                <a:ext cx="26988" cy="15875"/>
              </a:xfrm>
              <a:custGeom>
                <a:avLst/>
                <a:gdLst>
                  <a:gd name="T0" fmla="*/ 1 w 8"/>
                  <a:gd name="T1" fmla="*/ 0 h 5"/>
                  <a:gd name="T2" fmla="*/ 0 w 8"/>
                  <a:gd name="T3" fmla="*/ 2 h 5"/>
                  <a:gd name="T4" fmla="*/ 7 w 8"/>
                  <a:gd name="T5" fmla="*/ 5 h 5"/>
                  <a:gd name="T6" fmla="*/ 1 w 8"/>
                  <a:gd name="T7" fmla="*/ 0 h 5"/>
                  <a:gd name="T8" fmla="*/ 1 w 8"/>
                  <a:gd name="T9" fmla="*/ 0 h 5"/>
                  <a:gd name="T10" fmla="*/ 1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8" y="2"/>
                      <a:pt x="1" y="0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ïṩ1îḋé">
                <a:extLst>
                  <a:ext uri="{FF2B5EF4-FFF2-40B4-BE49-F238E27FC236}">
                    <a16:creationId xmlns:a16="http://schemas.microsoft.com/office/drawing/2014/main" id="{06E59F83-706C-4D12-9D04-58110DC52133}"/>
                  </a:ext>
                </a:extLst>
              </p:cNvPr>
              <p:cNvSpPr/>
              <p:nvPr/>
            </p:nvSpPr>
            <p:spPr bwMode="auto">
              <a:xfrm>
                <a:off x="3884613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îšļïďè">
                <a:extLst>
                  <a:ext uri="{FF2B5EF4-FFF2-40B4-BE49-F238E27FC236}">
                    <a16:creationId xmlns:a16="http://schemas.microsoft.com/office/drawing/2014/main" id="{BCA8D50B-CC0C-47D9-ADB9-BA465C9A233C}"/>
                  </a:ext>
                </a:extLst>
              </p:cNvPr>
              <p:cNvSpPr/>
              <p:nvPr/>
            </p:nvSpPr>
            <p:spPr bwMode="auto">
              <a:xfrm>
                <a:off x="3917951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îśḷiḍê">
                <a:extLst>
                  <a:ext uri="{FF2B5EF4-FFF2-40B4-BE49-F238E27FC236}">
                    <a16:creationId xmlns:a16="http://schemas.microsoft.com/office/drawing/2014/main" id="{C95F3493-3F0D-4AFB-A76A-F9ADC5AFE58A}"/>
                  </a:ext>
                </a:extLst>
              </p:cNvPr>
              <p:cNvSpPr/>
              <p:nvPr/>
            </p:nvSpPr>
            <p:spPr bwMode="auto">
              <a:xfrm>
                <a:off x="3951288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íşḷiḑe">
                <a:extLst>
                  <a:ext uri="{FF2B5EF4-FFF2-40B4-BE49-F238E27FC236}">
                    <a16:creationId xmlns:a16="http://schemas.microsoft.com/office/drawing/2014/main" id="{466F0C15-EBBF-4D12-9368-AF666B7294C8}"/>
                  </a:ext>
                </a:extLst>
              </p:cNvPr>
              <p:cNvSpPr/>
              <p:nvPr/>
            </p:nvSpPr>
            <p:spPr bwMode="auto">
              <a:xfrm>
                <a:off x="3771901" y="3484563"/>
                <a:ext cx="7938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iṡļïḓê">
                <a:extLst>
                  <a:ext uri="{FF2B5EF4-FFF2-40B4-BE49-F238E27FC236}">
                    <a16:creationId xmlns:a16="http://schemas.microsoft.com/office/drawing/2014/main" id="{25CAB05A-D5E0-4B51-951C-AEB6305CB637}"/>
                  </a:ext>
                </a:extLst>
              </p:cNvPr>
              <p:cNvSpPr/>
              <p:nvPr/>
            </p:nvSpPr>
            <p:spPr bwMode="auto">
              <a:xfrm>
                <a:off x="3786188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20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20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ïSḻíḋè">
                <a:extLst>
                  <a:ext uri="{FF2B5EF4-FFF2-40B4-BE49-F238E27FC236}">
                    <a16:creationId xmlns:a16="http://schemas.microsoft.com/office/drawing/2014/main" id="{7D60879E-CD8C-4AF6-9FE6-BA157F548D84}"/>
                  </a:ext>
                </a:extLst>
              </p:cNvPr>
              <p:cNvSpPr/>
              <p:nvPr/>
            </p:nvSpPr>
            <p:spPr bwMode="auto">
              <a:xfrm>
                <a:off x="3994151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18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18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ïṩļïḋê">
                <a:extLst>
                  <a:ext uri="{FF2B5EF4-FFF2-40B4-BE49-F238E27FC236}">
                    <a16:creationId xmlns:a16="http://schemas.microsoft.com/office/drawing/2014/main" id="{8B17C918-13D2-4EB5-ADB6-64442D587410}"/>
                  </a:ext>
                </a:extLst>
              </p:cNvPr>
              <p:cNvSpPr/>
              <p:nvPr/>
            </p:nvSpPr>
            <p:spPr bwMode="auto">
              <a:xfrm>
                <a:off x="3851276" y="3484563"/>
                <a:ext cx="122238" cy="60325"/>
              </a:xfrm>
              <a:custGeom>
                <a:avLst/>
                <a:gdLst>
                  <a:gd name="T0" fmla="*/ 9 w 77"/>
                  <a:gd name="T1" fmla="*/ 0 h 38"/>
                  <a:gd name="T2" fmla="*/ 69 w 77"/>
                  <a:gd name="T3" fmla="*/ 0 h 38"/>
                  <a:gd name="T4" fmla="*/ 77 w 77"/>
                  <a:gd name="T5" fmla="*/ 8 h 38"/>
                  <a:gd name="T6" fmla="*/ 77 w 77"/>
                  <a:gd name="T7" fmla="*/ 38 h 38"/>
                  <a:gd name="T8" fmla="*/ 0 w 77"/>
                  <a:gd name="T9" fmla="*/ 38 h 38"/>
                  <a:gd name="T10" fmla="*/ 0 w 77"/>
                  <a:gd name="T11" fmla="*/ 8 h 38"/>
                  <a:gd name="T12" fmla="*/ 9 w 77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38">
                    <a:moveTo>
                      <a:pt x="9" y="0"/>
                    </a:moveTo>
                    <a:lnTo>
                      <a:pt x="69" y="0"/>
                    </a:lnTo>
                    <a:lnTo>
                      <a:pt x="77" y="8"/>
                    </a:lnTo>
                    <a:lnTo>
                      <a:pt x="77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" name="íšlïḓe">
                <a:extLst>
                  <a:ext uri="{FF2B5EF4-FFF2-40B4-BE49-F238E27FC236}">
                    <a16:creationId xmlns:a16="http://schemas.microsoft.com/office/drawing/2014/main" id="{7796021C-205F-4FD8-9BF3-781DD00ED170}"/>
                  </a:ext>
                </a:extLst>
              </p:cNvPr>
              <p:cNvSpPr/>
              <p:nvPr/>
            </p:nvSpPr>
            <p:spPr bwMode="auto">
              <a:xfrm>
                <a:off x="4046538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" name="îŝ1íḍê">
                <a:extLst>
                  <a:ext uri="{FF2B5EF4-FFF2-40B4-BE49-F238E27FC236}">
                    <a16:creationId xmlns:a16="http://schemas.microsoft.com/office/drawing/2014/main" id="{33A641A7-C09C-4921-A37A-EA34D210C621}"/>
                  </a:ext>
                </a:extLst>
              </p:cNvPr>
              <p:cNvSpPr/>
              <p:nvPr/>
            </p:nvSpPr>
            <p:spPr bwMode="auto">
              <a:xfrm>
                <a:off x="3838576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" name="ïšḻïḍê">
                <a:extLst>
                  <a:ext uri="{FF2B5EF4-FFF2-40B4-BE49-F238E27FC236}">
                    <a16:creationId xmlns:a16="http://schemas.microsoft.com/office/drawing/2014/main" id="{6D1F0F85-C898-4474-80E6-43765495B555}"/>
                  </a:ext>
                </a:extLst>
              </p:cNvPr>
              <p:cNvSpPr/>
              <p:nvPr/>
            </p:nvSpPr>
            <p:spPr bwMode="auto">
              <a:xfrm>
                <a:off x="3979863" y="3484563"/>
                <a:ext cx="3175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" name="iŝ1îďê">
                <a:extLst>
                  <a:ext uri="{FF2B5EF4-FFF2-40B4-BE49-F238E27FC236}">
                    <a16:creationId xmlns:a16="http://schemas.microsoft.com/office/drawing/2014/main" id="{3AD9C672-2123-476B-8DAD-931A0DE2B07C}"/>
                  </a:ext>
                </a:extLst>
              </p:cNvPr>
              <p:cNvSpPr/>
              <p:nvPr/>
            </p:nvSpPr>
            <p:spPr bwMode="auto">
              <a:xfrm>
                <a:off x="3811588" y="3551238"/>
                <a:ext cx="2047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" name="îś1íḋê">
                <a:extLst>
                  <a:ext uri="{FF2B5EF4-FFF2-40B4-BE49-F238E27FC236}">
                    <a16:creationId xmlns:a16="http://schemas.microsoft.com/office/drawing/2014/main" id="{1EDB2B0E-AD85-42CD-A71D-29F1057C4216}"/>
                  </a:ext>
                </a:extLst>
              </p:cNvPr>
              <p:cNvSpPr/>
              <p:nvPr/>
            </p:nvSpPr>
            <p:spPr bwMode="auto">
              <a:xfrm>
                <a:off x="3805238" y="3557588"/>
                <a:ext cx="214313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" name="íṣḷïḓé">
                <a:extLst>
                  <a:ext uri="{FF2B5EF4-FFF2-40B4-BE49-F238E27FC236}">
                    <a16:creationId xmlns:a16="http://schemas.microsoft.com/office/drawing/2014/main" id="{37D9AA0D-C325-4381-8C84-7C11CD9DBE47}"/>
                  </a:ext>
                </a:extLst>
              </p:cNvPr>
              <p:cNvSpPr/>
              <p:nvPr/>
            </p:nvSpPr>
            <p:spPr bwMode="auto">
              <a:xfrm>
                <a:off x="3802063" y="3567113"/>
                <a:ext cx="220663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" name="ïśļíḋê">
                <a:extLst>
                  <a:ext uri="{FF2B5EF4-FFF2-40B4-BE49-F238E27FC236}">
                    <a16:creationId xmlns:a16="http://schemas.microsoft.com/office/drawing/2014/main" id="{353B023B-A28A-4B2E-B9DA-069D1F863A35}"/>
                  </a:ext>
                </a:extLst>
              </p:cNvPr>
              <p:cNvSpPr/>
              <p:nvPr/>
            </p:nvSpPr>
            <p:spPr bwMode="auto">
              <a:xfrm>
                <a:off x="3802063" y="3570288"/>
                <a:ext cx="2238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" name="ïŝļiḍè">
                <a:extLst>
                  <a:ext uri="{FF2B5EF4-FFF2-40B4-BE49-F238E27FC236}">
                    <a16:creationId xmlns:a16="http://schemas.microsoft.com/office/drawing/2014/main" id="{F531AA62-049A-4351-BBAD-50931F52A3F7}"/>
                  </a:ext>
                </a:extLst>
              </p:cNvPr>
              <p:cNvSpPr/>
              <p:nvPr/>
            </p:nvSpPr>
            <p:spPr bwMode="auto">
              <a:xfrm>
                <a:off x="3795713" y="3581400"/>
                <a:ext cx="234950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" name="íṧ1îḑé">
                <a:extLst>
                  <a:ext uri="{FF2B5EF4-FFF2-40B4-BE49-F238E27FC236}">
                    <a16:creationId xmlns:a16="http://schemas.microsoft.com/office/drawing/2014/main" id="{CD87381B-5612-40DF-BE44-81EE07F66052}"/>
                  </a:ext>
                </a:extLst>
              </p:cNvPr>
              <p:cNvSpPr/>
              <p:nvPr/>
            </p:nvSpPr>
            <p:spPr bwMode="auto">
              <a:xfrm>
                <a:off x="3633788" y="3587750"/>
                <a:ext cx="560388" cy="6350"/>
              </a:xfrm>
              <a:custGeom>
                <a:avLst/>
                <a:gdLst>
                  <a:gd name="T0" fmla="*/ 0 w 353"/>
                  <a:gd name="T1" fmla="*/ 0 h 4"/>
                  <a:gd name="T2" fmla="*/ 353 w 353"/>
                  <a:gd name="T3" fmla="*/ 0 h 4"/>
                  <a:gd name="T4" fmla="*/ 351 w 353"/>
                  <a:gd name="T5" fmla="*/ 4 h 4"/>
                  <a:gd name="T6" fmla="*/ 2 w 353"/>
                  <a:gd name="T7" fmla="*/ 4 h 4"/>
                  <a:gd name="T8" fmla="*/ 0 w 35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3" h="4">
                    <a:moveTo>
                      <a:pt x="0" y="0"/>
                    </a:moveTo>
                    <a:lnTo>
                      <a:pt x="353" y="0"/>
                    </a:lnTo>
                    <a:lnTo>
                      <a:pt x="351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" name="ïṣḻíḍè">
                <a:extLst>
                  <a:ext uri="{FF2B5EF4-FFF2-40B4-BE49-F238E27FC236}">
                    <a16:creationId xmlns:a16="http://schemas.microsoft.com/office/drawing/2014/main" id="{DDCC47B6-48BC-4F1F-8E72-E785320E6B2F}"/>
                  </a:ext>
                </a:extLst>
              </p:cNvPr>
              <p:cNvSpPr/>
              <p:nvPr/>
            </p:nvSpPr>
            <p:spPr bwMode="auto">
              <a:xfrm>
                <a:off x="3640138" y="3600450"/>
                <a:ext cx="547688" cy="6350"/>
              </a:xfrm>
              <a:custGeom>
                <a:avLst/>
                <a:gdLst>
                  <a:gd name="T0" fmla="*/ 0 w 345"/>
                  <a:gd name="T1" fmla="*/ 0 h 4"/>
                  <a:gd name="T2" fmla="*/ 345 w 345"/>
                  <a:gd name="T3" fmla="*/ 0 h 4"/>
                  <a:gd name="T4" fmla="*/ 343 w 345"/>
                  <a:gd name="T5" fmla="*/ 4 h 4"/>
                  <a:gd name="T6" fmla="*/ 2 w 345"/>
                  <a:gd name="T7" fmla="*/ 4 h 4"/>
                  <a:gd name="T8" fmla="*/ 0 w 34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5" h="4">
                    <a:moveTo>
                      <a:pt x="0" y="0"/>
                    </a:moveTo>
                    <a:lnTo>
                      <a:pt x="345" y="0"/>
                    </a:lnTo>
                    <a:lnTo>
                      <a:pt x="343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" name="i$ľiďê">
                <a:extLst>
                  <a:ext uri="{FF2B5EF4-FFF2-40B4-BE49-F238E27FC236}">
                    <a16:creationId xmlns:a16="http://schemas.microsoft.com/office/drawing/2014/main" id="{96EDA1B1-85BB-44BB-A31A-E64D78BAE2C6}"/>
                  </a:ext>
                </a:extLst>
              </p:cNvPr>
              <p:cNvSpPr/>
              <p:nvPr/>
            </p:nvSpPr>
            <p:spPr bwMode="auto">
              <a:xfrm>
                <a:off x="3736976" y="3406775"/>
                <a:ext cx="352425" cy="4763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" name="iS1ide">
                <a:extLst>
                  <a:ext uri="{FF2B5EF4-FFF2-40B4-BE49-F238E27FC236}">
                    <a16:creationId xmlns:a16="http://schemas.microsoft.com/office/drawing/2014/main" id="{70862CAE-6F7C-4487-8683-45012B5C62CF}"/>
                  </a:ext>
                </a:extLst>
              </p:cNvPr>
              <p:cNvSpPr/>
              <p:nvPr/>
            </p:nvSpPr>
            <p:spPr bwMode="auto">
              <a:xfrm>
                <a:off x="3746501" y="3417888"/>
                <a:ext cx="333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" name="íṧľiḓè">
                <a:extLst>
                  <a:ext uri="{FF2B5EF4-FFF2-40B4-BE49-F238E27FC236}">
                    <a16:creationId xmlns:a16="http://schemas.microsoft.com/office/drawing/2014/main" id="{C19BD3AC-1259-482B-88DF-3C3FCD1D7709}"/>
                  </a:ext>
                </a:extLst>
              </p:cNvPr>
              <p:cNvSpPr/>
              <p:nvPr/>
            </p:nvSpPr>
            <p:spPr bwMode="auto">
              <a:xfrm>
                <a:off x="3805238" y="3417888"/>
                <a:ext cx="211138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" name="íṡḻîdè">
                <a:extLst>
                  <a:ext uri="{FF2B5EF4-FFF2-40B4-BE49-F238E27FC236}">
                    <a16:creationId xmlns:a16="http://schemas.microsoft.com/office/drawing/2014/main" id="{985E07C0-5127-4F0F-842B-67E56759BE98}"/>
                  </a:ext>
                </a:extLst>
              </p:cNvPr>
              <p:cNvSpPr/>
              <p:nvPr/>
            </p:nvSpPr>
            <p:spPr bwMode="auto">
              <a:xfrm>
                <a:off x="3811588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" name="ïṣḻíde">
                <a:extLst>
                  <a:ext uri="{FF2B5EF4-FFF2-40B4-BE49-F238E27FC236}">
                    <a16:creationId xmlns:a16="http://schemas.microsoft.com/office/drawing/2014/main" id="{FFF03E49-0AB4-428D-835E-EC1F5BE360C9}"/>
                  </a:ext>
                </a:extLst>
              </p:cNvPr>
              <p:cNvSpPr/>
              <p:nvPr/>
            </p:nvSpPr>
            <p:spPr bwMode="auto">
              <a:xfrm>
                <a:off x="3802063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" name="îṩḻiḋe">
                <a:extLst>
                  <a:ext uri="{FF2B5EF4-FFF2-40B4-BE49-F238E27FC236}">
                    <a16:creationId xmlns:a16="http://schemas.microsoft.com/office/drawing/2014/main" id="{EF8A27D9-8CB1-4158-89FE-F9F7F68CC6BF}"/>
                  </a:ext>
                </a:extLst>
              </p:cNvPr>
              <p:cNvSpPr/>
              <p:nvPr/>
            </p:nvSpPr>
            <p:spPr bwMode="auto">
              <a:xfrm>
                <a:off x="3789363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" name="îṣḷîdè">
                <a:extLst>
                  <a:ext uri="{FF2B5EF4-FFF2-40B4-BE49-F238E27FC236}">
                    <a16:creationId xmlns:a16="http://schemas.microsoft.com/office/drawing/2014/main" id="{43E4FE3B-9D52-4A67-B8BC-E5334E4C8C0C}"/>
                  </a:ext>
                </a:extLst>
              </p:cNvPr>
              <p:cNvSpPr/>
              <p:nvPr/>
            </p:nvSpPr>
            <p:spPr bwMode="auto">
              <a:xfrm>
                <a:off x="3822701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" name="ísļiḋê">
                <a:extLst>
                  <a:ext uri="{FF2B5EF4-FFF2-40B4-BE49-F238E27FC236}">
                    <a16:creationId xmlns:a16="http://schemas.microsoft.com/office/drawing/2014/main" id="{36A1016A-8AF1-47BB-AECD-B51D00517E5E}"/>
                  </a:ext>
                </a:extLst>
              </p:cNvPr>
              <p:cNvSpPr/>
              <p:nvPr/>
            </p:nvSpPr>
            <p:spPr bwMode="auto">
              <a:xfrm>
                <a:off x="38322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" name="iṣḻîďê">
                <a:extLst>
                  <a:ext uri="{FF2B5EF4-FFF2-40B4-BE49-F238E27FC236}">
                    <a16:creationId xmlns:a16="http://schemas.microsoft.com/office/drawing/2014/main" id="{E1313945-D110-4459-B757-A7B924632B9F}"/>
                  </a:ext>
                </a:extLst>
              </p:cNvPr>
              <p:cNvSpPr/>
              <p:nvPr/>
            </p:nvSpPr>
            <p:spPr bwMode="auto">
              <a:xfrm>
                <a:off x="38449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" name="îṣ1ïḋè">
                <a:extLst>
                  <a:ext uri="{FF2B5EF4-FFF2-40B4-BE49-F238E27FC236}">
                    <a16:creationId xmlns:a16="http://schemas.microsoft.com/office/drawing/2014/main" id="{4C4F1C71-0C75-4B99-AFFA-76F40413B84A}"/>
                  </a:ext>
                </a:extLst>
              </p:cNvPr>
              <p:cNvSpPr/>
              <p:nvPr/>
            </p:nvSpPr>
            <p:spPr bwMode="auto">
              <a:xfrm>
                <a:off x="3854451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" name="ïŝ1ïḍé">
                <a:extLst>
                  <a:ext uri="{FF2B5EF4-FFF2-40B4-BE49-F238E27FC236}">
                    <a16:creationId xmlns:a16="http://schemas.microsoft.com/office/drawing/2014/main" id="{C6E97B8A-BE72-46EE-BBB3-8F19DC57EF8B}"/>
                  </a:ext>
                </a:extLst>
              </p:cNvPr>
              <p:cNvSpPr/>
              <p:nvPr/>
            </p:nvSpPr>
            <p:spPr bwMode="auto">
              <a:xfrm>
                <a:off x="386556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8" name="i$ļíḑe">
                <a:extLst>
                  <a:ext uri="{FF2B5EF4-FFF2-40B4-BE49-F238E27FC236}">
                    <a16:creationId xmlns:a16="http://schemas.microsoft.com/office/drawing/2014/main" id="{5C18CEAA-54A2-4139-AD29-503C8087BF5C}"/>
                  </a:ext>
                </a:extLst>
              </p:cNvPr>
              <p:cNvSpPr/>
              <p:nvPr/>
            </p:nvSpPr>
            <p:spPr bwMode="auto">
              <a:xfrm>
                <a:off x="3878263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9" name="îṣlîḋê">
                <a:extLst>
                  <a:ext uri="{FF2B5EF4-FFF2-40B4-BE49-F238E27FC236}">
                    <a16:creationId xmlns:a16="http://schemas.microsoft.com/office/drawing/2014/main" id="{7D385E76-666E-4BB5-A375-FC428CFE4A6E}"/>
                  </a:ext>
                </a:extLst>
              </p:cNvPr>
              <p:cNvSpPr/>
              <p:nvPr/>
            </p:nvSpPr>
            <p:spPr bwMode="auto">
              <a:xfrm>
                <a:off x="38877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0" name="ïṧľiḋè">
                <a:extLst>
                  <a:ext uri="{FF2B5EF4-FFF2-40B4-BE49-F238E27FC236}">
                    <a16:creationId xmlns:a16="http://schemas.microsoft.com/office/drawing/2014/main" id="{4AB63EEC-57CC-4C87-B8D1-0335ADE1B86A}"/>
                  </a:ext>
                </a:extLst>
              </p:cNvPr>
              <p:cNvSpPr/>
              <p:nvPr/>
            </p:nvSpPr>
            <p:spPr bwMode="auto">
              <a:xfrm>
                <a:off x="3897313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1" name="íSľïḑé">
                <a:extLst>
                  <a:ext uri="{FF2B5EF4-FFF2-40B4-BE49-F238E27FC236}">
                    <a16:creationId xmlns:a16="http://schemas.microsoft.com/office/drawing/2014/main" id="{B25DCC52-BAE4-44C5-8D93-24E3FE3B4E15}"/>
                  </a:ext>
                </a:extLst>
              </p:cNvPr>
              <p:cNvSpPr/>
              <p:nvPr/>
            </p:nvSpPr>
            <p:spPr bwMode="auto">
              <a:xfrm>
                <a:off x="39084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2" name="ïṥľíḓè">
                <a:extLst>
                  <a:ext uri="{FF2B5EF4-FFF2-40B4-BE49-F238E27FC236}">
                    <a16:creationId xmlns:a16="http://schemas.microsoft.com/office/drawing/2014/main" id="{779B7496-24F4-4DCF-B27B-359D75AB8E61}"/>
                  </a:ext>
                </a:extLst>
              </p:cNvPr>
              <p:cNvSpPr/>
              <p:nvPr/>
            </p:nvSpPr>
            <p:spPr bwMode="auto">
              <a:xfrm>
                <a:off x="39211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3" name="íṡḷïďe">
                <a:extLst>
                  <a:ext uri="{FF2B5EF4-FFF2-40B4-BE49-F238E27FC236}">
                    <a16:creationId xmlns:a16="http://schemas.microsoft.com/office/drawing/2014/main" id="{B5752099-C25D-4AA8-ABD0-DB068CEAD64C}"/>
                  </a:ext>
                </a:extLst>
              </p:cNvPr>
              <p:cNvSpPr/>
              <p:nvPr/>
            </p:nvSpPr>
            <p:spPr bwMode="auto">
              <a:xfrm>
                <a:off x="3930651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4" name="iṣ1îdè">
                <a:extLst>
                  <a:ext uri="{FF2B5EF4-FFF2-40B4-BE49-F238E27FC236}">
                    <a16:creationId xmlns:a16="http://schemas.microsoft.com/office/drawing/2014/main" id="{691A2938-DF75-4676-BB03-8C72F85518E7}"/>
                  </a:ext>
                </a:extLst>
              </p:cNvPr>
              <p:cNvSpPr/>
              <p:nvPr/>
            </p:nvSpPr>
            <p:spPr bwMode="auto">
              <a:xfrm>
                <a:off x="3940176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5" name="ïSľidè">
                <a:extLst>
                  <a:ext uri="{FF2B5EF4-FFF2-40B4-BE49-F238E27FC236}">
                    <a16:creationId xmlns:a16="http://schemas.microsoft.com/office/drawing/2014/main" id="{4C1BD89E-03B9-45A2-856E-E3A932E96595}"/>
                  </a:ext>
                </a:extLst>
              </p:cNvPr>
              <p:cNvSpPr/>
              <p:nvPr/>
            </p:nvSpPr>
            <p:spPr bwMode="auto">
              <a:xfrm>
                <a:off x="3951288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2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6" name="ïṧľîḓè">
                <a:extLst>
                  <a:ext uri="{FF2B5EF4-FFF2-40B4-BE49-F238E27FC236}">
                    <a16:creationId xmlns:a16="http://schemas.microsoft.com/office/drawing/2014/main" id="{6A3068DE-0298-46BB-83A3-7F415764F9C1}"/>
                  </a:ext>
                </a:extLst>
              </p:cNvPr>
              <p:cNvSpPr/>
              <p:nvPr/>
            </p:nvSpPr>
            <p:spPr bwMode="auto">
              <a:xfrm>
                <a:off x="39639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7" name="isļiḑe">
                <a:extLst>
                  <a:ext uri="{FF2B5EF4-FFF2-40B4-BE49-F238E27FC236}">
                    <a16:creationId xmlns:a16="http://schemas.microsoft.com/office/drawing/2014/main" id="{B30DFCB4-32B7-4258-A833-DF88F0989B91}"/>
                  </a:ext>
                </a:extLst>
              </p:cNvPr>
              <p:cNvSpPr/>
              <p:nvPr/>
            </p:nvSpPr>
            <p:spPr bwMode="auto">
              <a:xfrm>
                <a:off x="397351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8" name="ï$ḷïdê">
                <a:extLst>
                  <a:ext uri="{FF2B5EF4-FFF2-40B4-BE49-F238E27FC236}">
                    <a16:creationId xmlns:a16="http://schemas.microsoft.com/office/drawing/2014/main" id="{6D80B229-7CBD-43EB-A21E-DE1E51C180D6}"/>
                  </a:ext>
                </a:extLst>
              </p:cNvPr>
              <p:cNvSpPr/>
              <p:nvPr/>
            </p:nvSpPr>
            <p:spPr bwMode="auto">
              <a:xfrm>
                <a:off x="3983038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9" name="išḻíďé">
                <a:extLst>
                  <a:ext uri="{FF2B5EF4-FFF2-40B4-BE49-F238E27FC236}">
                    <a16:creationId xmlns:a16="http://schemas.microsoft.com/office/drawing/2014/main" id="{9490539D-9F66-4942-8CF3-5FEFA586F7D2}"/>
                  </a:ext>
                </a:extLst>
              </p:cNvPr>
              <p:cNvSpPr/>
              <p:nvPr/>
            </p:nvSpPr>
            <p:spPr bwMode="auto">
              <a:xfrm>
                <a:off x="39973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0" name="íṥ1iḋé">
                <a:extLst>
                  <a:ext uri="{FF2B5EF4-FFF2-40B4-BE49-F238E27FC236}">
                    <a16:creationId xmlns:a16="http://schemas.microsoft.com/office/drawing/2014/main" id="{3A377E38-BEEC-420A-8D8C-93C79F733F8B}"/>
                  </a:ext>
                </a:extLst>
              </p:cNvPr>
              <p:cNvSpPr/>
              <p:nvPr/>
            </p:nvSpPr>
            <p:spPr bwMode="auto">
              <a:xfrm>
                <a:off x="4006851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1" name="iŝľïḍe">
                <a:extLst>
                  <a:ext uri="{FF2B5EF4-FFF2-40B4-BE49-F238E27FC236}">
                    <a16:creationId xmlns:a16="http://schemas.microsoft.com/office/drawing/2014/main" id="{EDAF15A0-40BA-4D80-8B0D-96970E43E992}"/>
                  </a:ext>
                </a:extLst>
              </p:cNvPr>
              <p:cNvSpPr/>
              <p:nvPr/>
            </p:nvSpPr>
            <p:spPr bwMode="auto">
              <a:xfrm>
                <a:off x="4016376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2" name="ïŝḷíḓê">
                <a:extLst>
                  <a:ext uri="{FF2B5EF4-FFF2-40B4-BE49-F238E27FC236}">
                    <a16:creationId xmlns:a16="http://schemas.microsoft.com/office/drawing/2014/main" id="{1E2AE592-F530-4573-B7B0-D7A2513382E2}"/>
                  </a:ext>
                </a:extLst>
              </p:cNvPr>
              <p:cNvSpPr/>
              <p:nvPr/>
            </p:nvSpPr>
            <p:spPr bwMode="auto">
              <a:xfrm>
                <a:off x="4025901" y="3421063"/>
                <a:ext cx="7938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3" name="í$1iďê">
                <a:extLst>
                  <a:ext uri="{FF2B5EF4-FFF2-40B4-BE49-F238E27FC236}">
                    <a16:creationId xmlns:a16="http://schemas.microsoft.com/office/drawing/2014/main" id="{996B726F-B0D5-4A01-ABBB-CC4AF3E6264D}"/>
                  </a:ext>
                </a:extLst>
              </p:cNvPr>
              <p:cNvSpPr/>
              <p:nvPr/>
            </p:nvSpPr>
            <p:spPr bwMode="auto">
              <a:xfrm>
                <a:off x="4040188" y="3417888"/>
                <a:ext cx="396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4" name="îşḻîďè">
                <a:extLst>
                  <a:ext uri="{FF2B5EF4-FFF2-40B4-BE49-F238E27FC236}">
                    <a16:creationId xmlns:a16="http://schemas.microsoft.com/office/drawing/2014/main" id="{78E3355D-8745-47A9-AF6E-CF9821C7628D}"/>
                  </a:ext>
                </a:extLst>
              </p:cNvPr>
              <p:cNvSpPr/>
              <p:nvPr/>
            </p:nvSpPr>
            <p:spPr bwMode="auto">
              <a:xfrm>
                <a:off x="3679826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5" name="îṣḻïḍe">
                <a:extLst>
                  <a:ext uri="{FF2B5EF4-FFF2-40B4-BE49-F238E27FC236}">
                    <a16:creationId xmlns:a16="http://schemas.microsoft.com/office/drawing/2014/main" id="{080BE6CA-F092-45A4-A993-1A3E38B9C8D6}"/>
                  </a:ext>
                </a:extLst>
              </p:cNvPr>
              <p:cNvSpPr/>
              <p:nvPr/>
            </p:nvSpPr>
            <p:spPr bwMode="auto">
              <a:xfrm>
                <a:off x="3884613" y="3490913"/>
                <a:ext cx="55563" cy="53975"/>
              </a:xfrm>
              <a:custGeom>
                <a:avLst/>
                <a:gdLst>
                  <a:gd name="T0" fmla="*/ 0 w 35"/>
                  <a:gd name="T1" fmla="*/ 0 h 34"/>
                  <a:gd name="T2" fmla="*/ 35 w 35"/>
                  <a:gd name="T3" fmla="*/ 0 h 34"/>
                  <a:gd name="T4" fmla="*/ 35 w 35"/>
                  <a:gd name="T5" fmla="*/ 34 h 34"/>
                  <a:gd name="T6" fmla="*/ 0 w 35"/>
                  <a:gd name="T7" fmla="*/ 34 h 34"/>
                  <a:gd name="T8" fmla="*/ 0 w 35"/>
                  <a:gd name="T9" fmla="*/ 0 h 34"/>
                  <a:gd name="T10" fmla="*/ 0 w 35"/>
                  <a:gd name="T11" fmla="*/ 0 h 34"/>
                  <a:gd name="T12" fmla="*/ 4 w 35"/>
                  <a:gd name="T13" fmla="*/ 8 h 34"/>
                  <a:gd name="T14" fmla="*/ 4 w 35"/>
                  <a:gd name="T15" fmla="*/ 27 h 34"/>
                  <a:gd name="T16" fmla="*/ 8 w 35"/>
                  <a:gd name="T17" fmla="*/ 27 h 34"/>
                  <a:gd name="T18" fmla="*/ 8 w 35"/>
                  <a:gd name="T19" fmla="*/ 8 h 34"/>
                  <a:gd name="T20" fmla="*/ 4 w 35"/>
                  <a:gd name="T21" fmla="*/ 8 h 34"/>
                  <a:gd name="T22" fmla="*/ 4 w 35"/>
                  <a:gd name="T23" fmla="*/ 8 h 34"/>
                  <a:gd name="T24" fmla="*/ 29 w 35"/>
                  <a:gd name="T25" fmla="*/ 8 h 34"/>
                  <a:gd name="T26" fmla="*/ 29 w 35"/>
                  <a:gd name="T27" fmla="*/ 27 h 34"/>
                  <a:gd name="T28" fmla="*/ 31 w 35"/>
                  <a:gd name="T29" fmla="*/ 27 h 34"/>
                  <a:gd name="T30" fmla="*/ 31 w 35"/>
                  <a:gd name="T31" fmla="*/ 8 h 34"/>
                  <a:gd name="T32" fmla="*/ 29 w 35"/>
                  <a:gd name="T33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4">
                    <a:moveTo>
                      <a:pt x="0" y="0"/>
                    </a:moveTo>
                    <a:lnTo>
                      <a:pt x="35" y="0"/>
                    </a:lnTo>
                    <a:lnTo>
                      <a:pt x="35" y="34"/>
                    </a:lnTo>
                    <a:lnTo>
                      <a:pt x="0" y="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8"/>
                    </a:moveTo>
                    <a:lnTo>
                      <a:pt x="4" y="27"/>
                    </a:lnTo>
                    <a:lnTo>
                      <a:pt x="8" y="27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29" y="8"/>
                    </a:moveTo>
                    <a:lnTo>
                      <a:pt x="29" y="27"/>
                    </a:lnTo>
                    <a:lnTo>
                      <a:pt x="31" y="27"/>
                    </a:lnTo>
                    <a:lnTo>
                      <a:pt x="31" y="8"/>
                    </a:lnTo>
                    <a:lnTo>
                      <a:pt x="29" y="8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6" name="íSḻïďê">
                <a:extLst>
                  <a:ext uri="{FF2B5EF4-FFF2-40B4-BE49-F238E27FC236}">
                    <a16:creationId xmlns:a16="http://schemas.microsoft.com/office/drawing/2014/main" id="{13652092-9B27-4891-9C8F-83F2C542DC7A}"/>
                  </a:ext>
                </a:extLst>
              </p:cNvPr>
              <p:cNvSpPr/>
              <p:nvPr/>
            </p:nvSpPr>
            <p:spPr bwMode="auto">
              <a:xfrm>
                <a:off x="3551238" y="3067050"/>
                <a:ext cx="722313" cy="727075"/>
              </a:xfrm>
              <a:custGeom>
                <a:avLst/>
                <a:gdLst>
                  <a:gd name="T0" fmla="*/ 109 w 219"/>
                  <a:gd name="T1" fmla="*/ 0 h 218"/>
                  <a:gd name="T2" fmla="*/ 219 w 219"/>
                  <a:gd name="T3" fmla="*/ 109 h 218"/>
                  <a:gd name="T4" fmla="*/ 109 w 219"/>
                  <a:gd name="T5" fmla="*/ 218 h 218"/>
                  <a:gd name="T6" fmla="*/ 0 w 219"/>
                  <a:gd name="T7" fmla="*/ 109 h 218"/>
                  <a:gd name="T8" fmla="*/ 109 w 219"/>
                  <a:gd name="T9" fmla="*/ 0 h 218"/>
                  <a:gd name="T10" fmla="*/ 109 w 219"/>
                  <a:gd name="T11" fmla="*/ 3 h 218"/>
                  <a:gd name="T12" fmla="*/ 4 w 219"/>
                  <a:gd name="T13" fmla="*/ 109 h 218"/>
                  <a:gd name="T14" fmla="*/ 109 w 219"/>
                  <a:gd name="T15" fmla="*/ 215 h 218"/>
                  <a:gd name="T16" fmla="*/ 215 w 219"/>
                  <a:gd name="T17" fmla="*/ 109 h 218"/>
                  <a:gd name="T18" fmla="*/ 109 w 219"/>
                  <a:gd name="T19" fmla="*/ 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9" h="218">
                    <a:moveTo>
                      <a:pt x="109" y="0"/>
                    </a:moveTo>
                    <a:cubicBezTo>
                      <a:pt x="170" y="0"/>
                      <a:pt x="219" y="49"/>
                      <a:pt x="219" y="109"/>
                    </a:cubicBezTo>
                    <a:cubicBezTo>
                      <a:pt x="219" y="169"/>
                      <a:pt x="170" y="218"/>
                      <a:pt x="109" y="218"/>
                    </a:cubicBezTo>
                    <a:cubicBezTo>
                      <a:pt x="49" y="218"/>
                      <a:pt x="0" y="169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lose/>
                    <a:moveTo>
                      <a:pt x="109" y="3"/>
                    </a:moveTo>
                    <a:cubicBezTo>
                      <a:pt x="51" y="3"/>
                      <a:pt x="4" y="51"/>
                      <a:pt x="4" y="109"/>
                    </a:cubicBezTo>
                    <a:cubicBezTo>
                      <a:pt x="4" y="167"/>
                      <a:pt x="51" y="215"/>
                      <a:pt x="109" y="215"/>
                    </a:cubicBezTo>
                    <a:cubicBezTo>
                      <a:pt x="168" y="215"/>
                      <a:pt x="215" y="167"/>
                      <a:pt x="215" y="109"/>
                    </a:cubicBezTo>
                    <a:cubicBezTo>
                      <a:pt x="215" y="51"/>
                      <a:pt x="168" y="3"/>
                      <a:pt x="109" y="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8" name="îšḻïďè">
              <a:extLst>
                <a:ext uri="{FF2B5EF4-FFF2-40B4-BE49-F238E27FC236}">
                  <a16:creationId xmlns:a16="http://schemas.microsoft.com/office/drawing/2014/main" id="{C28AEEF1-201A-434E-ADE0-4063FED80911}"/>
                </a:ext>
              </a:extLst>
            </p:cNvPr>
            <p:cNvGrpSpPr/>
            <p:nvPr/>
          </p:nvGrpSpPr>
          <p:grpSpPr>
            <a:xfrm>
              <a:off x="5777051" y="601725"/>
              <a:ext cx="1483367" cy="539516"/>
              <a:chOff x="4412452" y="3106738"/>
              <a:chExt cx="2312689" cy="841148"/>
            </a:xfrm>
          </p:grpSpPr>
          <p:grpSp>
            <p:nvGrpSpPr>
              <p:cNvPr id="109" name="iš1iďé">
                <a:extLst>
                  <a:ext uri="{FF2B5EF4-FFF2-40B4-BE49-F238E27FC236}">
                    <a16:creationId xmlns:a16="http://schemas.microsoft.com/office/drawing/2014/main" id="{1DFB4039-BFA4-4333-A27F-542DC356E53E}"/>
                  </a:ext>
                </a:extLst>
              </p:cNvPr>
              <p:cNvGrpSpPr/>
              <p:nvPr/>
            </p:nvGrpSpPr>
            <p:grpSpPr>
              <a:xfrm>
                <a:off x="4422776" y="3106738"/>
                <a:ext cx="2293937" cy="617538"/>
                <a:chOff x="4422776" y="3106738"/>
                <a:chExt cx="2293937" cy="617538"/>
              </a:xfrm>
            </p:grpSpPr>
            <p:sp>
              <p:nvSpPr>
                <p:cNvPr id="126" name="îśļiḑe">
                  <a:extLst>
                    <a:ext uri="{FF2B5EF4-FFF2-40B4-BE49-F238E27FC236}">
                      <a16:creationId xmlns:a16="http://schemas.microsoft.com/office/drawing/2014/main" id="{6E22FD23-6905-4017-9219-61DCE38DE1D6}"/>
                    </a:ext>
                  </a:extLst>
                </p:cNvPr>
                <p:cNvSpPr/>
                <p:nvPr/>
              </p:nvSpPr>
              <p:spPr bwMode="auto">
                <a:xfrm>
                  <a:off x="4811713" y="3200400"/>
                  <a:ext cx="49213" cy="100013"/>
                </a:xfrm>
                <a:custGeom>
                  <a:avLst/>
                  <a:gdLst>
                    <a:gd name="T0" fmla="*/ 0 w 15"/>
                    <a:gd name="T1" fmla="*/ 1 h 30"/>
                    <a:gd name="T2" fmla="*/ 1 w 15"/>
                    <a:gd name="T3" fmla="*/ 12 h 30"/>
                    <a:gd name="T4" fmla="*/ 0 w 15"/>
                    <a:gd name="T5" fmla="*/ 21 h 30"/>
                    <a:gd name="T6" fmla="*/ 2 w 15"/>
                    <a:gd name="T7" fmla="*/ 28 h 30"/>
                    <a:gd name="T8" fmla="*/ 7 w 15"/>
                    <a:gd name="T9" fmla="*/ 30 h 30"/>
                    <a:gd name="T10" fmla="*/ 12 w 15"/>
                    <a:gd name="T11" fmla="*/ 26 h 30"/>
                    <a:gd name="T12" fmla="*/ 15 w 15"/>
                    <a:gd name="T13" fmla="*/ 18 h 30"/>
                    <a:gd name="T14" fmla="*/ 3 w 15"/>
                    <a:gd name="T15" fmla="*/ 0 h 30"/>
                    <a:gd name="T16" fmla="*/ 0 w 15"/>
                    <a:gd name="T17" fmla="*/ 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30">
                      <a:moveTo>
                        <a:pt x="0" y="1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3"/>
                        <a:pt x="0" y="18"/>
                        <a:pt x="0" y="21"/>
                      </a:cubicBezTo>
                      <a:cubicBezTo>
                        <a:pt x="0" y="24"/>
                        <a:pt x="2" y="25"/>
                        <a:pt x="2" y="2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9" y="27"/>
                        <a:pt x="10" y="29"/>
                        <a:pt x="12" y="26"/>
                      </a:cubicBezTo>
                      <a:cubicBezTo>
                        <a:pt x="14" y="23"/>
                        <a:pt x="14" y="21"/>
                        <a:pt x="15" y="18"/>
                      </a:cubicBezTo>
                      <a:cubicBezTo>
                        <a:pt x="12" y="7"/>
                        <a:pt x="13" y="5"/>
                        <a:pt x="3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7" name="îṥḷiḍé">
                  <a:extLst>
                    <a:ext uri="{FF2B5EF4-FFF2-40B4-BE49-F238E27FC236}">
                      <a16:creationId xmlns:a16="http://schemas.microsoft.com/office/drawing/2014/main" id="{03D75E2C-31F3-4CF0-92E7-3BFEEAA480A7}"/>
                    </a:ext>
                  </a:extLst>
                </p:cNvPr>
                <p:cNvSpPr/>
                <p:nvPr/>
              </p:nvSpPr>
              <p:spPr bwMode="auto">
                <a:xfrm>
                  <a:off x="5221288" y="3184525"/>
                  <a:ext cx="36513" cy="122238"/>
                </a:xfrm>
                <a:custGeom>
                  <a:avLst/>
                  <a:gdLst>
                    <a:gd name="T0" fmla="*/ 0 w 11"/>
                    <a:gd name="T1" fmla="*/ 3 h 37"/>
                    <a:gd name="T2" fmla="*/ 2 w 11"/>
                    <a:gd name="T3" fmla="*/ 14 h 37"/>
                    <a:gd name="T4" fmla="*/ 0 w 11"/>
                    <a:gd name="T5" fmla="*/ 33 h 37"/>
                    <a:gd name="T6" fmla="*/ 0 w 11"/>
                    <a:gd name="T7" fmla="*/ 36 h 37"/>
                    <a:gd name="T8" fmla="*/ 2 w 11"/>
                    <a:gd name="T9" fmla="*/ 37 h 37"/>
                    <a:gd name="T10" fmla="*/ 8 w 11"/>
                    <a:gd name="T11" fmla="*/ 27 h 37"/>
                    <a:gd name="T12" fmla="*/ 11 w 11"/>
                    <a:gd name="T13" fmla="*/ 17 h 37"/>
                    <a:gd name="T14" fmla="*/ 11 w 11"/>
                    <a:gd name="T15" fmla="*/ 15 h 37"/>
                    <a:gd name="T16" fmla="*/ 7 w 11"/>
                    <a:gd name="T17" fmla="*/ 2 h 37"/>
                    <a:gd name="T18" fmla="*/ 2 w 11"/>
                    <a:gd name="T19" fmla="*/ 0 h 37"/>
                    <a:gd name="T20" fmla="*/ 0 w 11"/>
                    <a:gd name="T21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37">
                      <a:moveTo>
                        <a:pt x="0" y="3"/>
                      </a:move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2" y="19"/>
                        <a:pt x="0" y="27"/>
                        <a:pt x="0" y="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2" y="36"/>
                        <a:pt x="1" y="37"/>
                        <a:pt x="2" y="37"/>
                      </a:cubicBezTo>
                      <a:cubicBezTo>
                        <a:pt x="3" y="37"/>
                        <a:pt x="7" y="28"/>
                        <a:pt x="8" y="27"/>
                      </a:cubicBezTo>
                      <a:cubicBezTo>
                        <a:pt x="9" y="24"/>
                        <a:pt x="11" y="21"/>
                        <a:pt x="11" y="17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7"/>
                        <a:pt x="8" y="7"/>
                        <a:pt x="7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1"/>
                        <a:pt x="0" y="1"/>
                        <a:pt x="0" y="3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8" name="isľîďê">
                  <a:extLst>
                    <a:ext uri="{FF2B5EF4-FFF2-40B4-BE49-F238E27FC236}">
                      <a16:creationId xmlns:a16="http://schemas.microsoft.com/office/drawing/2014/main" id="{488A43D7-4BA5-46D2-A68B-08B40D41647E}"/>
                    </a:ext>
                  </a:extLst>
                </p:cNvPr>
                <p:cNvSpPr/>
                <p:nvPr/>
              </p:nvSpPr>
              <p:spPr bwMode="auto">
                <a:xfrm>
                  <a:off x="4554538" y="3251200"/>
                  <a:ext cx="119063" cy="58738"/>
                </a:xfrm>
                <a:custGeom>
                  <a:avLst/>
                  <a:gdLst>
                    <a:gd name="T0" fmla="*/ 0 w 36"/>
                    <a:gd name="T1" fmla="*/ 15 h 18"/>
                    <a:gd name="T2" fmla="*/ 2 w 36"/>
                    <a:gd name="T3" fmla="*/ 16 h 18"/>
                    <a:gd name="T4" fmla="*/ 13 w 36"/>
                    <a:gd name="T5" fmla="*/ 18 h 18"/>
                    <a:gd name="T6" fmla="*/ 16 w 36"/>
                    <a:gd name="T7" fmla="*/ 18 h 18"/>
                    <a:gd name="T8" fmla="*/ 22 w 36"/>
                    <a:gd name="T9" fmla="*/ 17 h 18"/>
                    <a:gd name="T10" fmla="*/ 23 w 36"/>
                    <a:gd name="T11" fmla="*/ 17 h 18"/>
                    <a:gd name="T12" fmla="*/ 30 w 36"/>
                    <a:gd name="T13" fmla="*/ 13 h 18"/>
                    <a:gd name="T14" fmla="*/ 36 w 36"/>
                    <a:gd name="T15" fmla="*/ 8 h 18"/>
                    <a:gd name="T16" fmla="*/ 36 w 36"/>
                    <a:gd name="T17" fmla="*/ 7 h 18"/>
                    <a:gd name="T18" fmla="*/ 36 w 36"/>
                    <a:gd name="T19" fmla="*/ 4 h 18"/>
                    <a:gd name="T20" fmla="*/ 32 w 36"/>
                    <a:gd name="T21" fmla="*/ 0 h 18"/>
                    <a:gd name="T22" fmla="*/ 24 w 36"/>
                    <a:gd name="T23" fmla="*/ 3 h 18"/>
                    <a:gd name="T24" fmla="*/ 16 w 36"/>
                    <a:gd name="T25" fmla="*/ 7 h 18"/>
                    <a:gd name="T26" fmla="*/ 0 w 36"/>
                    <a:gd name="T27" fmla="*/ 1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18">
                      <a:moveTo>
                        <a:pt x="0" y="15"/>
                      </a:moveTo>
                      <a:cubicBezTo>
                        <a:pt x="1" y="16"/>
                        <a:pt x="1" y="16"/>
                        <a:pt x="2" y="16"/>
                      </a:cubicBezTo>
                      <a:cubicBezTo>
                        <a:pt x="6" y="16"/>
                        <a:pt x="9" y="18"/>
                        <a:pt x="13" y="18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6" y="16"/>
                        <a:pt x="28" y="14"/>
                        <a:pt x="30" y="13"/>
                      </a:cubicBezTo>
                      <a:cubicBezTo>
                        <a:pt x="34" y="11"/>
                        <a:pt x="33" y="10"/>
                        <a:pt x="36" y="8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1"/>
                        <a:pt x="33" y="2"/>
                        <a:pt x="32" y="0"/>
                      </a:cubicBezTo>
                      <a:cubicBezTo>
                        <a:pt x="29" y="1"/>
                        <a:pt x="27" y="1"/>
                        <a:pt x="24" y="3"/>
                      </a:cubicBezTo>
                      <a:cubicBezTo>
                        <a:pt x="21" y="4"/>
                        <a:pt x="19" y="6"/>
                        <a:pt x="16" y="7"/>
                      </a:cubicBezTo>
                      <a:cubicBezTo>
                        <a:pt x="11" y="11"/>
                        <a:pt x="4" y="10"/>
                        <a:pt x="0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9" name="ïṩľíḍe">
                  <a:extLst>
                    <a:ext uri="{FF2B5EF4-FFF2-40B4-BE49-F238E27FC236}">
                      <a16:creationId xmlns:a16="http://schemas.microsoft.com/office/drawing/2014/main" id="{14C38F3D-E38F-4857-BFED-35B3BF7399DE}"/>
                    </a:ext>
                  </a:extLst>
                </p:cNvPr>
                <p:cNvSpPr/>
                <p:nvPr/>
              </p:nvSpPr>
              <p:spPr bwMode="auto">
                <a:xfrm>
                  <a:off x="6359526" y="3263900"/>
                  <a:ext cx="93663" cy="139700"/>
                </a:xfrm>
                <a:custGeom>
                  <a:avLst/>
                  <a:gdLst>
                    <a:gd name="T0" fmla="*/ 15 w 28"/>
                    <a:gd name="T1" fmla="*/ 1 h 42"/>
                    <a:gd name="T2" fmla="*/ 6 w 28"/>
                    <a:gd name="T3" fmla="*/ 11 h 42"/>
                    <a:gd name="T4" fmla="*/ 6 w 28"/>
                    <a:gd name="T5" fmla="*/ 13 h 42"/>
                    <a:gd name="T6" fmla="*/ 5 w 28"/>
                    <a:gd name="T7" fmla="*/ 16 h 42"/>
                    <a:gd name="T8" fmla="*/ 6 w 28"/>
                    <a:gd name="T9" fmla="*/ 20 h 42"/>
                    <a:gd name="T10" fmla="*/ 6 w 28"/>
                    <a:gd name="T11" fmla="*/ 21 h 42"/>
                    <a:gd name="T12" fmla="*/ 0 w 28"/>
                    <a:gd name="T13" fmla="*/ 38 h 42"/>
                    <a:gd name="T14" fmla="*/ 0 w 28"/>
                    <a:gd name="T15" fmla="*/ 41 h 42"/>
                    <a:gd name="T16" fmla="*/ 3 w 28"/>
                    <a:gd name="T17" fmla="*/ 42 h 42"/>
                    <a:gd name="T18" fmla="*/ 9 w 28"/>
                    <a:gd name="T19" fmla="*/ 32 h 42"/>
                    <a:gd name="T20" fmla="*/ 12 w 28"/>
                    <a:gd name="T21" fmla="*/ 26 h 42"/>
                    <a:gd name="T22" fmla="*/ 14 w 28"/>
                    <a:gd name="T23" fmla="*/ 26 h 42"/>
                    <a:gd name="T24" fmla="*/ 20 w 28"/>
                    <a:gd name="T25" fmla="*/ 26 h 42"/>
                    <a:gd name="T26" fmla="*/ 28 w 28"/>
                    <a:gd name="T27" fmla="*/ 14 h 42"/>
                    <a:gd name="T28" fmla="*/ 28 w 28"/>
                    <a:gd name="T29" fmla="*/ 6 h 42"/>
                    <a:gd name="T30" fmla="*/ 28 w 28"/>
                    <a:gd name="T31" fmla="*/ 5 h 42"/>
                    <a:gd name="T32" fmla="*/ 27 w 28"/>
                    <a:gd name="T33" fmla="*/ 3 h 42"/>
                    <a:gd name="T34" fmla="*/ 26 w 28"/>
                    <a:gd name="T35" fmla="*/ 3 h 42"/>
                    <a:gd name="T36" fmla="*/ 24 w 28"/>
                    <a:gd name="T37" fmla="*/ 3 h 42"/>
                    <a:gd name="T38" fmla="*/ 23 w 28"/>
                    <a:gd name="T39" fmla="*/ 3 h 42"/>
                    <a:gd name="T40" fmla="*/ 20 w 28"/>
                    <a:gd name="T41" fmla="*/ 0 h 42"/>
                    <a:gd name="T42" fmla="*/ 15 w 28"/>
                    <a:gd name="T43" fmla="*/ 1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8" h="42">
                      <a:moveTo>
                        <a:pt x="15" y="1"/>
                      </a:moveTo>
                      <a:cubicBezTo>
                        <a:pt x="15" y="10"/>
                        <a:pt x="8" y="6"/>
                        <a:pt x="6" y="11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6" y="14"/>
                        <a:pt x="5" y="14"/>
                        <a:pt x="5" y="16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6" y="29"/>
                        <a:pt x="0" y="31"/>
                        <a:pt x="0" y="38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2" y="42"/>
                        <a:pt x="3" y="42"/>
                      </a:cubicBezTo>
                      <a:cubicBezTo>
                        <a:pt x="7" y="42"/>
                        <a:pt x="9" y="36"/>
                        <a:pt x="9" y="32"/>
                      </a:cubicBezTo>
                      <a:cubicBezTo>
                        <a:pt x="9" y="29"/>
                        <a:pt x="10" y="26"/>
                        <a:pt x="12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24" y="24"/>
                        <a:pt x="28" y="21"/>
                        <a:pt x="28" y="14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7" y="3"/>
                        <a:pt x="27" y="3"/>
                        <a:pt x="27" y="3"/>
                      </a:cubicBezTo>
                      <a:cubicBezTo>
                        <a:pt x="26" y="3"/>
                        <a:pt x="26" y="3"/>
                        <a:pt x="26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20" y="0"/>
                        <a:pt x="20" y="0"/>
                        <a:pt x="20" y="0"/>
                      </a:cubicBez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0" name="ïš1íḑe">
                  <a:extLst>
                    <a:ext uri="{FF2B5EF4-FFF2-40B4-BE49-F238E27FC236}">
                      <a16:creationId xmlns:a16="http://schemas.microsoft.com/office/drawing/2014/main" id="{B74B49A0-4C00-4B21-9D72-888AF4BCBC59}"/>
                    </a:ext>
                  </a:extLst>
                </p:cNvPr>
                <p:cNvSpPr/>
                <p:nvPr/>
              </p:nvSpPr>
              <p:spPr bwMode="auto">
                <a:xfrm>
                  <a:off x="5826126" y="3273425"/>
                  <a:ext cx="223838" cy="293688"/>
                </a:xfrm>
                <a:custGeom>
                  <a:avLst/>
                  <a:gdLst>
                    <a:gd name="T0" fmla="*/ 38 w 68"/>
                    <a:gd name="T1" fmla="*/ 16 h 88"/>
                    <a:gd name="T2" fmla="*/ 40 w 68"/>
                    <a:gd name="T3" fmla="*/ 5 h 88"/>
                    <a:gd name="T4" fmla="*/ 36 w 68"/>
                    <a:gd name="T5" fmla="*/ 1 h 88"/>
                    <a:gd name="T6" fmla="*/ 36 w 68"/>
                    <a:gd name="T7" fmla="*/ 1 h 88"/>
                    <a:gd name="T8" fmla="*/ 33 w 68"/>
                    <a:gd name="T9" fmla="*/ 0 h 88"/>
                    <a:gd name="T10" fmla="*/ 24 w 68"/>
                    <a:gd name="T11" fmla="*/ 7 h 88"/>
                    <a:gd name="T12" fmla="*/ 24 w 68"/>
                    <a:gd name="T13" fmla="*/ 8 h 88"/>
                    <a:gd name="T14" fmla="*/ 26 w 68"/>
                    <a:gd name="T15" fmla="*/ 18 h 88"/>
                    <a:gd name="T16" fmla="*/ 27 w 68"/>
                    <a:gd name="T17" fmla="*/ 28 h 88"/>
                    <a:gd name="T18" fmla="*/ 27 w 68"/>
                    <a:gd name="T19" fmla="*/ 39 h 88"/>
                    <a:gd name="T20" fmla="*/ 16 w 68"/>
                    <a:gd name="T21" fmla="*/ 48 h 88"/>
                    <a:gd name="T22" fmla="*/ 7 w 68"/>
                    <a:gd name="T23" fmla="*/ 49 h 88"/>
                    <a:gd name="T24" fmla="*/ 5 w 68"/>
                    <a:gd name="T25" fmla="*/ 49 h 88"/>
                    <a:gd name="T26" fmla="*/ 4 w 68"/>
                    <a:gd name="T27" fmla="*/ 49 h 88"/>
                    <a:gd name="T28" fmla="*/ 0 w 68"/>
                    <a:gd name="T29" fmla="*/ 54 h 88"/>
                    <a:gd name="T30" fmla="*/ 5 w 68"/>
                    <a:gd name="T31" fmla="*/ 60 h 88"/>
                    <a:gd name="T32" fmla="*/ 11 w 68"/>
                    <a:gd name="T33" fmla="*/ 60 h 88"/>
                    <a:gd name="T34" fmla="*/ 13 w 68"/>
                    <a:gd name="T35" fmla="*/ 59 h 88"/>
                    <a:gd name="T36" fmla="*/ 20 w 68"/>
                    <a:gd name="T37" fmla="*/ 66 h 88"/>
                    <a:gd name="T38" fmla="*/ 17 w 68"/>
                    <a:gd name="T39" fmla="*/ 72 h 88"/>
                    <a:gd name="T40" fmla="*/ 13 w 68"/>
                    <a:gd name="T41" fmla="*/ 76 h 88"/>
                    <a:gd name="T42" fmla="*/ 2 w 68"/>
                    <a:gd name="T43" fmla="*/ 82 h 88"/>
                    <a:gd name="T44" fmla="*/ 2 w 68"/>
                    <a:gd name="T45" fmla="*/ 83 h 88"/>
                    <a:gd name="T46" fmla="*/ 2 w 68"/>
                    <a:gd name="T47" fmla="*/ 87 h 88"/>
                    <a:gd name="T48" fmla="*/ 4 w 68"/>
                    <a:gd name="T49" fmla="*/ 88 h 88"/>
                    <a:gd name="T50" fmla="*/ 25 w 68"/>
                    <a:gd name="T51" fmla="*/ 77 h 88"/>
                    <a:gd name="T52" fmla="*/ 31 w 68"/>
                    <a:gd name="T53" fmla="*/ 69 h 88"/>
                    <a:gd name="T54" fmla="*/ 40 w 68"/>
                    <a:gd name="T55" fmla="*/ 63 h 88"/>
                    <a:gd name="T56" fmla="*/ 52 w 68"/>
                    <a:gd name="T57" fmla="*/ 70 h 88"/>
                    <a:gd name="T58" fmla="*/ 48 w 68"/>
                    <a:gd name="T59" fmla="*/ 79 h 88"/>
                    <a:gd name="T60" fmla="*/ 59 w 68"/>
                    <a:gd name="T61" fmla="*/ 81 h 88"/>
                    <a:gd name="T62" fmla="*/ 68 w 68"/>
                    <a:gd name="T63" fmla="*/ 71 h 88"/>
                    <a:gd name="T64" fmla="*/ 59 w 68"/>
                    <a:gd name="T65" fmla="*/ 62 h 88"/>
                    <a:gd name="T66" fmla="*/ 44 w 68"/>
                    <a:gd name="T67" fmla="*/ 60 h 88"/>
                    <a:gd name="T68" fmla="*/ 42 w 68"/>
                    <a:gd name="T69" fmla="*/ 60 h 88"/>
                    <a:gd name="T70" fmla="*/ 36 w 68"/>
                    <a:gd name="T71" fmla="*/ 53 h 88"/>
                    <a:gd name="T72" fmla="*/ 48 w 68"/>
                    <a:gd name="T73" fmla="*/ 42 h 88"/>
                    <a:gd name="T74" fmla="*/ 59 w 68"/>
                    <a:gd name="T75" fmla="*/ 32 h 88"/>
                    <a:gd name="T76" fmla="*/ 59 w 68"/>
                    <a:gd name="T77" fmla="*/ 30 h 88"/>
                    <a:gd name="T78" fmla="*/ 59 w 68"/>
                    <a:gd name="T79" fmla="*/ 29 h 88"/>
                    <a:gd name="T80" fmla="*/ 54 w 68"/>
                    <a:gd name="T81" fmla="*/ 26 h 88"/>
                    <a:gd name="T82" fmla="*/ 51 w 68"/>
                    <a:gd name="T83" fmla="*/ 27 h 88"/>
                    <a:gd name="T84" fmla="*/ 50 w 68"/>
                    <a:gd name="T85" fmla="*/ 27 h 88"/>
                    <a:gd name="T86" fmla="*/ 41 w 68"/>
                    <a:gd name="T87" fmla="*/ 33 h 88"/>
                    <a:gd name="T88" fmla="*/ 38 w 68"/>
                    <a:gd name="T89" fmla="*/ 28 h 88"/>
                    <a:gd name="T90" fmla="*/ 38 w 68"/>
                    <a:gd name="T91" fmla="*/ 27 h 88"/>
                    <a:gd name="T92" fmla="*/ 38 w 68"/>
                    <a:gd name="T93" fmla="*/ 1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8" h="88">
                      <a:moveTo>
                        <a:pt x="38" y="16"/>
                      </a:moveTo>
                      <a:cubicBezTo>
                        <a:pt x="39" y="11"/>
                        <a:pt x="40" y="9"/>
                        <a:pt x="40" y="5"/>
                      </a:cubicBezTo>
                      <a:cubicBezTo>
                        <a:pt x="40" y="3"/>
                        <a:pt x="38" y="1"/>
                        <a:pt x="36" y="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4" y="1"/>
                        <a:pt x="34" y="1"/>
                        <a:pt x="33" y="0"/>
                      </a:cubicBezTo>
                      <a:cubicBezTo>
                        <a:pt x="28" y="3"/>
                        <a:pt x="28" y="1"/>
                        <a:pt x="24" y="7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2"/>
                        <a:pt x="26" y="14"/>
                        <a:pt x="26" y="1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45"/>
                        <a:pt x="22" y="48"/>
                        <a:pt x="16" y="48"/>
                      </a:cubicBezTo>
                      <a:cubicBezTo>
                        <a:pt x="7" y="49"/>
                        <a:pt x="7" y="49"/>
                        <a:pt x="7" y="49"/>
                      </a:cubicBezTo>
                      <a:cubicBezTo>
                        <a:pt x="5" y="49"/>
                        <a:pt x="5" y="49"/>
                        <a:pt x="5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2" y="50"/>
                        <a:pt x="0" y="51"/>
                        <a:pt x="0" y="54"/>
                      </a:cubicBezTo>
                      <a:cubicBezTo>
                        <a:pt x="0" y="56"/>
                        <a:pt x="3" y="60"/>
                        <a:pt x="5" y="60"/>
                      </a:cubicBezTo>
                      <a:cubicBezTo>
                        <a:pt x="11" y="60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3" y="59"/>
                      </a:cubicBezTo>
                      <a:cubicBezTo>
                        <a:pt x="17" y="62"/>
                        <a:pt x="17" y="60"/>
                        <a:pt x="20" y="66"/>
                      </a:cubicBezTo>
                      <a:cubicBezTo>
                        <a:pt x="18" y="69"/>
                        <a:pt x="20" y="68"/>
                        <a:pt x="17" y="72"/>
                      </a:cubicBezTo>
                      <a:cubicBezTo>
                        <a:pt x="15" y="73"/>
                        <a:pt x="15" y="75"/>
                        <a:pt x="13" y="76"/>
                      </a:cubicBezTo>
                      <a:cubicBezTo>
                        <a:pt x="8" y="79"/>
                        <a:pt x="7" y="80"/>
                        <a:pt x="2" y="82"/>
                      </a:cubicBezTo>
                      <a:cubicBezTo>
                        <a:pt x="2" y="83"/>
                        <a:pt x="2" y="83"/>
                        <a:pt x="2" y="83"/>
                      </a:cubicBezTo>
                      <a:cubicBezTo>
                        <a:pt x="2" y="87"/>
                        <a:pt x="2" y="87"/>
                        <a:pt x="2" y="87"/>
                      </a:cubicBezTo>
                      <a:cubicBezTo>
                        <a:pt x="4" y="87"/>
                        <a:pt x="3" y="88"/>
                        <a:pt x="4" y="88"/>
                      </a:cubicBezTo>
                      <a:cubicBezTo>
                        <a:pt x="13" y="88"/>
                        <a:pt x="20" y="82"/>
                        <a:pt x="25" y="77"/>
                      </a:cubicBezTo>
                      <a:cubicBezTo>
                        <a:pt x="26" y="76"/>
                        <a:pt x="30" y="71"/>
                        <a:pt x="31" y="69"/>
                      </a:cubicBezTo>
                      <a:cubicBezTo>
                        <a:pt x="33" y="65"/>
                        <a:pt x="35" y="63"/>
                        <a:pt x="40" y="63"/>
                      </a:cubicBezTo>
                      <a:cubicBezTo>
                        <a:pt x="45" y="63"/>
                        <a:pt x="49" y="67"/>
                        <a:pt x="52" y="70"/>
                      </a:cubicBezTo>
                      <a:cubicBezTo>
                        <a:pt x="48" y="79"/>
                        <a:pt x="48" y="79"/>
                        <a:pt x="48" y="79"/>
                      </a:cubicBezTo>
                      <a:cubicBezTo>
                        <a:pt x="50" y="79"/>
                        <a:pt x="58" y="81"/>
                        <a:pt x="59" y="81"/>
                      </a:cubicBezTo>
                      <a:cubicBezTo>
                        <a:pt x="65" y="81"/>
                        <a:pt x="67" y="76"/>
                        <a:pt x="68" y="71"/>
                      </a:cubicBezTo>
                      <a:cubicBezTo>
                        <a:pt x="67" y="65"/>
                        <a:pt x="63" y="64"/>
                        <a:pt x="59" y="62"/>
                      </a:cubicBezTo>
                      <a:cubicBezTo>
                        <a:pt x="53" y="59"/>
                        <a:pt x="51" y="60"/>
                        <a:pt x="44" y="60"/>
                      </a:cubicBezTo>
                      <a:cubicBezTo>
                        <a:pt x="43" y="60"/>
                        <a:pt x="43" y="60"/>
                        <a:pt x="42" y="60"/>
                      </a:cubicBezTo>
                      <a:cubicBezTo>
                        <a:pt x="40" y="59"/>
                        <a:pt x="36" y="56"/>
                        <a:pt x="36" y="53"/>
                      </a:cubicBezTo>
                      <a:cubicBezTo>
                        <a:pt x="36" y="51"/>
                        <a:pt x="45" y="44"/>
                        <a:pt x="48" y="42"/>
                      </a:cubicBezTo>
                      <a:cubicBezTo>
                        <a:pt x="50" y="41"/>
                        <a:pt x="59" y="34"/>
                        <a:pt x="59" y="32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59" y="29"/>
                        <a:pt x="59" y="29"/>
                        <a:pt x="59" y="29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53" y="27"/>
                        <a:pt x="53" y="27"/>
                        <a:pt x="5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cubicBezTo>
                        <a:pt x="46" y="32"/>
                        <a:pt x="46" y="30"/>
                        <a:pt x="41" y="33"/>
                      </a:cubicBezTo>
                      <a:cubicBezTo>
                        <a:pt x="40" y="31"/>
                        <a:pt x="39" y="30"/>
                        <a:pt x="38" y="28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lnTo>
                        <a:pt x="38" y="16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1" name="iṥḷiḋe">
                  <a:extLst>
                    <a:ext uri="{FF2B5EF4-FFF2-40B4-BE49-F238E27FC236}">
                      <a16:creationId xmlns:a16="http://schemas.microsoft.com/office/drawing/2014/main" id="{1CFA79E5-FEE0-45AA-8340-2705E0A06463}"/>
                    </a:ext>
                  </a:extLst>
                </p:cNvPr>
                <p:cNvSpPr/>
                <p:nvPr/>
              </p:nvSpPr>
              <p:spPr bwMode="auto">
                <a:xfrm>
                  <a:off x="4518026" y="3506788"/>
                  <a:ext cx="53975" cy="71438"/>
                </a:xfrm>
                <a:custGeom>
                  <a:avLst/>
                  <a:gdLst>
                    <a:gd name="T0" fmla="*/ 14 w 16"/>
                    <a:gd name="T1" fmla="*/ 17 h 21"/>
                    <a:gd name="T2" fmla="*/ 16 w 16"/>
                    <a:gd name="T3" fmla="*/ 12 h 21"/>
                    <a:gd name="T4" fmla="*/ 11 w 16"/>
                    <a:gd name="T5" fmla="*/ 5 h 21"/>
                    <a:gd name="T6" fmla="*/ 5 w 16"/>
                    <a:gd name="T7" fmla="*/ 0 h 21"/>
                    <a:gd name="T8" fmla="*/ 2 w 16"/>
                    <a:gd name="T9" fmla="*/ 4 h 21"/>
                    <a:gd name="T10" fmla="*/ 2 w 16"/>
                    <a:gd name="T11" fmla="*/ 5 h 21"/>
                    <a:gd name="T12" fmla="*/ 2 w 16"/>
                    <a:gd name="T13" fmla="*/ 8 h 21"/>
                    <a:gd name="T14" fmla="*/ 2 w 16"/>
                    <a:gd name="T15" fmla="*/ 9 h 21"/>
                    <a:gd name="T16" fmla="*/ 0 w 16"/>
                    <a:gd name="T17" fmla="*/ 17 h 21"/>
                    <a:gd name="T18" fmla="*/ 3 w 16"/>
                    <a:gd name="T19" fmla="*/ 21 h 21"/>
                    <a:gd name="T20" fmla="*/ 4 w 16"/>
                    <a:gd name="T21" fmla="*/ 21 h 21"/>
                    <a:gd name="T22" fmla="*/ 5 w 16"/>
                    <a:gd name="T23" fmla="*/ 21 h 21"/>
                    <a:gd name="T24" fmla="*/ 14 w 16"/>
                    <a:gd name="T25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21">
                      <a:moveTo>
                        <a:pt x="14" y="17"/>
                      </a:moveTo>
                      <a:cubicBezTo>
                        <a:pt x="14" y="15"/>
                        <a:pt x="16" y="13"/>
                        <a:pt x="16" y="12"/>
                      </a:cubicBezTo>
                      <a:cubicBezTo>
                        <a:pt x="16" y="11"/>
                        <a:pt x="12" y="7"/>
                        <a:pt x="11" y="5"/>
                      </a:cubicBezTo>
                      <a:cubicBezTo>
                        <a:pt x="11" y="3"/>
                        <a:pt x="8" y="0"/>
                        <a:pt x="5" y="0"/>
                      </a:cubicBezTo>
                      <a:cubicBezTo>
                        <a:pt x="4" y="0"/>
                        <a:pt x="3" y="3"/>
                        <a:pt x="2" y="4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9"/>
                        <a:pt x="2" y="9"/>
                        <a:pt x="2" y="9"/>
                      </a:cubicBezTo>
                      <a:cubicBezTo>
                        <a:pt x="1" y="11"/>
                        <a:pt x="0" y="14"/>
                        <a:pt x="0" y="17"/>
                      </a:cubicBezTo>
                      <a:cubicBezTo>
                        <a:pt x="0" y="19"/>
                        <a:pt x="1" y="20"/>
                        <a:pt x="3" y="21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7" y="21"/>
                        <a:pt x="11" y="17"/>
                        <a:pt x="14" y="17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2" name="î$ļîḋè">
                  <a:extLst>
                    <a:ext uri="{FF2B5EF4-FFF2-40B4-BE49-F238E27FC236}">
                      <a16:creationId xmlns:a16="http://schemas.microsoft.com/office/drawing/2014/main" id="{BCF88A17-6E5B-4E42-8BF8-B406AE08D2C4}"/>
                    </a:ext>
                  </a:extLst>
                </p:cNvPr>
                <p:cNvSpPr/>
                <p:nvPr/>
              </p:nvSpPr>
              <p:spPr bwMode="auto">
                <a:xfrm>
                  <a:off x="5319713" y="3133725"/>
                  <a:ext cx="222250" cy="500063"/>
                </a:xfrm>
                <a:custGeom>
                  <a:avLst/>
                  <a:gdLst>
                    <a:gd name="T0" fmla="*/ 47 w 67"/>
                    <a:gd name="T1" fmla="*/ 96 h 150"/>
                    <a:gd name="T2" fmla="*/ 51 w 67"/>
                    <a:gd name="T3" fmla="*/ 96 h 150"/>
                    <a:gd name="T4" fmla="*/ 46 w 67"/>
                    <a:gd name="T5" fmla="*/ 114 h 150"/>
                    <a:gd name="T6" fmla="*/ 42 w 67"/>
                    <a:gd name="T7" fmla="*/ 113 h 150"/>
                    <a:gd name="T8" fmla="*/ 39 w 67"/>
                    <a:gd name="T9" fmla="*/ 108 h 150"/>
                    <a:gd name="T10" fmla="*/ 21 w 67"/>
                    <a:gd name="T11" fmla="*/ 78 h 150"/>
                    <a:gd name="T12" fmla="*/ 29 w 67"/>
                    <a:gd name="T13" fmla="*/ 73 h 150"/>
                    <a:gd name="T14" fmla="*/ 32 w 67"/>
                    <a:gd name="T15" fmla="*/ 74 h 150"/>
                    <a:gd name="T16" fmla="*/ 32 w 67"/>
                    <a:gd name="T17" fmla="*/ 77 h 150"/>
                    <a:gd name="T18" fmla="*/ 32 w 67"/>
                    <a:gd name="T19" fmla="*/ 79 h 150"/>
                    <a:gd name="T20" fmla="*/ 21 w 67"/>
                    <a:gd name="T21" fmla="*/ 78 h 150"/>
                    <a:gd name="T22" fmla="*/ 53 w 67"/>
                    <a:gd name="T23" fmla="*/ 118 h 150"/>
                    <a:gd name="T24" fmla="*/ 66 w 67"/>
                    <a:gd name="T25" fmla="*/ 108 h 150"/>
                    <a:gd name="T26" fmla="*/ 60 w 67"/>
                    <a:gd name="T27" fmla="*/ 98 h 150"/>
                    <a:gd name="T28" fmla="*/ 51 w 67"/>
                    <a:gd name="T29" fmla="*/ 82 h 150"/>
                    <a:gd name="T30" fmla="*/ 47 w 67"/>
                    <a:gd name="T31" fmla="*/ 71 h 150"/>
                    <a:gd name="T32" fmla="*/ 60 w 67"/>
                    <a:gd name="T33" fmla="*/ 58 h 150"/>
                    <a:gd name="T34" fmla="*/ 53 w 67"/>
                    <a:gd name="T35" fmla="*/ 52 h 150"/>
                    <a:gd name="T36" fmla="*/ 44 w 67"/>
                    <a:gd name="T37" fmla="*/ 50 h 150"/>
                    <a:gd name="T38" fmla="*/ 48 w 67"/>
                    <a:gd name="T39" fmla="*/ 38 h 150"/>
                    <a:gd name="T40" fmla="*/ 66 w 67"/>
                    <a:gd name="T41" fmla="*/ 17 h 150"/>
                    <a:gd name="T42" fmla="*/ 66 w 67"/>
                    <a:gd name="T43" fmla="*/ 13 h 150"/>
                    <a:gd name="T44" fmla="*/ 56 w 67"/>
                    <a:gd name="T45" fmla="*/ 1 h 150"/>
                    <a:gd name="T46" fmla="*/ 55 w 67"/>
                    <a:gd name="T47" fmla="*/ 7 h 150"/>
                    <a:gd name="T48" fmla="*/ 50 w 67"/>
                    <a:gd name="T49" fmla="*/ 18 h 150"/>
                    <a:gd name="T50" fmla="*/ 42 w 67"/>
                    <a:gd name="T51" fmla="*/ 15 h 150"/>
                    <a:gd name="T52" fmla="*/ 40 w 67"/>
                    <a:gd name="T53" fmla="*/ 15 h 150"/>
                    <a:gd name="T54" fmla="*/ 41 w 67"/>
                    <a:gd name="T55" fmla="*/ 26 h 150"/>
                    <a:gd name="T56" fmla="*/ 41 w 67"/>
                    <a:gd name="T57" fmla="*/ 30 h 150"/>
                    <a:gd name="T58" fmla="*/ 37 w 67"/>
                    <a:gd name="T59" fmla="*/ 33 h 150"/>
                    <a:gd name="T60" fmla="*/ 30 w 67"/>
                    <a:gd name="T61" fmla="*/ 29 h 150"/>
                    <a:gd name="T62" fmla="*/ 9 w 67"/>
                    <a:gd name="T63" fmla="*/ 50 h 150"/>
                    <a:gd name="T64" fmla="*/ 4 w 67"/>
                    <a:gd name="T65" fmla="*/ 59 h 150"/>
                    <a:gd name="T66" fmla="*/ 23 w 67"/>
                    <a:gd name="T67" fmla="*/ 51 h 150"/>
                    <a:gd name="T68" fmla="*/ 30 w 67"/>
                    <a:gd name="T69" fmla="*/ 58 h 150"/>
                    <a:gd name="T70" fmla="*/ 26 w 67"/>
                    <a:gd name="T71" fmla="*/ 65 h 150"/>
                    <a:gd name="T72" fmla="*/ 19 w 67"/>
                    <a:gd name="T73" fmla="*/ 64 h 150"/>
                    <a:gd name="T74" fmla="*/ 16 w 67"/>
                    <a:gd name="T75" fmla="*/ 67 h 150"/>
                    <a:gd name="T76" fmla="*/ 16 w 67"/>
                    <a:gd name="T77" fmla="*/ 72 h 150"/>
                    <a:gd name="T78" fmla="*/ 3 w 67"/>
                    <a:gd name="T79" fmla="*/ 105 h 150"/>
                    <a:gd name="T80" fmla="*/ 6 w 67"/>
                    <a:gd name="T81" fmla="*/ 110 h 150"/>
                    <a:gd name="T82" fmla="*/ 9 w 67"/>
                    <a:gd name="T83" fmla="*/ 111 h 150"/>
                    <a:gd name="T84" fmla="*/ 24 w 67"/>
                    <a:gd name="T85" fmla="*/ 89 h 150"/>
                    <a:gd name="T86" fmla="*/ 32 w 67"/>
                    <a:gd name="T87" fmla="*/ 93 h 150"/>
                    <a:gd name="T88" fmla="*/ 32 w 67"/>
                    <a:gd name="T89" fmla="*/ 96 h 150"/>
                    <a:gd name="T90" fmla="*/ 29 w 67"/>
                    <a:gd name="T91" fmla="*/ 113 h 150"/>
                    <a:gd name="T92" fmla="*/ 29 w 67"/>
                    <a:gd name="T93" fmla="*/ 115 h 150"/>
                    <a:gd name="T94" fmla="*/ 22 w 67"/>
                    <a:gd name="T95" fmla="*/ 122 h 150"/>
                    <a:gd name="T96" fmla="*/ 10 w 67"/>
                    <a:gd name="T97" fmla="*/ 124 h 150"/>
                    <a:gd name="T98" fmla="*/ 15 w 67"/>
                    <a:gd name="T99" fmla="*/ 144 h 150"/>
                    <a:gd name="T100" fmla="*/ 17 w 67"/>
                    <a:gd name="T101" fmla="*/ 150 h 150"/>
                    <a:gd name="T102" fmla="*/ 38 w 67"/>
                    <a:gd name="T103" fmla="*/ 12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7" h="150">
                      <a:moveTo>
                        <a:pt x="39" y="107"/>
                      </a:moveTo>
                      <a:cubicBezTo>
                        <a:pt x="39" y="103"/>
                        <a:pt x="44" y="96"/>
                        <a:pt x="47" y="96"/>
                      </a:cubicBez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3" y="98"/>
                        <a:pt x="55" y="101"/>
                        <a:pt x="55" y="104"/>
                      </a:cubicBezTo>
                      <a:cubicBezTo>
                        <a:pt x="55" y="108"/>
                        <a:pt x="49" y="112"/>
                        <a:pt x="46" y="114"/>
                      </a:cubicBezTo>
                      <a:cubicBezTo>
                        <a:pt x="45" y="114"/>
                        <a:pt x="45" y="113"/>
                        <a:pt x="43" y="113"/>
                      </a:cubicBezTo>
                      <a:cubicBezTo>
                        <a:pt x="42" y="113"/>
                        <a:pt x="42" y="113"/>
                        <a:pt x="42" y="113"/>
                      </a:cubicBezTo>
                      <a:cubicBezTo>
                        <a:pt x="39" y="109"/>
                        <a:pt x="39" y="109"/>
                        <a:pt x="39" y="109"/>
                      </a:cubicBezTo>
                      <a:cubicBezTo>
                        <a:pt x="39" y="108"/>
                        <a:pt x="39" y="108"/>
                        <a:pt x="39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lose/>
                      <a:moveTo>
                        <a:pt x="21" y="78"/>
                      </a:moveTo>
                      <a:cubicBezTo>
                        <a:pt x="21" y="77"/>
                        <a:pt x="25" y="73"/>
                        <a:pt x="26" y="73"/>
                      </a:cubicBezTo>
                      <a:cubicBezTo>
                        <a:pt x="27" y="73"/>
                        <a:pt x="27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4"/>
                        <a:pt x="32" y="74"/>
                        <a:pt x="32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2" y="79"/>
                        <a:pt x="32" y="79"/>
                        <a:pt x="32" y="79"/>
                      </a:cubicBezTo>
                      <a:cubicBezTo>
                        <a:pt x="31" y="82"/>
                        <a:pt x="29" y="83"/>
                        <a:pt x="25" y="83"/>
                      </a:cubicBezTo>
                      <a:cubicBezTo>
                        <a:pt x="23" y="83"/>
                        <a:pt x="21" y="81"/>
                        <a:pt x="21" y="78"/>
                      </a:cubicBezTo>
                      <a:close/>
                      <a:moveTo>
                        <a:pt x="38" y="125"/>
                      </a:moveTo>
                      <a:cubicBezTo>
                        <a:pt x="43" y="122"/>
                        <a:pt x="47" y="120"/>
                        <a:pt x="53" y="118"/>
                      </a:cubicBezTo>
                      <a:cubicBezTo>
                        <a:pt x="57" y="116"/>
                        <a:pt x="57" y="116"/>
                        <a:pt x="60" y="114"/>
                      </a:cubicBezTo>
                      <a:cubicBezTo>
                        <a:pt x="64" y="111"/>
                        <a:pt x="63" y="110"/>
                        <a:pt x="66" y="108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4" y="100"/>
                        <a:pt x="64" y="101"/>
                        <a:pt x="60" y="98"/>
                      </a:cubicBezTo>
                      <a:cubicBezTo>
                        <a:pt x="58" y="96"/>
                        <a:pt x="55" y="95"/>
                        <a:pt x="54" y="92"/>
                      </a:cubicBezTo>
                      <a:cubicBezTo>
                        <a:pt x="53" y="88"/>
                        <a:pt x="53" y="84"/>
                        <a:pt x="51" y="82"/>
                      </a:cubicBezTo>
                      <a:cubicBezTo>
                        <a:pt x="49" y="79"/>
                        <a:pt x="47" y="77"/>
                        <a:pt x="47" y="73"/>
                      </a:cubicBezTo>
                      <a:cubicBezTo>
                        <a:pt x="47" y="72"/>
                        <a:pt x="47" y="72"/>
                        <a:pt x="47" y="71"/>
                      </a:cubicBezTo>
                      <a:cubicBezTo>
                        <a:pt x="49" y="67"/>
                        <a:pt x="47" y="67"/>
                        <a:pt x="53" y="64"/>
                      </a:cubicBezTo>
                      <a:cubicBezTo>
                        <a:pt x="55" y="64"/>
                        <a:pt x="60" y="60"/>
                        <a:pt x="60" y="58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60" y="53"/>
                        <a:pt x="56" y="51"/>
                        <a:pt x="53" y="52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6" y="52"/>
                        <a:pt x="45" y="51"/>
                        <a:pt x="44" y="50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44"/>
                        <a:pt x="47" y="41"/>
                        <a:pt x="48" y="38"/>
                      </a:cubicBezTo>
                      <a:cubicBezTo>
                        <a:pt x="49" y="34"/>
                        <a:pt x="50" y="33"/>
                        <a:pt x="53" y="30"/>
                      </a:cubicBezTo>
                      <a:cubicBezTo>
                        <a:pt x="56" y="27"/>
                        <a:pt x="66" y="22"/>
                        <a:pt x="66" y="17"/>
                      </a:cubicBezTo>
                      <a:cubicBezTo>
                        <a:pt x="66" y="14"/>
                        <a:pt x="66" y="14"/>
                        <a:pt x="66" y="14"/>
                      </a:cubicBezTo>
                      <a:cubicBezTo>
                        <a:pt x="66" y="13"/>
                        <a:pt x="66" y="13"/>
                        <a:pt x="66" y="13"/>
                      </a:cubicBezTo>
                      <a:cubicBezTo>
                        <a:pt x="65" y="10"/>
                        <a:pt x="62" y="0"/>
                        <a:pt x="58" y="0"/>
                      </a:cubicBezTo>
                      <a:cubicBezTo>
                        <a:pt x="57" y="0"/>
                        <a:pt x="57" y="0"/>
                        <a:pt x="56" y="1"/>
                      </a:cubicBezTo>
                      <a:cubicBezTo>
                        <a:pt x="56" y="3"/>
                        <a:pt x="55" y="3"/>
                        <a:pt x="55" y="5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11"/>
                        <a:pt x="53" y="15"/>
                        <a:pt x="51" y="18"/>
                      </a:cubicBezTo>
                      <a:cubicBezTo>
                        <a:pt x="50" y="18"/>
                        <a:pt x="50" y="18"/>
                        <a:pt x="50" y="18"/>
                      </a:cubicBezTo>
                      <a:cubicBezTo>
                        <a:pt x="48" y="18"/>
                        <a:pt x="48" y="18"/>
                        <a:pt x="47" y="19"/>
                      </a:cubicBezTo>
                      <a:cubicBezTo>
                        <a:pt x="42" y="15"/>
                        <a:pt x="42" y="15"/>
                        <a:pt x="42" y="15"/>
                      </a:cubicBezTo>
                      <a:cubicBezTo>
                        <a:pt x="41" y="15"/>
                        <a:pt x="41" y="15"/>
                        <a:pt x="41" y="15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39" y="15"/>
                        <a:pt x="38" y="16"/>
                        <a:pt x="38" y="17"/>
                      </a:cubicBezTo>
                      <a:cubicBezTo>
                        <a:pt x="38" y="19"/>
                        <a:pt x="41" y="22"/>
                        <a:pt x="41" y="26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30"/>
                        <a:pt x="41" y="30"/>
                        <a:pt x="41" y="30"/>
                      </a:cubicBezTo>
                      <a:cubicBezTo>
                        <a:pt x="38" y="33"/>
                        <a:pt x="38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5" y="34"/>
                        <a:pt x="34" y="34"/>
                      </a:cubicBezTo>
                      <a:cubicBezTo>
                        <a:pt x="32" y="33"/>
                        <a:pt x="31" y="31"/>
                        <a:pt x="30" y="29"/>
                      </a:cubicBezTo>
                      <a:cubicBezTo>
                        <a:pt x="24" y="29"/>
                        <a:pt x="30" y="41"/>
                        <a:pt x="19" y="45"/>
                      </a:cubicBezTo>
                      <a:cubicBezTo>
                        <a:pt x="16" y="46"/>
                        <a:pt x="12" y="48"/>
                        <a:pt x="9" y="50"/>
                      </a:cubicBezTo>
                      <a:cubicBezTo>
                        <a:pt x="6" y="51"/>
                        <a:pt x="1" y="53"/>
                        <a:pt x="0" y="55"/>
                      </a:cubicBezTo>
                      <a:cubicBezTo>
                        <a:pt x="1" y="58"/>
                        <a:pt x="1" y="57"/>
                        <a:pt x="4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10" y="59"/>
                        <a:pt x="20" y="51"/>
                        <a:pt x="23" y="51"/>
                      </a:cubicBezTo>
                      <a:cubicBezTo>
                        <a:pt x="25" y="51"/>
                        <a:pt x="24" y="51"/>
                        <a:pt x="27" y="52"/>
                      </a:cubicBezTo>
                      <a:cubicBezTo>
                        <a:pt x="29" y="54"/>
                        <a:pt x="29" y="55"/>
                        <a:pt x="30" y="58"/>
                      </a:cubicBezTo>
                      <a:cubicBezTo>
                        <a:pt x="30" y="59"/>
                        <a:pt x="30" y="59"/>
                        <a:pt x="30" y="59"/>
                      </a:cubicBezTo>
                      <a:cubicBezTo>
                        <a:pt x="30" y="62"/>
                        <a:pt x="28" y="64"/>
                        <a:pt x="26" y="65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4"/>
                        <a:pt x="20" y="64"/>
                        <a:pt x="19" y="64"/>
                      </a:cubicBezTo>
                      <a:cubicBezTo>
                        <a:pt x="18" y="64"/>
                        <a:pt x="18" y="64"/>
                        <a:pt x="18" y="64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8"/>
                        <a:pt x="16" y="68"/>
                        <a:pt x="16" y="68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16" y="78"/>
                        <a:pt x="13" y="85"/>
                        <a:pt x="11" y="90"/>
                      </a:cubicBezTo>
                      <a:cubicBezTo>
                        <a:pt x="9" y="94"/>
                        <a:pt x="3" y="100"/>
                        <a:pt x="3" y="105"/>
                      </a:cubicBezTo>
                      <a:cubicBezTo>
                        <a:pt x="3" y="106"/>
                        <a:pt x="4" y="109"/>
                        <a:pt x="5" y="110"/>
                      </a:cubicBezTo>
                      <a:cubicBezTo>
                        <a:pt x="6" y="110"/>
                        <a:pt x="6" y="110"/>
                        <a:pt x="6" y="110"/>
                      </a:cubicBezTo>
                      <a:cubicBezTo>
                        <a:pt x="7" y="110"/>
                        <a:pt x="7" y="110"/>
                        <a:pt x="7" y="110"/>
                      </a:cubicBezTo>
                      <a:cubicBezTo>
                        <a:pt x="9" y="110"/>
                        <a:pt x="8" y="110"/>
                        <a:pt x="9" y="111"/>
                      </a:cubicBezTo>
                      <a:cubicBezTo>
                        <a:pt x="11" y="109"/>
                        <a:pt x="15" y="101"/>
                        <a:pt x="15" y="98"/>
                      </a:cubicBezTo>
                      <a:cubicBezTo>
                        <a:pt x="17" y="94"/>
                        <a:pt x="20" y="89"/>
                        <a:pt x="24" y="89"/>
                      </a:cubicBezTo>
                      <a:cubicBezTo>
                        <a:pt x="25" y="89"/>
                        <a:pt x="25" y="89"/>
                        <a:pt x="26" y="88"/>
                      </a:cubicBezTo>
                      <a:cubicBezTo>
                        <a:pt x="28" y="90"/>
                        <a:pt x="32" y="90"/>
                        <a:pt x="32" y="93"/>
                      </a:cubicBez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8" y="102"/>
                        <a:pt x="25" y="101"/>
                        <a:pt x="23" y="104"/>
                      </a:cubicBezTo>
                      <a:cubicBezTo>
                        <a:pt x="26" y="109"/>
                        <a:pt x="27" y="108"/>
                        <a:pt x="29" y="113"/>
                      </a:cubicBezTo>
                      <a:cubicBezTo>
                        <a:pt x="29" y="114"/>
                        <a:pt x="29" y="114"/>
                        <a:pt x="29" y="114"/>
                      </a:cubicBezTo>
                      <a:cubicBezTo>
                        <a:pt x="29" y="115"/>
                        <a:pt x="29" y="115"/>
                        <a:pt x="29" y="115"/>
                      </a:cubicBezTo>
                      <a:cubicBezTo>
                        <a:pt x="29" y="116"/>
                        <a:pt x="29" y="116"/>
                        <a:pt x="29" y="116"/>
                      </a:cubicBezTo>
                      <a:cubicBezTo>
                        <a:pt x="28" y="119"/>
                        <a:pt x="26" y="123"/>
                        <a:pt x="22" y="122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2"/>
                        <a:pt x="11" y="124"/>
                        <a:pt x="10" y="124"/>
                      </a:cubicBezTo>
                      <a:cubicBezTo>
                        <a:pt x="13" y="127"/>
                        <a:pt x="23" y="129"/>
                        <a:pt x="23" y="133"/>
                      </a:cubicBezTo>
                      <a:cubicBezTo>
                        <a:pt x="23" y="137"/>
                        <a:pt x="18" y="142"/>
                        <a:pt x="15" y="144"/>
                      </a:cubicBezTo>
                      <a:cubicBezTo>
                        <a:pt x="15" y="150"/>
                        <a:pt x="15" y="150"/>
                        <a:pt x="15" y="150"/>
                      </a:cubicBezTo>
                      <a:cubicBezTo>
                        <a:pt x="17" y="150"/>
                        <a:pt x="17" y="150"/>
                        <a:pt x="17" y="150"/>
                      </a:cubicBezTo>
                      <a:cubicBezTo>
                        <a:pt x="20" y="150"/>
                        <a:pt x="27" y="141"/>
                        <a:pt x="29" y="139"/>
                      </a:cubicBezTo>
                      <a:cubicBezTo>
                        <a:pt x="33" y="135"/>
                        <a:pt x="34" y="129"/>
                        <a:pt x="38" y="12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3" name="ïṩļiḑê">
                  <a:extLst>
                    <a:ext uri="{FF2B5EF4-FFF2-40B4-BE49-F238E27FC236}">
                      <a16:creationId xmlns:a16="http://schemas.microsoft.com/office/drawing/2014/main" id="{37D84709-08AF-4DCE-B56F-11DFB9375274}"/>
                    </a:ext>
                  </a:extLst>
                </p:cNvPr>
                <p:cNvSpPr/>
                <p:nvPr/>
              </p:nvSpPr>
              <p:spPr bwMode="auto">
                <a:xfrm>
                  <a:off x="4422776" y="3106738"/>
                  <a:ext cx="412750" cy="596900"/>
                </a:xfrm>
                <a:custGeom>
                  <a:avLst/>
                  <a:gdLst>
                    <a:gd name="T0" fmla="*/ 63 w 125"/>
                    <a:gd name="T1" fmla="*/ 83 h 179"/>
                    <a:gd name="T2" fmla="*/ 69 w 125"/>
                    <a:gd name="T3" fmla="*/ 84 h 179"/>
                    <a:gd name="T4" fmla="*/ 71 w 125"/>
                    <a:gd name="T5" fmla="*/ 95 h 179"/>
                    <a:gd name="T6" fmla="*/ 56 w 125"/>
                    <a:gd name="T7" fmla="*/ 91 h 179"/>
                    <a:gd name="T8" fmla="*/ 77 w 125"/>
                    <a:gd name="T9" fmla="*/ 77 h 179"/>
                    <a:gd name="T10" fmla="*/ 90 w 125"/>
                    <a:gd name="T11" fmla="*/ 82 h 179"/>
                    <a:gd name="T12" fmla="*/ 93 w 125"/>
                    <a:gd name="T13" fmla="*/ 96 h 179"/>
                    <a:gd name="T14" fmla="*/ 88 w 125"/>
                    <a:gd name="T15" fmla="*/ 106 h 179"/>
                    <a:gd name="T16" fmla="*/ 75 w 125"/>
                    <a:gd name="T17" fmla="*/ 89 h 179"/>
                    <a:gd name="T18" fmla="*/ 91 w 125"/>
                    <a:gd name="T19" fmla="*/ 29 h 179"/>
                    <a:gd name="T20" fmla="*/ 95 w 125"/>
                    <a:gd name="T21" fmla="*/ 4 h 179"/>
                    <a:gd name="T22" fmla="*/ 92 w 125"/>
                    <a:gd name="T23" fmla="*/ 0 h 179"/>
                    <a:gd name="T24" fmla="*/ 86 w 125"/>
                    <a:gd name="T25" fmla="*/ 0 h 179"/>
                    <a:gd name="T26" fmla="*/ 80 w 125"/>
                    <a:gd name="T27" fmla="*/ 7 h 179"/>
                    <a:gd name="T28" fmla="*/ 83 w 125"/>
                    <a:gd name="T29" fmla="*/ 30 h 179"/>
                    <a:gd name="T30" fmla="*/ 86 w 125"/>
                    <a:gd name="T31" fmla="*/ 50 h 179"/>
                    <a:gd name="T32" fmla="*/ 46 w 125"/>
                    <a:gd name="T33" fmla="*/ 84 h 179"/>
                    <a:gd name="T34" fmla="*/ 0 w 125"/>
                    <a:gd name="T35" fmla="*/ 99 h 179"/>
                    <a:gd name="T36" fmla="*/ 13 w 125"/>
                    <a:gd name="T37" fmla="*/ 108 h 179"/>
                    <a:gd name="T38" fmla="*/ 30 w 125"/>
                    <a:gd name="T39" fmla="*/ 100 h 179"/>
                    <a:gd name="T40" fmla="*/ 47 w 125"/>
                    <a:gd name="T41" fmla="*/ 92 h 179"/>
                    <a:gd name="T42" fmla="*/ 51 w 125"/>
                    <a:gd name="T43" fmla="*/ 109 h 179"/>
                    <a:gd name="T44" fmla="*/ 50 w 125"/>
                    <a:gd name="T45" fmla="*/ 118 h 179"/>
                    <a:gd name="T46" fmla="*/ 54 w 125"/>
                    <a:gd name="T47" fmla="*/ 125 h 179"/>
                    <a:gd name="T48" fmla="*/ 62 w 125"/>
                    <a:gd name="T49" fmla="*/ 119 h 179"/>
                    <a:gd name="T50" fmla="*/ 62 w 125"/>
                    <a:gd name="T51" fmla="*/ 113 h 179"/>
                    <a:gd name="T52" fmla="*/ 78 w 125"/>
                    <a:gd name="T53" fmla="*/ 111 h 179"/>
                    <a:gd name="T54" fmla="*/ 78 w 125"/>
                    <a:gd name="T55" fmla="*/ 113 h 179"/>
                    <a:gd name="T56" fmla="*/ 78 w 125"/>
                    <a:gd name="T57" fmla="*/ 118 h 179"/>
                    <a:gd name="T58" fmla="*/ 46 w 125"/>
                    <a:gd name="T59" fmla="*/ 147 h 179"/>
                    <a:gd name="T60" fmla="*/ 28 w 125"/>
                    <a:gd name="T61" fmla="*/ 158 h 179"/>
                    <a:gd name="T62" fmla="*/ 1 w 125"/>
                    <a:gd name="T63" fmla="*/ 170 h 179"/>
                    <a:gd name="T64" fmla="*/ 14 w 125"/>
                    <a:gd name="T65" fmla="*/ 178 h 179"/>
                    <a:gd name="T66" fmla="*/ 20 w 125"/>
                    <a:gd name="T67" fmla="*/ 179 h 179"/>
                    <a:gd name="T68" fmla="*/ 22 w 125"/>
                    <a:gd name="T69" fmla="*/ 179 h 179"/>
                    <a:gd name="T70" fmla="*/ 38 w 125"/>
                    <a:gd name="T71" fmla="*/ 169 h 179"/>
                    <a:gd name="T72" fmla="*/ 61 w 125"/>
                    <a:gd name="T73" fmla="*/ 150 h 179"/>
                    <a:gd name="T74" fmla="*/ 79 w 125"/>
                    <a:gd name="T75" fmla="*/ 135 h 179"/>
                    <a:gd name="T76" fmla="*/ 96 w 125"/>
                    <a:gd name="T77" fmla="*/ 119 h 179"/>
                    <a:gd name="T78" fmla="*/ 106 w 125"/>
                    <a:gd name="T79" fmla="*/ 149 h 179"/>
                    <a:gd name="T80" fmla="*/ 125 w 125"/>
                    <a:gd name="T81" fmla="*/ 152 h 179"/>
                    <a:gd name="T82" fmla="*/ 116 w 125"/>
                    <a:gd name="T83" fmla="*/ 120 h 179"/>
                    <a:gd name="T84" fmla="*/ 115 w 125"/>
                    <a:gd name="T85" fmla="*/ 125 h 179"/>
                    <a:gd name="T86" fmla="*/ 109 w 125"/>
                    <a:gd name="T87" fmla="*/ 129 h 179"/>
                    <a:gd name="T88" fmla="*/ 97 w 125"/>
                    <a:gd name="T89" fmla="*/ 92 h 179"/>
                    <a:gd name="T90" fmla="*/ 94 w 125"/>
                    <a:gd name="T91" fmla="*/ 76 h 179"/>
                    <a:gd name="T92" fmla="*/ 110 w 125"/>
                    <a:gd name="T93" fmla="*/ 60 h 179"/>
                    <a:gd name="T94" fmla="*/ 105 w 125"/>
                    <a:gd name="T95" fmla="*/ 57 h 179"/>
                    <a:gd name="T96" fmla="*/ 101 w 125"/>
                    <a:gd name="T97" fmla="*/ 59 h 179"/>
                    <a:gd name="T98" fmla="*/ 91 w 125"/>
                    <a:gd name="T99" fmla="*/ 54 h 179"/>
                    <a:gd name="T100" fmla="*/ 91 w 125"/>
                    <a:gd name="T101" fmla="*/ 29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5" h="179">
                      <a:moveTo>
                        <a:pt x="56" y="91"/>
                      </a:moveTo>
                      <a:cubicBezTo>
                        <a:pt x="56" y="87"/>
                        <a:pt x="60" y="85"/>
                        <a:pt x="63" y="83"/>
                      </a:cubicBezTo>
                      <a:cubicBezTo>
                        <a:pt x="64" y="83"/>
                        <a:pt x="64" y="83"/>
                        <a:pt x="64" y="83"/>
                      </a:cubicBezTo>
                      <a:cubicBezTo>
                        <a:pt x="67" y="83"/>
                        <a:pt x="67" y="84"/>
                        <a:pt x="69" y="84"/>
                      </a:cubicBezTo>
                      <a:cubicBezTo>
                        <a:pt x="71" y="94"/>
                        <a:pt x="71" y="94"/>
                        <a:pt x="71" y="94"/>
                      </a:cubicBez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68" y="100"/>
                        <a:pt x="68" y="99"/>
                        <a:pt x="63" y="101"/>
                      </a:cubicBezTo>
                      <a:cubicBezTo>
                        <a:pt x="61" y="99"/>
                        <a:pt x="56" y="95"/>
                        <a:pt x="56" y="91"/>
                      </a:cubicBezTo>
                      <a:close/>
                      <a:moveTo>
                        <a:pt x="72" y="83"/>
                      </a:moveTo>
                      <a:cubicBezTo>
                        <a:pt x="74" y="79"/>
                        <a:pt x="73" y="79"/>
                        <a:pt x="77" y="77"/>
                      </a:cubicBezTo>
                      <a:cubicBezTo>
                        <a:pt x="79" y="75"/>
                        <a:pt x="82" y="75"/>
                        <a:pt x="83" y="73"/>
                      </a:cubicBezTo>
                      <a:cubicBezTo>
                        <a:pt x="88" y="76"/>
                        <a:pt x="89" y="76"/>
                        <a:pt x="90" y="82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93" y="96"/>
                        <a:pt x="93" y="96"/>
                        <a:pt x="93" y="96"/>
                      </a:cubicBezTo>
                      <a:cubicBezTo>
                        <a:pt x="94" y="99"/>
                        <a:pt x="94" y="99"/>
                        <a:pt x="94" y="99"/>
                      </a:cubicBezTo>
                      <a:cubicBezTo>
                        <a:pt x="91" y="105"/>
                        <a:pt x="93" y="103"/>
                        <a:pt x="88" y="106"/>
                      </a:cubicBezTo>
                      <a:cubicBezTo>
                        <a:pt x="83" y="101"/>
                        <a:pt x="82" y="101"/>
                        <a:pt x="79" y="95"/>
                      </a:cubicBezTo>
                      <a:cubicBezTo>
                        <a:pt x="77" y="93"/>
                        <a:pt x="77" y="91"/>
                        <a:pt x="75" y="89"/>
                      </a:cubicBezTo>
                      <a:cubicBezTo>
                        <a:pt x="73" y="87"/>
                        <a:pt x="73" y="86"/>
                        <a:pt x="72" y="83"/>
                      </a:cubicBezTo>
                      <a:close/>
                      <a:moveTo>
                        <a:pt x="91" y="29"/>
                      </a:moveTo>
                      <a:cubicBezTo>
                        <a:pt x="91" y="22"/>
                        <a:pt x="95" y="12"/>
                        <a:pt x="95" y="4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95" y="3"/>
                        <a:pt x="95" y="3"/>
                        <a:pt x="95" y="3"/>
                      </a:cubicBezTo>
                      <a:cubicBezTo>
                        <a:pt x="93" y="0"/>
                        <a:pt x="95" y="1"/>
                        <a:pt x="92" y="0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2" y="1"/>
                        <a:pt x="80" y="4"/>
                        <a:pt x="80" y="7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8"/>
                        <a:pt x="86" y="44"/>
                        <a:pt x="86" y="49"/>
                      </a:cubicBezTo>
                      <a:cubicBezTo>
                        <a:pt x="86" y="50"/>
                        <a:pt x="86" y="50"/>
                        <a:pt x="86" y="50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7" y="68"/>
                        <a:pt x="52" y="81"/>
                        <a:pt x="46" y="84"/>
                      </a:cubicBezTo>
                      <a:cubicBezTo>
                        <a:pt x="39" y="87"/>
                        <a:pt x="31" y="89"/>
                        <a:pt x="23" y="92"/>
                      </a:cubicBezTo>
                      <a:cubicBezTo>
                        <a:pt x="20" y="94"/>
                        <a:pt x="0" y="96"/>
                        <a:pt x="0" y="99"/>
                      </a:cubicBezTo>
                      <a:cubicBezTo>
                        <a:pt x="0" y="101"/>
                        <a:pt x="9" y="108"/>
                        <a:pt x="11" y="108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4" y="108"/>
                        <a:pt x="14" y="108"/>
                        <a:pt x="14" y="108"/>
                      </a:cubicBezTo>
                      <a:cubicBezTo>
                        <a:pt x="20" y="105"/>
                        <a:pt x="24" y="103"/>
                        <a:pt x="30" y="100"/>
                      </a:cubicBezTo>
                      <a:cubicBezTo>
                        <a:pt x="34" y="98"/>
                        <a:pt x="41" y="93"/>
                        <a:pt x="45" y="93"/>
                      </a:cubicBezTo>
                      <a:cubicBezTo>
                        <a:pt x="46" y="93"/>
                        <a:pt x="46" y="93"/>
                        <a:pt x="47" y="92"/>
                      </a:cubicBezTo>
                      <a:cubicBezTo>
                        <a:pt x="49" y="94"/>
                        <a:pt x="52" y="96"/>
                        <a:pt x="51" y="101"/>
                      </a:cubicBezTo>
                      <a:cubicBezTo>
                        <a:pt x="51" y="109"/>
                        <a:pt x="51" y="109"/>
                        <a:pt x="51" y="109"/>
                      </a:cubicBezTo>
                      <a:cubicBezTo>
                        <a:pt x="51" y="110"/>
                        <a:pt x="51" y="110"/>
                        <a:pt x="51" y="110"/>
                      </a:cubicBezTo>
                      <a:cubicBezTo>
                        <a:pt x="50" y="118"/>
                        <a:pt x="50" y="118"/>
                        <a:pt x="50" y="118"/>
                      </a:cubicBezTo>
                      <a:cubicBezTo>
                        <a:pt x="50" y="119"/>
                        <a:pt x="50" y="119"/>
                        <a:pt x="50" y="120"/>
                      </a:cubicBezTo>
                      <a:cubicBezTo>
                        <a:pt x="51" y="123"/>
                        <a:pt x="51" y="123"/>
                        <a:pt x="54" y="125"/>
                      </a:cubicBezTo>
                      <a:cubicBezTo>
                        <a:pt x="56" y="125"/>
                        <a:pt x="56" y="125"/>
                        <a:pt x="56" y="125"/>
                      </a:cubicBezTo>
                      <a:cubicBezTo>
                        <a:pt x="59" y="125"/>
                        <a:pt x="60" y="121"/>
                        <a:pt x="62" y="119"/>
                      </a:cubicBezTo>
                      <a:cubicBezTo>
                        <a:pt x="62" y="118"/>
                        <a:pt x="62" y="118"/>
                        <a:pt x="62" y="118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63" y="110"/>
                        <a:pt x="68" y="106"/>
                        <a:pt x="71" y="106"/>
                      </a:cubicBezTo>
                      <a:cubicBezTo>
                        <a:pt x="75" y="106"/>
                        <a:pt x="77" y="109"/>
                        <a:pt x="78" y="111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78" y="113"/>
                        <a:pt x="78" y="113"/>
                        <a:pt x="78" y="113"/>
                      </a:cubicBezTo>
                      <a:cubicBezTo>
                        <a:pt x="78" y="115"/>
                        <a:pt x="78" y="115"/>
                        <a:pt x="79" y="116"/>
                      </a:cubicBezTo>
                      <a:cubicBezTo>
                        <a:pt x="78" y="117"/>
                        <a:pt x="78" y="117"/>
                        <a:pt x="78" y="118"/>
                      </a:cubicBezTo>
                      <a:cubicBezTo>
                        <a:pt x="78" y="119"/>
                        <a:pt x="78" y="119"/>
                        <a:pt x="78" y="119"/>
                      </a:cubicBezTo>
                      <a:cubicBezTo>
                        <a:pt x="72" y="130"/>
                        <a:pt x="57" y="140"/>
                        <a:pt x="46" y="147"/>
                      </a:cubicBezTo>
                      <a:cubicBezTo>
                        <a:pt x="44" y="148"/>
                        <a:pt x="40" y="151"/>
                        <a:pt x="37" y="152"/>
                      </a:cubicBezTo>
                      <a:cubicBezTo>
                        <a:pt x="35" y="153"/>
                        <a:pt x="29" y="157"/>
                        <a:pt x="28" y="158"/>
                      </a:cubicBezTo>
                      <a:cubicBezTo>
                        <a:pt x="25" y="161"/>
                        <a:pt x="12" y="165"/>
                        <a:pt x="6" y="165"/>
                      </a:cubicBezTo>
                      <a:cubicBezTo>
                        <a:pt x="4" y="165"/>
                        <a:pt x="2" y="168"/>
                        <a:pt x="1" y="170"/>
                      </a:cubicBezTo>
                      <a:cubicBezTo>
                        <a:pt x="4" y="171"/>
                        <a:pt x="4" y="173"/>
                        <a:pt x="7" y="175"/>
                      </a:cubicBezTo>
                      <a:cubicBezTo>
                        <a:pt x="10" y="176"/>
                        <a:pt x="12" y="176"/>
                        <a:pt x="14" y="178"/>
                      </a:cubicBezTo>
                      <a:cubicBezTo>
                        <a:pt x="18" y="179"/>
                        <a:pt x="18" y="179"/>
                        <a:pt x="18" y="179"/>
                      </a:cubicBezTo>
                      <a:cubicBezTo>
                        <a:pt x="20" y="179"/>
                        <a:pt x="18" y="179"/>
                        <a:pt x="20" y="179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6" y="177"/>
                        <a:pt x="30" y="175"/>
                        <a:pt x="33" y="173"/>
                      </a:cubicBezTo>
                      <a:cubicBezTo>
                        <a:pt x="35" y="171"/>
                        <a:pt x="36" y="170"/>
                        <a:pt x="38" y="169"/>
                      </a:cubicBezTo>
                      <a:cubicBezTo>
                        <a:pt x="39" y="168"/>
                        <a:pt x="43" y="166"/>
                        <a:pt x="43" y="166"/>
                      </a:cubicBezTo>
                      <a:cubicBezTo>
                        <a:pt x="49" y="160"/>
                        <a:pt x="55" y="156"/>
                        <a:pt x="61" y="150"/>
                      </a:cubicBezTo>
                      <a:cubicBezTo>
                        <a:pt x="64" y="148"/>
                        <a:pt x="67" y="145"/>
                        <a:pt x="70" y="143"/>
                      </a:cubicBezTo>
                      <a:cubicBezTo>
                        <a:pt x="73" y="140"/>
                        <a:pt x="76" y="137"/>
                        <a:pt x="79" y="135"/>
                      </a:cubicBezTo>
                      <a:cubicBezTo>
                        <a:pt x="82" y="132"/>
                        <a:pt x="85" y="130"/>
                        <a:pt x="87" y="127"/>
                      </a:cubicBezTo>
                      <a:cubicBezTo>
                        <a:pt x="90" y="124"/>
                        <a:pt x="91" y="119"/>
                        <a:pt x="96" y="119"/>
                      </a:cubicBezTo>
                      <a:cubicBezTo>
                        <a:pt x="98" y="119"/>
                        <a:pt x="100" y="126"/>
                        <a:pt x="100" y="128"/>
                      </a:cubicBezTo>
                      <a:cubicBezTo>
                        <a:pt x="100" y="132"/>
                        <a:pt x="105" y="145"/>
                        <a:pt x="106" y="149"/>
                      </a:cubicBezTo>
                      <a:cubicBezTo>
                        <a:pt x="108" y="155"/>
                        <a:pt x="111" y="165"/>
                        <a:pt x="118" y="165"/>
                      </a:cubicBezTo>
                      <a:cubicBezTo>
                        <a:pt x="119" y="163"/>
                        <a:pt x="125" y="161"/>
                        <a:pt x="125" y="152"/>
                      </a:cubicBezTo>
                      <a:cubicBezTo>
                        <a:pt x="125" y="143"/>
                        <a:pt x="120" y="120"/>
                        <a:pt x="117" y="116"/>
                      </a:cubicBezTo>
                      <a:cubicBezTo>
                        <a:pt x="117" y="118"/>
                        <a:pt x="116" y="118"/>
                        <a:pt x="116" y="120"/>
                      </a:cubicBezTo>
                      <a:cubicBezTo>
                        <a:pt x="116" y="123"/>
                        <a:pt x="115" y="121"/>
                        <a:pt x="115" y="124"/>
                      </a:cubicBezTo>
                      <a:cubicBezTo>
                        <a:pt x="115" y="125"/>
                        <a:pt x="115" y="125"/>
                        <a:pt x="115" y="125"/>
                      </a:cubicBezTo>
                      <a:cubicBezTo>
                        <a:pt x="115" y="126"/>
                        <a:pt x="114" y="129"/>
                        <a:pt x="112" y="129"/>
                      </a:cubicBezTo>
                      <a:cubicBezTo>
                        <a:pt x="109" y="129"/>
                        <a:pt x="109" y="129"/>
                        <a:pt x="109" y="129"/>
                      </a:cubicBezTo>
                      <a:cubicBezTo>
                        <a:pt x="105" y="129"/>
                        <a:pt x="102" y="110"/>
                        <a:pt x="100" y="105"/>
                      </a:cubicBezTo>
                      <a:cubicBezTo>
                        <a:pt x="98" y="101"/>
                        <a:pt x="98" y="97"/>
                        <a:pt x="97" y="92"/>
                      </a:cubicBezTo>
                      <a:cubicBezTo>
                        <a:pt x="96" y="87"/>
                        <a:pt x="94" y="86"/>
                        <a:pt x="94" y="79"/>
                      </a:cubicBezTo>
                      <a:cubicBezTo>
                        <a:pt x="94" y="76"/>
                        <a:pt x="94" y="76"/>
                        <a:pt x="94" y="76"/>
                      </a:cubicBezTo>
                      <a:cubicBezTo>
                        <a:pt x="94" y="65"/>
                        <a:pt x="110" y="67"/>
                        <a:pt x="110" y="61"/>
                      </a:cubicBezTo>
                      <a:cubicBezTo>
                        <a:pt x="110" y="60"/>
                        <a:pt x="110" y="60"/>
                        <a:pt x="110" y="60"/>
                      </a:cubicBezTo>
                      <a:cubicBezTo>
                        <a:pt x="110" y="58"/>
                        <a:pt x="109" y="57"/>
                        <a:pt x="108" y="57"/>
                      </a:cubicBezTo>
                      <a:cubicBezTo>
                        <a:pt x="105" y="57"/>
                        <a:pt x="105" y="57"/>
                        <a:pt x="105" y="57"/>
                      </a:cubicBezTo>
                      <a:cubicBezTo>
                        <a:pt x="104" y="57"/>
                        <a:pt x="104" y="57"/>
                        <a:pt x="104" y="57"/>
                      </a:cubicBezTo>
                      <a:cubicBezTo>
                        <a:pt x="103" y="58"/>
                        <a:pt x="102" y="59"/>
                        <a:pt x="101" y="59"/>
                      </a:cubicBezTo>
                      <a:cubicBezTo>
                        <a:pt x="99" y="60"/>
                        <a:pt x="99" y="59"/>
                        <a:pt x="97" y="60"/>
                      </a:cubicBezTo>
                      <a:cubicBezTo>
                        <a:pt x="95" y="59"/>
                        <a:pt x="91" y="56"/>
                        <a:pt x="91" y="54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lnTo>
                        <a:pt x="91" y="29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4" name="iṥḻídè">
                  <a:extLst>
                    <a:ext uri="{FF2B5EF4-FFF2-40B4-BE49-F238E27FC236}">
                      <a16:creationId xmlns:a16="http://schemas.microsoft.com/office/drawing/2014/main" id="{C62C0284-1102-4FD4-8FE5-F19E7C43403D}"/>
                    </a:ext>
                  </a:extLst>
                </p:cNvPr>
                <p:cNvSpPr/>
                <p:nvPr/>
              </p:nvSpPr>
              <p:spPr bwMode="auto">
                <a:xfrm>
                  <a:off x="5478463" y="3581400"/>
                  <a:ext cx="46038" cy="76200"/>
                </a:xfrm>
                <a:custGeom>
                  <a:avLst/>
                  <a:gdLst>
                    <a:gd name="T0" fmla="*/ 14 w 14"/>
                    <a:gd name="T1" fmla="*/ 15 h 23"/>
                    <a:gd name="T2" fmla="*/ 10 w 14"/>
                    <a:gd name="T3" fmla="*/ 6 h 23"/>
                    <a:gd name="T4" fmla="*/ 3 w 14"/>
                    <a:gd name="T5" fmla="*/ 0 h 23"/>
                    <a:gd name="T6" fmla="*/ 0 w 14"/>
                    <a:gd name="T7" fmla="*/ 3 h 23"/>
                    <a:gd name="T8" fmla="*/ 5 w 14"/>
                    <a:gd name="T9" fmla="*/ 11 h 23"/>
                    <a:gd name="T10" fmla="*/ 5 w 14"/>
                    <a:gd name="T11" fmla="*/ 12 h 23"/>
                    <a:gd name="T12" fmla="*/ 5 w 14"/>
                    <a:gd name="T13" fmla="*/ 14 h 23"/>
                    <a:gd name="T14" fmla="*/ 5 w 14"/>
                    <a:gd name="T15" fmla="*/ 15 h 23"/>
                    <a:gd name="T16" fmla="*/ 2 w 14"/>
                    <a:gd name="T17" fmla="*/ 19 h 23"/>
                    <a:gd name="T18" fmla="*/ 2 w 14"/>
                    <a:gd name="T19" fmla="*/ 22 h 23"/>
                    <a:gd name="T20" fmla="*/ 5 w 14"/>
                    <a:gd name="T21" fmla="*/ 23 h 23"/>
                    <a:gd name="T22" fmla="*/ 6 w 14"/>
                    <a:gd name="T23" fmla="*/ 23 h 23"/>
                    <a:gd name="T24" fmla="*/ 11 w 14"/>
                    <a:gd name="T25" fmla="*/ 20 h 23"/>
                    <a:gd name="T26" fmla="*/ 14 w 14"/>
                    <a:gd name="T27" fmla="*/ 1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23">
                      <a:moveTo>
                        <a:pt x="14" y="15"/>
                      </a:moveTo>
                      <a:cubicBezTo>
                        <a:pt x="14" y="11"/>
                        <a:pt x="12" y="9"/>
                        <a:pt x="10" y="6"/>
                      </a:cubicBezTo>
                      <a:cubicBezTo>
                        <a:pt x="8" y="5"/>
                        <a:pt x="3" y="1"/>
                        <a:pt x="3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7" y="23"/>
                        <a:pt x="11" y="21"/>
                        <a:pt x="11" y="20"/>
                      </a:cubicBezTo>
                      <a:cubicBezTo>
                        <a:pt x="13" y="19"/>
                        <a:pt x="13" y="17"/>
                        <a:pt x="14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5" name="íśḻîdé">
                  <a:extLst>
                    <a:ext uri="{FF2B5EF4-FFF2-40B4-BE49-F238E27FC236}">
                      <a16:creationId xmlns:a16="http://schemas.microsoft.com/office/drawing/2014/main" id="{620E0BAB-0AE3-4A07-84FA-CBC64D716C9B}"/>
                    </a:ext>
                  </a:extLst>
                </p:cNvPr>
                <p:cNvSpPr/>
                <p:nvPr/>
              </p:nvSpPr>
              <p:spPr bwMode="auto">
                <a:xfrm>
                  <a:off x="6310313" y="3136900"/>
                  <a:ext cx="406400" cy="554038"/>
                </a:xfrm>
                <a:custGeom>
                  <a:avLst/>
                  <a:gdLst>
                    <a:gd name="T0" fmla="*/ 101 w 123"/>
                    <a:gd name="T1" fmla="*/ 9 h 166"/>
                    <a:gd name="T2" fmla="*/ 96 w 123"/>
                    <a:gd name="T3" fmla="*/ 0 h 166"/>
                    <a:gd name="T4" fmla="*/ 76 w 123"/>
                    <a:gd name="T5" fmla="*/ 23 h 166"/>
                    <a:gd name="T6" fmla="*/ 66 w 123"/>
                    <a:gd name="T7" fmla="*/ 20 h 166"/>
                    <a:gd name="T8" fmla="*/ 69 w 123"/>
                    <a:gd name="T9" fmla="*/ 29 h 166"/>
                    <a:gd name="T10" fmla="*/ 64 w 123"/>
                    <a:gd name="T11" fmla="*/ 38 h 166"/>
                    <a:gd name="T12" fmla="*/ 71 w 123"/>
                    <a:gd name="T13" fmla="*/ 37 h 166"/>
                    <a:gd name="T14" fmla="*/ 78 w 123"/>
                    <a:gd name="T15" fmla="*/ 38 h 166"/>
                    <a:gd name="T16" fmla="*/ 104 w 123"/>
                    <a:gd name="T17" fmla="*/ 37 h 166"/>
                    <a:gd name="T18" fmla="*/ 97 w 123"/>
                    <a:gd name="T19" fmla="*/ 43 h 166"/>
                    <a:gd name="T20" fmla="*/ 85 w 123"/>
                    <a:gd name="T21" fmla="*/ 56 h 166"/>
                    <a:gd name="T22" fmla="*/ 78 w 123"/>
                    <a:gd name="T23" fmla="*/ 67 h 166"/>
                    <a:gd name="T24" fmla="*/ 72 w 123"/>
                    <a:gd name="T25" fmla="*/ 62 h 166"/>
                    <a:gd name="T26" fmla="*/ 72 w 123"/>
                    <a:gd name="T27" fmla="*/ 48 h 166"/>
                    <a:gd name="T28" fmla="*/ 63 w 123"/>
                    <a:gd name="T29" fmla="*/ 57 h 166"/>
                    <a:gd name="T30" fmla="*/ 56 w 123"/>
                    <a:gd name="T31" fmla="*/ 57 h 166"/>
                    <a:gd name="T32" fmla="*/ 61 w 123"/>
                    <a:gd name="T33" fmla="*/ 66 h 166"/>
                    <a:gd name="T34" fmla="*/ 59 w 123"/>
                    <a:gd name="T35" fmla="*/ 70 h 166"/>
                    <a:gd name="T36" fmla="*/ 68 w 123"/>
                    <a:gd name="T37" fmla="*/ 74 h 166"/>
                    <a:gd name="T38" fmla="*/ 68 w 123"/>
                    <a:gd name="T39" fmla="*/ 78 h 166"/>
                    <a:gd name="T40" fmla="*/ 40 w 123"/>
                    <a:gd name="T41" fmla="*/ 92 h 166"/>
                    <a:gd name="T42" fmla="*/ 24 w 123"/>
                    <a:gd name="T43" fmla="*/ 99 h 166"/>
                    <a:gd name="T44" fmla="*/ 3 w 123"/>
                    <a:gd name="T45" fmla="*/ 105 h 166"/>
                    <a:gd name="T46" fmla="*/ 2 w 123"/>
                    <a:gd name="T47" fmla="*/ 112 h 166"/>
                    <a:gd name="T48" fmla="*/ 14 w 123"/>
                    <a:gd name="T49" fmla="*/ 120 h 166"/>
                    <a:gd name="T50" fmla="*/ 32 w 123"/>
                    <a:gd name="T51" fmla="*/ 108 h 166"/>
                    <a:gd name="T52" fmla="*/ 55 w 123"/>
                    <a:gd name="T53" fmla="*/ 93 h 166"/>
                    <a:gd name="T54" fmla="*/ 63 w 123"/>
                    <a:gd name="T55" fmla="*/ 89 h 166"/>
                    <a:gd name="T56" fmla="*/ 82 w 123"/>
                    <a:gd name="T57" fmla="*/ 83 h 166"/>
                    <a:gd name="T58" fmla="*/ 82 w 123"/>
                    <a:gd name="T59" fmla="*/ 86 h 166"/>
                    <a:gd name="T60" fmla="*/ 74 w 123"/>
                    <a:gd name="T61" fmla="*/ 97 h 166"/>
                    <a:gd name="T62" fmla="*/ 61 w 123"/>
                    <a:gd name="T63" fmla="*/ 107 h 166"/>
                    <a:gd name="T64" fmla="*/ 64 w 123"/>
                    <a:gd name="T65" fmla="*/ 118 h 166"/>
                    <a:gd name="T66" fmla="*/ 55 w 123"/>
                    <a:gd name="T67" fmla="*/ 126 h 166"/>
                    <a:gd name="T68" fmla="*/ 40 w 123"/>
                    <a:gd name="T69" fmla="*/ 129 h 166"/>
                    <a:gd name="T70" fmla="*/ 30 w 123"/>
                    <a:gd name="T71" fmla="*/ 130 h 166"/>
                    <a:gd name="T72" fmla="*/ 35 w 123"/>
                    <a:gd name="T73" fmla="*/ 141 h 166"/>
                    <a:gd name="T74" fmla="*/ 38 w 123"/>
                    <a:gd name="T75" fmla="*/ 141 h 166"/>
                    <a:gd name="T76" fmla="*/ 56 w 123"/>
                    <a:gd name="T77" fmla="*/ 133 h 166"/>
                    <a:gd name="T78" fmla="*/ 63 w 123"/>
                    <a:gd name="T79" fmla="*/ 141 h 166"/>
                    <a:gd name="T80" fmla="*/ 56 w 123"/>
                    <a:gd name="T81" fmla="*/ 154 h 166"/>
                    <a:gd name="T82" fmla="*/ 53 w 123"/>
                    <a:gd name="T83" fmla="*/ 154 h 166"/>
                    <a:gd name="T84" fmla="*/ 49 w 123"/>
                    <a:gd name="T85" fmla="*/ 154 h 166"/>
                    <a:gd name="T86" fmla="*/ 46 w 123"/>
                    <a:gd name="T87" fmla="*/ 156 h 166"/>
                    <a:gd name="T88" fmla="*/ 56 w 123"/>
                    <a:gd name="T89" fmla="*/ 166 h 166"/>
                    <a:gd name="T90" fmla="*/ 71 w 123"/>
                    <a:gd name="T91" fmla="*/ 160 h 166"/>
                    <a:gd name="T92" fmla="*/ 75 w 123"/>
                    <a:gd name="T93" fmla="*/ 146 h 166"/>
                    <a:gd name="T94" fmla="*/ 80 w 123"/>
                    <a:gd name="T95" fmla="*/ 124 h 166"/>
                    <a:gd name="T96" fmla="*/ 94 w 123"/>
                    <a:gd name="T97" fmla="*/ 120 h 166"/>
                    <a:gd name="T98" fmla="*/ 81 w 123"/>
                    <a:gd name="T99" fmla="*/ 117 h 166"/>
                    <a:gd name="T100" fmla="*/ 72 w 123"/>
                    <a:gd name="T101" fmla="*/ 107 h 166"/>
                    <a:gd name="T102" fmla="*/ 78 w 123"/>
                    <a:gd name="T103" fmla="*/ 96 h 166"/>
                    <a:gd name="T104" fmla="*/ 92 w 123"/>
                    <a:gd name="T105" fmla="*/ 89 h 166"/>
                    <a:gd name="T106" fmla="*/ 102 w 123"/>
                    <a:gd name="T107" fmla="*/ 78 h 166"/>
                    <a:gd name="T108" fmla="*/ 95 w 123"/>
                    <a:gd name="T109" fmla="*/ 61 h 166"/>
                    <a:gd name="T110" fmla="*/ 109 w 123"/>
                    <a:gd name="T111" fmla="*/ 48 h 166"/>
                    <a:gd name="T112" fmla="*/ 116 w 123"/>
                    <a:gd name="T113" fmla="*/ 42 h 166"/>
                    <a:gd name="T114" fmla="*/ 121 w 123"/>
                    <a:gd name="T115" fmla="*/ 32 h 166"/>
                    <a:gd name="T116" fmla="*/ 116 w 123"/>
                    <a:gd name="T117" fmla="*/ 17 h 166"/>
                    <a:gd name="T118" fmla="*/ 104 w 123"/>
                    <a:gd name="T119" fmla="*/ 20 h 166"/>
                    <a:gd name="T120" fmla="*/ 93 w 123"/>
                    <a:gd name="T121" fmla="*/ 21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3" h="166">
                      <a:moveTo>
                        <a:pt x="93" y="21"/>
                      </a:moveTo>
                      <a:cubicBezTo>
                        <a:pt x="94" y="14"/>
                        <a:pt x="98" y="14"/>
                        <a:pt x="101" y="9"/>
                      </a:cubicBezTo>
                      <a:cubicBezTo>
                        <a:pt x="101" y="8"/>
                        <a:pt x="101" y="8"/>
                        <a:pt x="101" y="8"/>
                      </a:cubicBezTo>
                      <a:cubicBezTo>
                        <a:pt x="101" y="5"/>
                        <a:pt x="97" y="1"/>
                        <a:pt x="96" y="0"/>
                      </a:cubicBezTo>
                      <a:cubicBezTo>
                        <a:pt x="89" y="3"/>
                        <a:pt x="91" y="6"/>
                        <a:pt x="88" y="13"/>
                      </a:cubicBezTo>
                      <a:cubicBezTo>
                        <a:pt x="85" y="17"/>
                        <a:pt x="82" y="23"/>
                        <a:pt x="76" y="23"/>
                      </a:cubicBezTo>
                      <a:cubicBezTo>
                        <a:pt x="75" y="23"/>
                        <a:pt x="70" y="18"/>
                        <a:pt x="67" y="17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7" y="23"/>
                        <a:pt x="69" y="24"/>
                        <a:pt x="69" y="28"/>
                      </a:cubicBezTo>
                      <a:cubicBezTo>
                        <a:pt x="69" y="29"/>
                        <a:pt x="69" y="29"/>
                        <a:pt x="69" y="29"/>
                      </a:cubicBezTo>
                      <a:cubicBezTo>
                        <a:pt x="69" y="29"/>
                        <a:pt x="63" y="36"/>
                        <a:pt x="62" y="37"/>
                      </a:cubicBezTo>
                      <a:cubicBezTo>
                        <a:pt x="63" y="38"/>
                        <a:pt x="61" y="38"/>
                        <a:pt x="64" y="38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74" y="37"/>
                        <a:pt x="74" y="38"/>
                        <a:pt x="78" y="38"/>
                      </a:cubicBezTo>
                      <a:cubicBezTo>
                        <a:pt x="78" y="38"/>
                        <a:pt x="78" y="38"/>
                        <a:pt x="78" y="38"/>
                      </a:cubicBezTo>
                      <a:cubicBezTo>
                        <a:pt x="79" y="38"/>
                        <a:pt x="84" y="33"/>
                        <a:pt x="91" y="32"/>
                      </a:cubicBezTo>
                      <a:cubicBezTo>
                        <a:pt x="96" y="31"/>
                        <a:pt x="104" y="30"/>
                        <a:pt x="104" y="37"/>
                      </a:cubicBezTo>
                      <a:cubicBezTo>
                        <a:pt x="104" y="39"/>
                        <a:pt x="102" y="41"/>
                        <a:pt x="101" y="43"/>
                      </a:cubicBezTo>
                      <a:cubicBezTo>
                        <a:pt x="98" y="43"/>
                        <a:pt x="99" y="43"/>
                        <a:pt x="97" y="43"/>
                      </a:cubicBezTo>
                      <a:cubicBezTo>
                        <a:pt x="96" y="43"/>
                        <a:pt x="93" y="42"/>
                        <a:pt x="92" y="41"/>
                      </a:cubicBezTo>
                      <a:cubicBezTo>
                        <a:pt x="85" y="46"/>
                        <a:pt x="88" y="49"/>
                        <a:pt x="85" y="56"/>
                      </a:cubicBezTo>
                      <a:cubicBezTo>
                        <a:pt x="84" y="57"/>
                        <a:pt x="81" y="64"/>
                        <a:pt x="81" y="64"/>
                      </a:cubicBezTo>
                      <a:cubicBezTo>
                        <a:pt x="80" y="66"/>
                        <a:pt x="80" y="64"/>
                        <a:pt x="78" y="67"/>
                      </a:cubicBezTo>
                      <a:cubicBezTo>
                        <a:pt x="77" y="70"/>
                        <a:pt x="78" y="68"/>
                        <a:pt x="76" y="70"/>
                      </a:cubicBezTo>
                      <a:cubicBezTo>
                        <a:pt x="74" y="67"/>
                        <a:pt x="72" y="66"/>
                        <a:pt x="72" y="62"/>
                      </a:cubicBezTo>
                      <a:cubicBezTo>
                        <a:pt x="72" y="61"/>
                        <a:pt x="75" y="55"/>
                        <a:pt x="76" y="54"/>
                      </a:cubicBezTo>
                      <a:cubicBezTo>
                        <a:pt x="75" y="51"/>
                        <a:pt x="75" y="48"/>
                        <a:pt x="72" y="48"/>
                      </a:cubicBezTo>
                      <a:cubicBezTo>
                        <a:pt x="71" y="48"/>
                        <a:pt x="70" y="49"/>
                        <a:pt x="70" y="49"/>
                      </a:cubicBezTo>
                      <a:cubicBezTo>
                        <a:pt x="70" y="55"/>
                        <a:pt x="67" y="55"/>
                        <a:pt x="63" y="57"/>
                      </a:cubicBezTo>
                      <a:cubicBezTo>
                        <a:pt x="62" y="56"/>
                        <a:pt x="60" y="55"/>
                        <a:pt x="59" y="55"/>
                      </a:cubicBezTo>
                      <a:cubicBezTo>
                        <a:pt x="58" y="55"/>
                        <a:pt x="56" y="57"/>
                        <a:pt x="56" y="57"/>
                      </a:cubicBezTo>
                      <a:cubicBezTo>
                        <a:pt x="58" y="60"/>
                        <a:pt x="59" y="60"/>
                        <a:pt x="61" y="64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1" y="67"/>
                        <a:pt x="61" y="67"/>
                        <a:pt x="61" y="67"/>
                      </a:cubicBezTo>
                      <a:cubicBezTo>
                        <a:pt x="59" y="70"/>
                        <a:pt x="59" y="70"/>
                        <a:pt x="59" y="70"/>
                      </a:cubicBezTo>
                      <a:cubicBezTo>
                        <a:pt x="60" y="71"/>
                        <a:pt x="58" y="71"/>
                        <a:pt x="61" y="71"/>
                      </a:cubicBezTo>
                      <a:cubicBezTo>
                        <a:pt x="64" y="71"/>
                        <a:pt x="66" y="72"/>
                        <a:pt x="68" y="74"/>
                      </a:cubicBezTo>
                      <a:cubicBezTo>
                        <a:pt x="68" y="75"/>
                        <a:pt x="68" y="75"/>
                        <a:pt x="68" y="75"/>
                      </a:cubicBezTo>
                      <a:cubicBezTo>
                        <a:pt x="68" y="78"/>
                        <a:pt x="68" y="78"/>
                        <a:pt x="68" y="78"/>
                      </a:cubicBezTo>
                      <a:cubicBezTo>
                        <a:pt x="68" y="82"/>
                        <a:pt x="58" y="85"/>
                        <a:pt x="55" y="86"/>
                      </a:cubicBezTo>
                      <a:cubicBezTo>
                        <a:pt x="50" y="88"/>
                        <a:pt x="44" y="91"/>
                        <a:pt x="40" y="92"/>
                      </a:cubicBezTo>
                      <a:cubicBezTo>
                        <a:pt x="36" y="94"/>
                        <a:pt x="35" y="94"/>
                        <a:pt x="32" y="96"/>
                      </a:cubicBezTo>
                      <a:cubicBezTo>
                        <a:pt x="29" y="97"/>
                        <a:pt x="27" y="97"/>
                        <a:pt x="24" y="99"/>
                      </a:cubicBezTo>
                      <a:cubicBezTo>
                        <a:pt x="20" y="101"/>
                        <a:pt x="13" y="104"/>
                        <a:pt x="9" y="104"/>
                      </a:cubicBezTo>
                      <a:cubicBezTo>
                        <a:pt x="3" y="105"/>
                        <a:pt x="3" y="105"/>
                        <a:pt x="3" y="105"/>
                      </a:cubicBezTo>
                      <a:cubicBezTo>
                        <a:pt x="1" y="105"/>
                        <a:pt x="1" y="106"/>
                        <a:pt x="0" y="107"/>
                      </a:cubicBezTo>
                      <a:cubicBezTo>
                        <a:pt x="0" y="108"/>
                        <a:pt x="0" y="111"/>
                        <a:pt x="2" y="112"/>
                      </a:cubicBezTo>
                      <a:cubicBezTo>
                        <a:pt x="4" y="114"/>
                        <a:pt x="3" y="114"/>
                        <a:pt x="5" y="115"/>
                      </a:cubicBezTo>
                      <a:cubicBezTo>
                        <a:pt x="6" y="116"/>
                        <a:pt x="12" y="119"/>
                        <a:pt x="14" y="120"/>
                      </a:cubicBezTo>
                      <a:cubicBezTo>
                        <a:pt x="15" y="119"/>
                        <a:pt x="15" y="119"/>
                        <a:pt x="17" y="119"/>
                      </a:cubicBezTo>
                      <a:cubicBezTo>
                        <a:pt x="20" y="119"/>
                        <a:pt x="30" y="110"/>
                        <a:pt x="32" y="108"/>
                      </a:cubicBezTo>
                      <a:cubicBezTo>
                        <a:pt x="36" y="104"/>
                        <a:pt x="42" y="101"/>
                        <a:pt x="47" y="98"/>
                      </a:cubicBezTo>
                      <a:cubicBezTo>
                        <a:pt x="50" y="96"/>
                        <a:pt x="52" y="95"/>
                        <a:pt x="55" y="93"/>
                      </a:cubicBezTo>
                      <a:cubicBezTo>
                        <a:pt x="57" y="92"/>
                        <a:pt x="58" y="92"/>
                        <a:pt x="59" y="91"/>
                      </a:cubicBezTo>
                      <a:cubicBezTo>
                        <a:pt x="61" y="90"/>
                        <a:pt x="61" y="90"/>
                        <a:pt x="63" y="89"/>
                      </a:cubicBezTo>
                      <a:cubicBezTo>
                        <a:pt x="68" y="87"/>
                        <a:pt x="74" y="80"/>
                        <a:pt x="79" y="80"/>
                      </a:cubicBezTo>
                      <a:cubicBezTo>
                        <a:pt x="81" y="80"/>
                        <a:pt x="82" y="82"/>
                        <a:pt x="82" y="83"/>
                      </a:cubicBezTo>
                      <a:cubicBezTo>
                        <a:pt x="82" y="85"/>
                        <a:pt x="82" y="85"/>
                        <a:pt x="82" y="85"/>
                      </a:cubicBezTo>
                      <a:cubicBezTo>
                        <a:pt x="82" y="86"/>
                        <a:pt x="82" y="86"/>
                        <a:pt x="82" y="86"/>
                      </a:cubicBezTo>
                      <a:cubicBezTo>
                        <a:pt x="80" y="90"/>
                        <a:pt x="79" y="89"/>
                        <a:pt x="78" y="93"/>
                      </a:cubicBezTo>
                      <a:cubicBezTo>
                        <a:pt x="75" y="94"/>
                        <a:pt x="75" y="94"/>
                        <a:pt x="74" y="97"/>
                      </a:cubicBezTo>
                      <a:cubicBezTo>
                        <a:pt x="69" y="98"/>
                        <a:pt x="71" y="99"/>
                        <a:pt x="67" y="101"/>
                      </a:cubicBezTo>
                      <a:cubicBezTo>
                        <a:pt x="63" y="103"/>
                        <a:pt x="63" y="103"/>
                        <a:pt x="61" y="107"/>
                      </a:cubicBezTo>
                      <a:cubicBezTo>
                        <a:pt x="61" y="110"/>
                        <a:pt x="64" y="114"/>
                        <a:pt x="64" y="117"/>
                      </a:cubicBezTo>
                      <a:cubicBezTo>
                        <a:pt x="64" y="118"/>
                        <a:pt x="64" y="118"/>
                        <a:pt x="64" y="118"/>
                      </a:cubicBezTo>
                      <a:cubicBezTo>
                        <a:pt x="64" y="119"/>
                        <a:pt x="64" y="119"/>
                        <a:pt x="64" y="119"/>
                      </a:cubicBezTo>
                      <a:cubicBezTo>
                        <a:pt x="61" y="123"/>
                        <a:pt x="60" y="125"/>
                        <a:pt x="55" y="126"/>
                      </a:cubicBezTo>
                      <a:cubicBezTo>
                        <a:pt x="51" y="127"/>
                        <a:pt x="43" y="129"/>
                        <a:pt x="41" y="129"/>
                      </a:cubicBezTo>
                      <a:cubicBezTo>
                        <a:pt x="40" y="129"/>
                        <a:pt x="40" y="129"/>
                        <a:pt x="40" y="129"/>
                      </a:cubicBezTo>
                      <a:cubicBezTo>
                        <a:pt x="32" y="130"/>
                        <a:pt x="32" y="130"/>
                        <a:pt x="32" y="130"/>
                      </a:cubicBezTo>
                      <a:cubicBezTo>
                        <a:pt x="30" y="130"/>
                        <a:pt x="30" y="130"/>
                        <a:pt x="30" y="130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30" y="136"/>
                        <a:pt x="30" y="138"/>
                        <a:pt x="35" y="141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38" y="141"/>
                        <a:pt x="38" y="141"/>
                        <a:pt x="38" y="141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3" y="138"/>
                        <a:pt x="51" y="133"/>
                        <a:pt x="56" y="133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62" y="133"/>
                        <a:pt x="63" y="137"/>
                        <a:pt x="63" y="141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3" y="150"/>
                        <a:pt x="60" y="152"/>
                        <a:pt x="56" y="154"/>
                      </a:cubicBezTo>
                      <a:cubicBezTo>
                        <a:pt x="55" y="154"/>
                        <a:pt x="55" y="154"/>
                        <a:pt x="55" y="154"/>
                      </a:cubicBezTo>
                      <a:cubicBezTo>
                        <a:pt x="53" y="154"/>
                        <a:pt x="53" y="154"/>
                        <a:pt x="53" y="154"/>
                      </a:cubicBezTo>
                      <a:cubicBezTo>
                        <a:pt x="52" y="154"/>
                        <a:pt x="52" y="154"/>
                        <a:pt x="51" y="153"/>
                      </a:cubicBezTo>
                      <a:cubicBezTo>
                        <a:pt x="50" y="154"/>
                        <a:pt x="50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7" y="155"/>
                        <a:pt x="46" y="155"/>
                        <a:pt x="46" y="156"/>
                      </a:cubicBezTo>
                      <a:cubicBezTo>
                        <a:pt x="46" y="158"/>
                        <a:pt x="53" y="165"/>
                        <a:pt x="55" y="166"/>
                      </a:cubicBezTo>
                      <a:cubicBezTo>
                        <a:pt x="56" y="166"/>
                        <a:pt x="56" y="166"/>
                        <a:pt x="56" y="166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6" y="166"/>
                        <a:pt x="69" y="163"/>
                        <a:pt x="71" y="160"/>
                      </a:cubicBezTo>
                      <a:cubicBezTo>
                        <a:pt x="74" y="155"/>
                        <a:pt x="74" y="151"/>
                        <a:pt x="76" y="148"/>
                      </a:cubicBezTo>
                      <a:cubicBezTo>
                        <a:pt x="75" y="146"/>
                        <a:pt x="75" y="148"/>
                        <a:pt x="75" y="146"/>
                      </a:cubicBezTo>
                      <a:cubicBezTo>
                        <a:pt x="75" y="138"/>
                        <a:pt x="75" y="138"/>
                        <a:pt x="75" y="138"/>
                      </a:cubicBezTo>
                      <a:cubicBezTo>
                        <a:pt x="75" y="130"/>
                        <a:pt x="74" y="128"/>
                        <a:pt x="80" y="124"/>
                      </a:cubicBezTo>
                      <a:cubicBezTo>
                        <a:pt x="81" y="124"/>
                        <a:pt x="81" y="124"/>
                        <a:pt x="81" y="124"/>
                      </a:cubicBezTo>
                      <a:cubicBezTo>
                        <a:pt x="90" y="124"/>
                        <a:pt x="90" y="127"/>
                        <a:pt x="94" y="120"/>
                      </a:cubicBezTo>
                      <a:cubicBezTo>
                        <a:pt x="92" y="117"/>
                        <a:pt x="91" y="116"/>
                        <a:pt x="88" y="115"/>
                      </a:cubicBezTo>
                      <a:cubicBezTo>
                        <a:pt x="86" y="116"/>
                        <a:pt x="84" y="117"/>
                        <a:pt x="81" y="117"/>
                      </a:cubicBezTo>
                      <a:cubicBezTo>
                        <a:pt x="79" y="117"/>
                        <a:pt x="79" y="117"/>
                        <a:pt x="79" y="117"/>
                      </a:cubicBezTo>
                      <a:cubicBezTo>
                        <a:pt x="77" y="116"/>
                        <a:pt x="72" y="109"/>
                        <a:pt x="72" y="107"/>
                      </a:cubicBezTo>
                      <a:cubicBezTo>
                        <a:pt x="72" y="105"/>
                        <a:pt x="72" y="105"/>
                        <a:pt x="72" y="105"/>
                      </a:cubicBezTo>
                      <a:cubicBezTo>
                        <a:pt x="72" y="99"/>
                        <a:pt x="75" y="100"/>
                        <a:pt x="78" y="96"/>
                      </a:cubicBezTo>
                      <a:cubicBezTo>
                        <a:pt x="80" y="96"/>
                        <a:pt x="80" y="96"/>
                        <a:pt x="80" y="96"/>
                      </a:cubicBezTo>
                      <a:cubicBezTo>
                        <a:pt x="82" y="93"/>
                        <a:pt x="89" y="90"/>
                        <a:pt x="92" y="89"/>
                      </a:cubicBezTo>
                      <a:cubicBezTo>
                        <a:pt x="95" y="87"/>
                        <a:pt x="101" y="83"/>
                        <a:pt x="101" y="80"/>
                      </a:cubicBezTo>
                      <a:cubicBezTo>
                        <a:pt x="101" y="77"/>
                        <a:pt x="101" y="79"/>
                        <a:pt x="102" y="78"/>
                      </a:cubicBezTo>
                      <a:cubicBezTo>
                        <a:pt x="101" y="77"/>
                        <a:pt x="101" y="79"/>
                        <a:pt x="101" y="77"/>
                      </a:cubicBezTo>
                      <a:cubicBezTo>
                        <a:pt x="101" y="73"/>
                        <a:pt x="96" y="64"/>
                        <a:pt x="95" y="61"/>
                      </a:cubicBezTo>
                      <a:cubicBezTo>
                        <a:pt x="95" y="61"/>
                        <a:pt x="101" y="55"/>
                        <a:pt x="102" y="55"/>
                      </a:cubicBezTo>
                      <a:cubicBezTo>
                        <a:pt x="104" y="52"/>
                        <a:pt x="106" y="51"/>
                        <a:pt x="109" y="48"/>
                      </a:cubicBezTo>
                      <a:cubicBezTo>
                        <a:pt x="110" y="47"/>
                        <a:pt x="112" y="46"/>
                        <a:pt x="113" y="45"/>
                      </a:cubicBezTo>
                      <a:cubicBezTo>
                        <a:pt x="114" y="44"/>
                        <a:pt x="115" y="43"/>
                        <a:pt x="116" y="42"/>
                      </a:cubicBezTo>
                      <a:cubicBezTo>
                        <a:pt x="118" y="39"/>
                        <a:pt x="118" y="35"/>
                        <a:pt x="121" y="34"/>
                      </a:cubicBezTo>
                      <a:cubicBezTo>
                        <a:pt x="121" y="32"/>
                        <a:pt x="121" y="32"/>
                        <a:pt x="121" y="32"/>
                      </a:cubicBezTo>
                      <a:cubicBezTo>
                        <a:pt x="121" y="27"/>
                        <a:pt x="123" y="30"/>
                        <a:pt x="120" y="24"/>
                      </a:cubicBezTo>
                      <a:cubicBezTo>
                        <a:pt x="118" y="20"/>
                        <a:pt x="118" y="20"/>
                        <a:pt x="116" y="17"/>
                      </a:cubicBezTo>
                      <a:cubicBezTo>
                        <a:pt x="113" y="17"/>
                        <a:pt x="113" y="17"/>
                        <a:pt x="113" y="17"/>
                      </a:cubicBezTo>
                      <a:cubicBezTo>
                        <a:pt x="111" y="17"/>
                        <a:pt x="105" y="19"/>
                        <a:pt x="104" y="20"/>
                      </a:cubicBezTo>
                      <a:cubicBezTo>
                        <a:pt x="101" y="23"/>
                        <a:pt x="102" y="23"/>
                        <a:pt x="96" y="24"/>
                      </a:cubicBezTo>
                      <a:lnTo>
                        <a:pt x="93" y="2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36" name="i$1îďê">
                  <a:extLst>
                    <a:ext uri="{FF2B5EF4-FFF2-40B4-BE49-F238E27FC236}">
                      <a16:creationId xmlns:a16="http://schemas.microsoft.com/office/drawing/2014/main" id="{8665BA94-6884-4FB6-8EB3-DBAB89849601}"/>
                    </a:ext>
                  </a:extLst>
                </p:cNvPr>
                <p:cNvSpPr/>
                <p:nvPr/>
              </p:nvSpPr>
              <p:spPr bwMode="auto">
                <a:xfrm>
                  <a:off x="5159376" y="3357563"/>
                  <a:ext cx="117475" cy="366713"/>
                </a:xfrm>
                <a:custGeom>
                  <a:avLst/>
                  <a:gdLst>
                    <a:gd name="T0" fmla="*/ 23 w 36"/>
                    <a:gd name="T1" fmla="*/ 14 h 110"/>
                    <a:gd name="T2" fmla="*/ 23 w 36"/>
                    <a:gd name="T3" fmla="*/ 12 h 110"/>
                    <a:gd name="T4" fmla="*/ 18 w 36"/>
                    <a:gd name="T5" fmla="*/ 6 h 110"/>
                    <a:gd name="T6" fmla="*/ 13 w 36"/>
                    <a:gd name="T7" fmla="*/ 0 h 110"/>
                    <a:gd name="T8" fmla="*/ 11 w 36"/>
                    <a:gd name="T9" fmla="*/ 4 h 110"/>
                    <a:gd name="T10" fmla="*/ 13 w 36"/>
                    <a:gd name="T11" fmla="*/ 16 h 110"/>
                    <a:gd name="T12" fmla="*/ 12 w 36"/>
                    <a:gd name="T13" fmla="*/ 34 h 110"/>
                    <a:gd name="T14" fmla="*/ 7 w 36"/>
                    <a:gd name="T15" fmla="*/ 65 h 110"/>
                    <a:gd name="T16" fmla="*/ 3 w 36"/>
                    <a:gd name="T17" fmla="*/ 80 h 110"/>
                    <a:gd name="T18" fmla="*/ 0 w 36"/>
                    <a:gd name="T19" fmla="*/ 95 h 110"/>
                    <a:gd name="T20" fmla="*/ 0 w 36"/>
                    <a:gd name="T21" fmla="*/ 98 h 110"/>
                    <a:gd name="T22" fmla="*/ 0 w 36"/>
                    <a:gd name="T23" fmla="*/ 100 h 110"/>
                    <a:gd name="T24" fmla="*/ 4 w 36"/>
                    <a:gd name="T25" fmla="*/ 105 h 110"/>
                    <a:gd name="T26" fmla="*/ 9 w 36"/>
                    <a:gd name="T27" fmla="*/ 110 h 110"/>
                    <a:gd name="T28" fmla="*/ 15 w 36"/>
                    <a:gd name="T29" fmla="*/ 104 h 110"/>
                    <a:gd name="T30" fmla="*/ 18 w 36"/>
                    <a:gd name="T31" fmla="*/ 96 h 110"/>
                    <a:gd name="T32" fmla="*/ 18 w 36"/>
                    <a:gd name="T33" fmla="*/ 90 h 110"/>
                    <a:gd name="T34" fmla="*/ 21 w 36"/>
                    <a:gd name="T35" fmla="*/ 71 h 110"/>
                    <a:gd name="T36" fmla="*/ 25 w 36"/>
                    <a:gd name="T37" fmla="*/ 53 h 110"/>
                    <a:gd name="T38" fmla="*/ 30 w 36"/>
                    <a:gd name="T39" fmla="*/ 36 h 110"/>
                    <a:gd name="T40" fmla="*/ 35 w 36"/>
                    <a:gd name="T41" fmla="*/ 20 h 110"/>
                    <a:gd name="T42" fmla="*/ 33 w 36"/>
                    <a:gd name="T43" fmla="*/ 20 h 110"/>
                    <a:gd name="T44" fmla="*/ 30 w 36"/>
                    <a:gd name="T45" fmla="*/ 22 h 110"/>
                    <a:gd name="T46" fmla="*/ 23 w 36"/>
                    <a:gd name="T47" fmla="*/ 17 h 110"/>
                    <a:gd name="T48" fmla="*/ 23 w 36"/>
                    <a:gd name="T49" fmla="*/ 15 h 110"/>
                    <a:gd name="T50" fmla="*/ 23 w 36"/>
                    <a:gd name="T51" fmla="*/ 1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6" h="110">
                      <a:moveTo>
                        <a:pt x="23" y="14"/>
                      </a:move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1" y="8"/>
                        <a:pt x="22" y="9"/>
                        <a:pt x="18" y="6"/>
                      </a:cubicBezTo>
                      <a:cubicBezTo>
                        <a:pt x="17" y="4"/>
                        <a:pt x="15" y="2"/>
                        <a:pt x="13" y="0"/>
                      </a:cubicBezTo>
                      <a:cubicBezTo>
                        <a:pt x="12" y="1"/>
                        <a:pt x="11" y="3"/>
                        <a:pt x="11" y="4"/>
                      </a:cubicBezTo>
                      <a:cubicBezTo>
                        <a:pt x="11" y="7"/>
                        <a:pt x="13" y="12"/>
                        <a:pt x="13" y="16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2" y="43"/>
                        <a:pt x="9" y="56"/>
                        <a:pt x="7" y="65"/>
                      </a:cubicBezTo>
                      <a:cubicBezTo>
                        <a:pt x="6" y="72"/>
                        <a:pt x="4" y="75"/>
                        <a:pt x="3" y="80"/>
                      </a:cubicBezTo>
                      <a:cubicBezTo>
                        <a:pt x="2" y="85"/>
                        <a:pt x="0" y="91"/>
                        <a:pt x="0" y="95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2" y="102"/>
                        <a:pt x="2" y="103"/>
                        <a:pt x="4" y="105"/>
                      </a:cubicBezTo>
                      <a:cubicBezTo>
                        <a:pt x="6" y="108"/>
                        <a:pt x="7" y="108"/>
                        <a:pt x="9" y="110"/>
                      </a:cubicBezTo>
                      <a:cubicBezTo>
                        <a:pt x="12" y="108"/>
                        <a:pt x="13" y="108"/>
                        <a:pt x="15" y="104"/>
                      </a:cubicBezTo>
                      <a:cubicBezTo>
                        <a:pt x="16" y="102"/>
                        <a:pt x="18" y="99"/>
                        <a:pt x="18" y="96"/>
                      </a:cubicBezTo>
                      <a:cubicBezTo>
                        <a:pt x="18" y="90"/>
                        <a:pt x="18" y="90"/>
                        <a:pt x="18" y="90"/>
                      </a:cubicBezTo>
                      <a:cubicBezTo>
                        <a:pt x="18" y="83"/>
                        <a:pt x="20" y="77"/>
                        <a:pt x="21" y="71"/>
                      </a:cubicBezTo>
                      <a:cubicBezTo>
                        <a:pt x="23" y="65"/>
                        <a:pt x="23" y="59"/>
                        <a:pt x="25" y="53"/>
                      </a:cubicBezTo>
                      <a:cubicBezTo>
                        <a:pt x="26" y="47"/>
                        <a:pt x="29" y="42"/>
                        <a:pt x="30" y="36"/>
                      </a:cubicBezTo>
                      <a:cubicBezTo>
                        <a:pt x="31" y="28"/>
                        <a:pt x="34" y="27"/>
                        <a:pt x="35" y="20"/>
                      </a:cubicBezTo>
                      <a:cubicBezTo>
                        <a:pt x="34" y="19"/>
                        <a:pt x="36" y="20"/>
                        <a:pt x="33" y="20"/>
                      </a:cubicBezTo>
                      <a:cubicBezTo>
                        <a:pt x="33" y="20"/>
                        <a:pt x="30" y="22"/>
                        <a:pt x="30" y="22"/>
                      </a:cubicBezTo>
                      <a:cubicBezTo>
                        <a:pt x="25" y="21"/>
                        <a:pt x="25" y="21"/>
                        <a:pt x="23" y="17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lnTo>
                        <a:pt x="23" y="14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10" name="ïšḻíďé">
                <a:extLst>
                  <a:ext uri="{FF2B5EF4-FFF2-40B4-BE49-F238E27FC236}">
                    <a16:creationId xmlns:a16="http://schemas.microsoft.com/office/drawing/2014/main" id="{4104FE16-8E52-425C-A5FE-AAFE80754B75}"/>
                  </a:ext>
                </a:extLst>
              </p:cNvPr>
              <p:cNvGrpSpPr/>
              <p:nvPr/>
            </p:nvGrpSpPr>
            <p:grpSpPr>
              <a:xfrm>
                <a:off x="4412452" y="3781425"/>
                <a:ext cx="2312689" cy="166461"/>
                <a:chOff x="6986588" y="3521075"/>
                <a:chExt cx="1654176" cy="119063"/>
              </a:xfrm>
            </p:grpSpPr>
            <p:sp>
              <p:nvSpPr>
                <p:cNvPr id="111" name="iṡliḍê">
                  <a:extLst>
                    <a:ext uri="{FF2B5EF4-FFF2-40B4-BE49-F238E27FC236}">
                      <a16:creationId xmlns:a16="http://schemas.microsoft.com/office/drawing/2014/main" id="{A7E3170D-A15E-4631-8EBF-6F5B01DDBBD2}"/>
                    </a:ext>
                  </a:extLst>
                </p:cNvPr>
                <p:cNvSpPr/>
                <p:nvPr/>
              </p:nvSpPr>
              <p:spPr bwMode="auto">
                <a:xfrm>
                  <a:off x="6986588" y="3521075"/>
                  <a:ext cx="155575" cy="119063"/>
                </a:xfrm>
                <a:custGeom>
                  <a:avLst/>
                  <a:gdLst>
                    <a:gd name="T0" fmla="*/ 84 w 98"/>
                    <a:gd name="T1" fmla="*/ 0 h 75"/>
                    <a:gd name="T2" fmla="*/ 59 w 98"/>
                    <a:gd name="T3" fmla="*/ 52 h 75"/>
                    <a:gd name="T4" fmla="*/ 57 w 98"/>
                    <a:gd name="T5" fmla="*/ 0 h 75"/>
                    <a:gd name="T6" fmla="*/ 40 w 98"/>
                    <a:gd name="T7" fmla="*/ 0 h 75"/>
                    <a:gd name="T8" fmla="*/ 15 w 98"/>
                    <a:gd name="T9" fmla="*/ 52 h 75"/>
                    <a:gd name="T10" fmla="*/ 15 w 98"/>
                    <a:gd name="T11" fmla="*/ 0 h 75"/>
                    <a:gd name="T12" fmla="*/ 0 w 98"/>
                    <a:gd name="T13" fmla="*/ 0 h 75"/>
                    <a:gd name="T14" fmla="*/ 2 w 98"/>
                    <a:gd name="T15" fmla="*/ 75 h 75"/>
                    <a:gd name="T16" fmla="*/ 19 w 98"/>
                    <a:gd name="T17" fmla="*/ 75 h 75"/>
                    <a:gd name="T18" fmla="*/ 44 w 98"/>
                    <a:gd name="T19" fmla="*/ 21 h 75"/>
                    <a:gd name="T20" fmla="*/ 46 w 98"/>
                    <a:gd name="T21" fmla="*/ 75 h 75"/>
                    <a:gd name="T22" fmla="*/ 63 w 98"/>
                    <a:gd name="T23" fmla="*/ 75 h 75"/>
                    <a:gd name="T24" fmla="*/ 98 w 98"/>
                    <a:gd name="T25" fmla="*/ 0 h 75"/>
                    <a:gd name="T26" fmla="*/ 84 w 98"/>
                    <a:gd name="T2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8" h="75">
                      <a:moveTo>
                        <a:pt x="84" y="0"/>
                      </a:moveTo>
                      <a:lnTo>
                        <a:pt x="59" y="52"/>
                      </a:lnTo>
                      <a:lnTo>
                        <a:pt x="57" y="0"/>
                      </a:lnTo>
                      <a:lnTo>
                        <a:pt x="40" y="0"/>
                      </a:lnTo>
                      <a:lnTo>
                        <a:pt x="15" y="52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2" y="75"/>
                      </a:lnTo>
                      <a:lnTo>
                        <a:pt x="19" y="75"/>
                      </a:lnTo>
                      <a:lnTo>
                        <a:pt x="44" y="21"/>
                      </a:lnTo>
                      <a:lnTo>
                        <a:pt x="46" y="75"/>
                      </a:lnTo>
                      <a:lnTo>
                        <a:pt x="63" y="75"/>
                      </a:lnTo>
                      <a:lnTo>
                        <a:pt x="98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2" name="îšlíḍê">
                  <a:extLst>
                    <a:ext uri="{FF2B5EF4-FFF2-40B4-BE49-F238E27FC236}">
                      <a16:creationId xmlns:a16="http://schemas.microsoft.com/office/drawing/2014/main" id="{EA4D4CC7-A683-4860-900D-9533AD5796B8}"/>
                    </a:ext>
                  </a:extLst>
                </p:cNvPr>
                <p:cNvSpPr/>
                <p:nvPr/>
              </p:nvSpPr>
              <p:spPr bwMode="auto">
                <a:xfrm>
                  <a:off x="7135813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3" name="işļíďê">
                  <a:extLst>
                    <a:ext uri="{FF2B5EF4-FFF2-40B4-BE49-F238E27FC236}">
                      <a16:creationId xmlns:a16="http://schemas.microsoft.com/office/drawing/2014/main" id="{F0CE974F-ABE9-4DAB-AE12-E7AC0E2A2528}"/>
                    </a:ext>
                  </a:extLst>
                </p:cNvPr>
                <p:cNvSpPr/>
                <p:nvPr/>
              </p:nvSpPr>
              <p:spPr bwMode="auto">
                <a:xfrm>
                  <a:off x="7248526" y="3521075"/>
                  <a:ext cx="114300" cy="119063"/>
                </a:xfrm>
                <a:custGeom>
                  <a:avLst/>
                  <a:gdLst>
                    <a:gd name="T0" fmla="*/ 58 w 72"/>
                    <a:gd name="T1" fmla="*/ 0 h 75"/>
                    <a:gd name="T2" fmla="*/ 52 w 72"/>
                    <a:gd name="T3" fmla="*/ 29 h 75"/>
                    <a:gd name="T4" fmla="*/ 22 w 72"/>
                    <a:gd name="T5" fmla="*/ 29 h 75"/>
                    <a:gd name="T6" fmla="*/ 29 w 72"/>
                    <a:gd name="T7" fmla="*/ 0 h 75"/>
                    <a:gd name="T8" fmla="*/ 14 w 72"/>
                    <a:gd name="T9" fmla="*/ 0 h 75"/>
                    <a:gd name="T10" fmla="*/ 0 w 72"/>
                    <a:gd name="T11" fmla="*/ 75 h 75"/>
                    <a:gd name="T12" fmla="*/ 14 w 72"/>
                    <a:gd name="T13" fmla="*/ 75 h 75"/>
                    <a:gd name="T14" fmla="*/ 20 w 72"/>
                    <a:gd name="T15" fmla="*/ 42 h 75"/>
                    <a:gd name="T16" fmla="*/ 50 w 72"/>
                    <a:gd name="T17" fmla="*/ 42 h 75"/>
                    <a:gd name="T18" fmla="*/ 43 w 72"/>
                    <a:gd name="T19" fmla="*/ 75 h 75"/>
                    <a:gd name="T20" fmla="*/ 58 w 72"/>
                    <a:gd name="T21" fmla="*/ 75 h 75"/>
                    <a:gd name="T22" fmla="*/ 72 w 72"/>
                    <a:gd name="T23" fmla="*/ 0 h 75"/>
                    <a:gd name="T24" fmla="*/ 58 w 72"/>
                    <a:gd name="T2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75">
                      <a:moveTo>
                        <a:pt x="58" y="0"/>
                      </a:moveTo>
                      <a:lnTo>
                        <a:pt x="52" y="29"/>
                      </a:lnTo>
                      <a:lnTo>
                        <a:pt x="22" y="29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lnTo>
                        <a:pt x="14" y="75"/>
                      </a:lnTo>
                      <a:lnTo>
                        <a:pt x="20" y="42"/>
                      </a:lnTo>
                      <a:lnTo>
                        <a:pt x="50" y="42"/>
                      </a:lnTo>
                      <a:lnTo>
                        <a:pt x="43" y="75"/>
                      </a:lnTo>
                      <a:lnTo>
                        <a:pt x="58" y="75"/>
                      </a:lnTo>
                      <a:lnTo>
                        <a:pt x="72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4" name="iS1ïḑe">
                  <a:extLst>
                    <a:ext uri="{FF2B5EF4-FFF2-40B4-BE49-F238E27FC236}">
                      <a16:creationId xmlns:a16="http://schemas.microsoft.com/office/drawing/2014/main" id="{610E223F-864E-4F9B-B4E6-17B75AF37799}"/>
                    </a:ext>
                  </a:extLst>
                </p:cNvPr>
                <p:cNvSpPr/>
                <p:nvPr/>
              </p:nvSpPr>
              <p:spPr bwMode="auto">
                <a:xfrm>
                  <a:off x="7356476" y="3521075"/>
                  <a:ext cx="112713" cy="119063"/>
                </a:xfrm>
                <a:custGeom>
                  <a:avLst/>
                  <a:gdLst>
                    <a:gd name="T0" fmla="*/ 42 w 71"/>
                    <a:gd name="T1" fmla="*/ 0 h 75"/>
                    <a:gd name="T2" fmla="*/ 0 w 71"/>
                    <a:gd name="T3" fmla="*/ 75 h 75"/>
                    <a:gd name="T4" fmla="*/ 15 w 71"/>
                    <a:gd name="T5" fmla="*/ 75 h 75"/>
                    <a:gd name="T6" fmla="*/ 23 w 71"/>
                    <a:gd name="T7" fmla="*/ 59 h 75"/>
                    <a:gd name="T8" fmla="*/ 54 w 71"/>
                    <a:gd name="T9" fmla="*/ 59 h 75"/>
                    <a:gd name="T10" fmla="*/ 56 w 71"/>
                    <a:gd name="T11" fmla="*/ 75 h 75"/>
                    <a:gd name="T12" fmla="*/ 71 w 71"/>
                    <a:gd name="T13" fmla="*/ 75 h 75"/>
                    <a:gd name="T14" fmla="*/ 58 w 71"/>
                    <a:gd name="T15" fmla="*/ 0 h 75"/>
                    <a:gd name="T16" fmla="*/ 42 w 71"/>
                    <a:gd name="T17" fmla="*/ 0 h 75"/>
                    <a:gd name="T18" fmla="*/ 29 w 71"/>
                    <a:gd name="T19" fmla="*/ 46 h 75"/>
                    <a:gd name="T20" fmla="*/ 48 w 71"/>
                    <a:gd name="T21" fmla="*/ 17 h 75"/>
                    <a:gd name="T22" fmla="*/ 52 w 71"/>
                    <a:gd name="T23" fmla="*/ 46 h 75"/>
                    <a:gd name="T24" fmla="*/ 29 w 71"/>
                    <a:gd name="T25" fmla="*/ 4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1" h="75">
                      <a:moveTo>
                        <a:pt x="42" y="0"/>
                      </a:move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3" y="59"/>
                      </a:lnTo>
                      <a:lnTo>
                        <a:pt x="54" y="59"/>
                      </a:lnTo>
                      <a:lnTo>
                        <a:pt x="56" y="75"/>
                      </a:lnTo>
                      <a:lnTo>
                        <a:pt x="71" y="75"/>
                      </a:lnTo>
                      <a:lnTo>
                        <a:pt x="58" y="0"/>
                      </a:lnTo>
                      <a:lnTo>
                        <a:pt x="42" y="0"/>
                      </a:lnTo>
                      <a:close/>
                      <a:moveTo>
                        <a:pt x="29" y="46"/>
                      </a:moveTo>
                      <a:lnTo>
                        <a:pt x="48" y="17"/>
                      </a:lnTo>
                      <a:lnTo>
                        <a:pt x="52" y="46"/>
                      </a:lnTo>
                      <a:lnTo>
                        <a:pt x="29" y="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5" name="íśļîḋê">
                  <a:extLst>
                    <a:ext uri="{FF2B5EF4-FFF2-40B4-BE49-F238E27FC236}">
                      <a16:creationId xmlns:a16="http://schemas.microsoft.com/office/drawing/2014/main" id="{F0B91801-AB99-4A9A-9EBF-1A7BB5F2A41E}"/>
                    </a:ext>
                  </a:extLst>
                </p:cNvPr>
                <p:cNvSpPr/>
                <p:nvPr/>
              </p:nvSpPr>
              <p:spPr bwMode="auto">
                <a:xfrm>
                  <a:off x="7481888" y="3521075"/>
                  <a:ext cx="119063" cy="119063"/>
                </a:xfrm>
                <a:custGeom>
                  <a:avLst/>
                  <a:gdLst>
                    <a:gd name="T0" fmla="*/ 50 w 75"/>
                    <a:gd name="T1" fmla="*/ 50 h 75"/>
                    <a:gd name="T2" fmla="*/ 31 w 75"/>
                    <a:gd name="T3" fmla="*/ 0 h 75"/>
                    <a:gd name="T4" fmla="*/ 17 w 75"/>
                    <a:gd name="T5" fmla="*/ 0 h 75"/>
                    <a:gd name="T6" fmla="*/ 0 w 75"/>
                    <a:gd name="T7" fmla="*/ 75 h 75"/>
                    <a:gd name="T8" fmla="*/ 15 w 75"/>
                    <a:gd name="T9" fmla="*/ 75 h 75"/>
                    <a:gd name="T10" fmla="*/ 25 w 75"/>
                    <a:gd name="T11" fmla="*/ 25 h 75"/>
                    <a:gd name="T12" fmla="*/ 46 w 75"/>
                    <a:gd name="T13" fmla="*/ 75 h 75"/>
                    <a:gd name="T14" fmla="*/ 58 w 75"/>
                    <a:gd name="T15" fmla="*/ 75 h 75"/>
                    <a:gd name="T16" fmla="*/ 75 w 75"/>
                    <a:gd name="T17" fmla="*/ 0 h 75"/>
                    <a:gd name="T18" fmla="*/ 61 w 75"/>
                    <a:gd name="T19" fmla="*/ 0 h 75"/>
                    <a:gd name="T20" fmla="*/ 50 w 75"/>
                    <a:gd name="T21" fmla="*/ 5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5" h="75">
                      <a:moveTo>
                        <a:pt x="50" y="50"/>
                      </a:moveTo>
                      <a:lnTo>
                        <a:pt x="31" y="0"/>
                      </a:lnTo>
                      <a:lnTo>
                        <a:pt x="17" y="0"/>
                      </a:ln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5" y="25"/>
                      </a:lnTo>
                      <a:lnTo>
                        <a:pt x="46" y="75"/>
                      </a:lnTo>
                      <a:lnTo>
                        <a:pt x="58" y="75"/>
                      </a:lnTo>
                      <a:lnTo>
                        <a:pt x="75" y="0"/>
                      </a:lnTo>
                      <a:lnTo>
                        <a:pt x="61" y="0"/>
                      </a:lnTo>
                      <a:lnTo>
                        <a:pt x="50" y="5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6" name="ïṧļídé">
                  <a:extLst>
                    <a:ext uri="{FF2B5EF4-FFF2-40B4-BE49-F238E27FC236}">
                      <a16:creationId xmlns:a16="http://schemas.microsoft.com/office/drawing/2014/main" id="{F3911B4A-BEF8-4237-B362-FE78EBB3A997}"/>
                    </a:ext>
                  </a:extLst>
                </p:cNvPr>
                <p:cNvSpPr/>
                <p:nvPr/>
              </p:nvSpPr>
              <p:spPr bwMode="auto">
                <a:xfrm>
                  <a:off x="7653338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7" name="iśḻiďè">
                  <a:extLst>
                    <a:ext uri="{FF2B5EF4-FFF2-40B4-BE49-F238E27FC236}">
                      <a16:creationId xmlns:a16="http://schemas.microsoft.com/office/drawing/2014/main" id="{9F779B64-228E-41F3-9D5F-71AF26B49B51}"/>
                    </a:ext>
                  </a:extLst>
                </p:cNvPr>
                <p:cNvSpPr/>
                <p:nvPr/>
              </p:nvSpPr>
              <p:spPr bwMode="auto">
                <a:xfrm>
                  <a:off x="7766051" y="3521075"/>
                  <a:ext cx="115888" cy="119063"/>
                </a:xfrm>
                <a:custGeom>
                  <a:avLst/>
                  <a:gdLst>
                    <a:gd name="T0" fmla="*/ 58 w 73"/>
                    <a:gd name="T1" fmla="*/ 0 h 75"/>
                    <a:gd name="T2" fmla="*/ 50 w 73"/>
                    <a:gd name="T3" fmla="*/ 50 h 75"/>
                    <a:gd name="T4" fmla="*/ 29 w 73"/>
                    <a:gd name="T5" fmla="*/ 0 h 75"/>
                    <a:gd name="T6" fmla="*/ 15 w 73"/>
                    <a:gd name="T7" fmla="*/ 0 h 75"/>
                    <a:gd name="T8" fmla="*/ 0 w 73"/>
                    <a:gd name="T9" fmla="*/ 75 h 75"/>
                    <a:gd name="T10" fmla="*/ 13 w 73"/>
                    <a:gd name="T11" fmla="*/ 75 h 75"/>
                    <a:gd name="T12" fmla="*/ 23 w 73"/>
                    <a:gd name="T13" fmla="*/ 25 h 75"/>
                    <a:gd name="T14" fmla="*/ 44 w 73"/>
                    <a:gd name="T15" fmla="*/ 75 h 75"/>
                    <a:gd name="T16" fmla="*/ 58 w 73"/>
                    <a:gd name="T17" fmla="*/ 75 h 75"/>
                    <a:gd name="T18" fmla="*/ 73 w 73"/>
                    <a:gd name="T19" fmla="*/ 0 h 75"/>
                    <a:gd name="T20" fmla="*/ 58 w 73"/>
                    <a:gd name="T2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3" h="75">
                      <a:moveTo>
                        <a:pt x="58" y="0"/>
                      </a:moveTo>
                      <a:lnTo>
                        <a:pt x="50" y="50"/>
                      </a:lnTo>
                      <a:lnTo>
                        <a:pt x="29" y="0"/>
                      </a:lnTo>
                      <a:lnTo>
                        <a:pt x="15" y="0"/>
                      </a:lnTo>
                      <a:lnTo>
                        <a:pt x="0" y="75"/>
                      </a:lnTo>
                      <a:lnTo>
                        <a:pt x="13" y="75"/>
                      </a:lnTo>
                      <a:lnTo>
                        <a:pt x="23" y="25"/>
                      </a:lnTo>
                      <a:lnTo>
                        <a:pt x="44" y="75"/>
                      </a:lnTo>
                      <a:lnTo>
                        <a:pt x="58" y="75"/>
                      </a:lnTo>
                      <a:lnTo>
                        <a:pt x="73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8" name="íṧḷiḑê">
                  <a:extLst>
                    <a:ext uri="{FF2B5EF4-FFF2-40B4-BE49-F238E27FC236}">
                      <a16:creationId xmlns:a16="http://schemas.microsoft.com/office/drawing/2014/main" id="{D2F0FC39-8CFB-4E05-87D9-0FC7BD65DED4}"/>
                    </a:ext>
                  </a:extLst>
                </p:cNvPr>
                <p:cNvSpPr/>
                <p:nvPr/>
              </p:nvSpPr>
              <p:spPr bwMode="auto">
                <a:xfrm>
                  <a:off x="7881938" y="3521075"/>
                  <a:ext cx="49213" cy="119063"/>
                </a:xfrm>
                <a:custGeom>
                  <a:avLst/>
                  <a:gdLst>
                    <a:gd name="T0" fmla="*/ 0 w 31"/>
                    <a:gd name="T1" fmla="*/ 75 h 75"/>
                    <a:gd name="T2" fmla="*/ 14 w 31"/>
                    <a:gd name="T3" fmla="*/ 75 h 75"/>
                    <a:gd name="T4" fmla="*/ 31 w 31"/>
                    <a:gd name="T5" fmla="*/ 0 h 75"/>
                    <a:gd name="T6" fmla="*/ 14 w 31"/>
                    <a:gd name="T7" fmla="*/ 0 h 75"/>
                    <a:gd name="T8" fmla="*/ 0 w 31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31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19" name="íṩḻïdê">
                  <a:extLst>
                    <a:ext uri="{FF2B5EF4-FFF2-40B4-BE49-F238E27FC236}">
                      <a16:creationId xmlns:a16="http://schemas.microsoft.com/office/drawing/2014/main" id="{2F09DBBE-16EE-43FA-AA96-282EBCD5EEA3}"/>
                    </a:ext>
                  </a:extLst>
                </p:cNvPr>
                <p:cNvSpPr/>
                <p:nvPr/>
              </p:nvSpPr>
              <p:spPr bwMode="auto">
                <a:xfrm>
                  <a:off x="7940676" y="3521075"/>
                  <a:ext cx="109538" cy="119063"/>
                </a:xfrm>
                <a:custGeom>
                  <a:avLst/>
                  <a:gdLst>
                    <a:gd name="T0" fmla="*/ 54 w 69"/>
                    <a:gd name="T1" fmla="*/ 0 h 75"/>
                    <a:gd name="T2" fmla="*/ 23 w 69"/>
                    <a:gd name="T3" fmla="*/ 57 h 75"/>
                    <a:gd name="T4" fmla="*/ 15 w 69"/>
                    <a:gd name="T5" fmla="*/ 0 h 75"/>
                    <a:gd name="T6" fmla="*/ 0 w 69"/>
                    <a:gd name="T7" fmla="*/ 0 h 75"/>
                    <a:gd name="T8" fmla="*/ 13 w 69"/>
                    <a:gd name="T9" fmla="*/ 75 h 75"/>
                    <a:gd name="T10" fmla="*/ 29 w 69"/>
                    <a:gd name="T11" fmla="*/ 75 h 75"/>
                    <a:gd name="T12" fmla="*/ 69 w 69"/>
                    <a:gd name="T13" fmla="*/ 0 h 75"/>
                    <a:gd name="T14" fmla="*/ 54 w 69"/>
                    <a:gd name="T1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" h="75">
                      <a:moveTo>
                        <a:pt x="54" y="0"/>
                      </a:moveTo>
                      <a:lnTo>
                        <a:pt x="23" y="57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13" y="75"/>
                      </a:lnTo>
                      <a:lnTo>
                        <a:pt x="29" y="75"/>
                      </a:lnTo>
                      <a:lnTo>
                        <a:pt x="69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0" name="îśḻiḓe">
                  <a:extLst>
                    <a:ext uri="{FF2B5EF4-FFF2-40B4-BE49-F238E27FC236}">
                      <a16:creationId xmlns:a16="http://schemas.microsoft.com/office/drawing/2014/main" id="{9DA71AD4-C73B-449D-9F78-3A6D2F5E46D1}"/>
                    </a:ext>
                  </a:extLst>
                </p:cNvPr>
                <p:cNvSpPr/>
                <p:nvPr/>
              </p:nvSpPr>
              <p:spPr bwMode="auto">
                <a:xfrm>
                  <a:off x="8037513" y="3521075"/>
                  <a:ext cx="111125" cy="119063"/>
                </a:xfrm>
                <a:custGeom>
                  <a:avLst/>
                  <a:gdLst>
                    <a:gd name="T0" fmla="*/ 68 w 70"/>
                    <a:gd name="T1" fmla="*/ 12 h 75"/>
                    <a:gd name="T2" fmla="*/ 70 w 70"/>
                    <a:gd name="T3" fmla="*/ 0 h 75"/>
                    <a:gd name="T4" fmla="*/ 16 w 70"/>
                    <a:gd name="T5" fmla="*/ 0 h 75"/>
                    <a:gd name="T6" fmla="*/ 0 w 70"/>
                    <a:gd name="T7" fmla="*/ 75 h 75"/>
                    <a:gd name="T8" fmla="*/ 58 w 70"/>
                    <a:gd name="T9" fmla="*/ 75 h 75"/>
                    <a:gd name="T10" fmla="*/ 60 w 70"/>
                    <a:gd name="T11" fmla="*/ 63 h 75"/>
                    <a:gd name="T12" fmla="*/ 16 w 70"/>
                    <a:gd name="T13" fmla="*/ 63 h 75"/>
                    <a:gd name="T14" fmla="*/ 22 w 70"/>
                    <a:gd name="T15" fmla="*/ 42 h 75"/>
                    <a:gd name="T16" fmla="*/ 60 w 70"/>
                    <a:gd name="T17" fmla="*/ 42 h 75"/>
                    <a:gd name="T18" fmla="*/ 62 w 70"/>
                    <a:gd name="T19" fmla="*/ 29 h 75"/>
                    <a:gd name="T20" fmla="*/ 24 w 70"/>
                    <a:gd name="T21" fmla="*/ 29 h 75"/>
                    <a:gd name="T22" fmla="*/ 29 w 70"/>
                    <a:gd name="T23" fmla="*/ 12 h 75"/>
                    <a:gd name="T24" fmla="*/ 68 w 70"/>
                    <a:gd name="T25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0" h="75">
                      <a:moveTo>
                        <a:pt x="68" y="12"/>
                      </a:moveTo>
                      <a:lnTo>
                        <a:pt x="70" y="0"/>
                      </a:lnTo>
                      <a:lnTo>
                        <a:pt x="16" y="0"/>
                      </a:lnTo>
                      <a:lnTo>
                        <a:pt x="0" y="75"/>
                      </a:lnTo>
                      <a:lnTo>
                        <a:pt x="58" y="75"/>
                      </a:lnTo>
                      <a:lnTo>
                        <a:pt x="60" y="63"/>
                      </a:lnTo>
                      <a:lnTo>
                        <a:pt x="16" y="63"/>
                      </a:lnTo>
                      <a:lnTo>
                        <a:pt x="22" y="42"/>
                      </a:lnTo>
                      <a:lnTo>
                        <a:pt x="60" y="42"/>
                      </a:lnTo>
                      <a:lnTo>
                        <a:pt x="62" y="29"/>
                      </a:lnTo>
                      <a:lnTo>
                        <a:pt x="24" y="29"/>
                      </a:lnTo>
                      <a:lnTo>
                        <a:pt x="29" y="12"/>
                      </a:lnTo>
                      <a:lnTo>
                        <a:pt x="68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1" name="íšļíḍé">
                  <a:extLst>
                    <a:ext uri="{FF2B5EF4-FFF2-40B4-BE49-F238E27FC236}">
                      <a16:creationId xmlns:a16="http://schemas.microsoft.com/office/drawing/2014/main" id="{C03F78F2-0111-4917-95D9-3CA8B3F8B24C}"/>
                    </a:ext>
                  </a:extLst>
                </p:cNvPr>
                <p:cNvSpPr/>
                <p:nvPr/>
              </p:nvSpPr>
              <p:spPr bwMode="auto">
                <a:xfrm>
                  <a:off x="8145463" y="3521075"/>
                  <a:ext cx="115888" cy="119063"/>
                </a:xfrm>
                <a:custGeom>
                  <a:avLst/>
                  <a:gdLst>
                    <a:gd name="T0" fmla="*/ 30 w 35"/>
                    <a:gd name="T1" fmla="*/ 1 h 36"/>
                    <a:gd name="T2" fmla="*/ 24 w 35"/>
                    <a:gd name="T3" fmla="*/ 0 h 36"/>
                    <a:gd name="T4" fmla="*/ 8 w 35"/>
                    <a:gd name="T5" fmla="*/ 0 h 36"/>
                    <a:gd name="T6" fmla="*/ 0 w 35"/>
                    <a:gd name="T7" fmla="*/ 36 h 36"/>
                    <a:gd name="T8" fmla="*/ 8 w 35"/>
                    <a:gd name="T9" fmla="*/ 36 h 36"/>
                    <a:gd name="T10" fmla="*/ 11 w 35"/>
                    <a:gd name="T11" fmla="*/ 21 h 36"/>
                    <a:gd name="T12" fmla="*/ 14 w 35"/>
                    <a:gd name="T13" fmla="*/ 21 h 36"/>
                    <a:gd name="T14" fmla="*/ 17 w 35"/>
                    <a:gd name="T15" fmla="*/ 22 h 36"/>
                    <a:gd name="T16" fmla="*/ 21 w 35"/>
                    <a:gd name="T17" fmla="*/ 26 h 36"/>
                    <a:gd name="T18" fmla="*/ 24 w 35"/>
                    <a:gd name="T19" fmla="*/ 36 h 36"/>
                    <a:gd name="T20" fmla="*/ 32 w 35"/>
                    <a:gd name="T21" fmla="*/ 36 h 36"/>
                    <a:gd name="T22" fmla="*/ 27 w 35"/>
                    <a:gd name="T23" fmla="*/ 24 h 36"/>
                    <a:gd name="T24" fmla="*/ 24 w 35"/>
                    <a:gd name="T25" fmla="*/ 21 h 36"/>
                    <a:gd name="T26" fmla="*/ 32 w 35"/>
                    <a:gd name="T27" fmla="*/ 17 h 36"/>
                    <a:gd name="T28" fmla="*/ 35 w 35"/>
                    <a:gd name="T29" fmla="*/ 9 h 36"/>
                    <a:gd name="T30" fmla="*/ 34 w 35"/>
                    <a:gd name="T31" fmla="*/ 4 h 36"/>
                    <a:gd name="T32" fmla="*/ 30 w 35"/>
                    <a:gd name="T33" fmla="*/ 1 h 36"/>
                    <a:gd name="T34" fmla="*/ 27 w 35"/>
                    <a:gd name="T35" fmla="*/ 13 h 36"/>
                    <a:gd name="T36" fmla="*/ 24 w 35"/>
                    <a:gd name="T37" fmla="*/ 15 h 36"/>
                    <a:gd name="T38" fmla="*/ 16 w 35"/>
                    <a:gd name="T39" fmla="*/ 16 h 36"/>
                    <a:gd name="T40" fmla="*/ 12 w 35"/>
                    <a:gd name="T41" fmla="*/ 16 h 36"/>
                    <a:gd name="T42" fmla="*/ 14 w 35"/>
                    <a:gd name="T43" fmla="*/ 6 h 36"/>
                    <a:gd name="T44" fmla="*/ 22 w 35"/>
                    <a:gd name="T45" fmla="*/ 6 h 36"/>
                    <a:gd name="T46" fmla="*/ 26 w 35"/>
                    <a:gd name="T47" fmla="*/ 7 h 36"/>
                    <a:gd name="T48" fmla="*/ 28 w 35"/>
                    <a:gd name="T49" fmla="*/ 10 h 36"/>
                    <a:gd name="T50" fmla="*/ 27 w 35"/>
                    <a:gd name="T51" fmla="*/ 1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5" h="36">
                      <a:moveTo>
                        <a:pt x="30" y="1"/>
                      </a:move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1"/>
                        <a:pt x="17" y="21"/>
                        <a:pt x="17" y="22"/>
                      </a:cubicBezTo>
                      <a:cubicBezTo>
                        <a:pt x="18" y="22"/>
                        <a:pt x="20" y="24"/>
                        <a:pt x="21" y="26"/>
                      </a:cubicBezTo>
                      <a:cubicBezTo>
                        <a:pt x="22" y="31"/>
                        <a:pt x="24" y="34"/>
                        <a:pt x="24" y="36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1"/>
                        <a:pt x="28" y="27"/>
                        <a:pt x="27" y="24"/>
                      </a:cubicBezTo>
                      <a:cubicBezTo>
                        <a:pt x="26" y="23"/>
                        <a:pt x="25" y="21"/>
                        <a:pt x="24" y="21"/>
                      </a:cubicBezTo>
                      <a:cubicBezTo>
                        <a:pt x="28" y="20"/>
                        <a:pt x="30" y="19"/>
                        <a:pt x="32" y="17"/>
                      </a:cubicBezTo>
                      <a:cubicBezTo>
                        <a:pt x="34" y="15"/>
                        <a:pt x="35" y="13"/>
                        <a:pt x="35" y="9"/>
                      </a:cubicBezTo>
                      <a:cubicBezTo>
                        <a:pt x="35" y="7"/>
                        <a:pt x="34" y="6"/>
                        <a:pt x="34" y="4"/>
                      </a:cubicBezTo>
                      <a:cubicBezTo>
                        <a:pt x="33" y="3"/>
                        <a:pt x="31" y="2"/>
                        <a:pt x="30" y="1"/>
                      </a:cubicBezTo>
                      <a:close/>
                      <a:moveTo>
                        <a:pt x="27" y="13"/>
                      </a:moveTo>
                      <a:cubicBezTo>
                        <a:pt x="26" y="14"/>
                        <a:pt x="25" y="14"/>
                        <a:pt x="24" y="15"/>
                      </a:cubicBezTo>
                      <a:cubicBezTo>
                        <a:pt x="22" y="15"/>
                        <a:pt x="20" y="16"/>
                        <a:pt x="16" y="16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24" y="6"/>
                        <a:pt x="25" y="6"/>
                        <a:pt x="26" y="7"/>
                      </a:cubicBezTo>
                      <a:cubicBezTo>
                        <a:pt x="27" y="7"/>
                        <a:pt x="28" y="8"/>
                        <a:pt x="28" y="10"/>
                      </a:cubicBezTo>
                      <a:cubicBezTo>
                        <a:pt x="28" y="11"/>
                        <a:pt x="27" y="12"/>
                        <a:pt x="27" y="13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2" name="íṧḻïḋé">
                  <a:extLst>
                    <a:ext uri="{FF2B5EF4-FFF2-40B4-BE49-F238E27FC236}">
                      <a16:creationId xmlns:a16="http://schemas.microsoft.com/office/drawing/2014/main" id="{4BA2BA4D-D192-4984-98AD-949F12A33420}"/>
                    </a:ext>
                  </a:extLst>
                </p:cNvPr>
                <p:cNvSpPr/>
                <p:nvPr/>
              </p:nvSpPr>
              <p:spPr bwMode="auto">
                <a:xfrm>
                  <a:off x="8267701" y="3521075"/>
                  <a:ext cx="98425" cy="119063"/>
                </a:xfrm>
                <a:custGeom>
                  <a:avLst/>
                  <a:gdLst>
                    <a:gd name="T0" fmla="*/ 17 w 30"/>
                    <a:gd name="T1" fmla="*/ 5 h 36"/>
                    <a:gd name="T2" fmla="*/ 22 w 30"/>
                    <a:gd name="T3" fmla="*/ 7 h 36"/>
                    <a:gd name="T4" fmla="*/ 23 w 30"/>
                    <a:gd name="T5" fmla="*/ 11 h 36"/>
                    <a:gd name="T6" fmla="*/ 30 w 30"/>
                    <a:gd name="T7" fmla="*/ 10 h 36"/>
                    <a:gd name="T8" fmla="*/ 27 w 30"/>
                    <a:gd name="T9" fmla="*/ 3 h 36"/>
                    <a:gd name="T10" fmla="*/ 17 w 30"/>
                    <a:gd name="T11" fmla="*/ 0 h 36"/>
                    <a:gd name="T12" fmla="*/ 8 w 30"/>
                    <a:gd name="T13" fmla="*/ 3 h 36"/>
                    <a:gd name="T14" fmla="*/ 4 w 30"/>
                    <a:gd name="T15" fmla="*/ 10 h 36"/>
                    <a:gd name="T16" fmla="*/ 6 w 30"/>
                    <a:gd name="T17" fmla="*/ 14 h 36"/>
                    <a:gd name="T18" fmla="*/ 8 w 30"/>
                    <a:gd name="T19" fmla="*/ 18 h 36"/>
                    <a:gd name="T20" fmla="*/ 15 w 30"/>
                    <a:gd name="T21" fmla="*/ 21 h 36"/>
                    <a:gd name="T22" fmla="*/ 20 w 30"/>
                    <a:gd name="T23" fmla="*/ 23 h 36"/>
                    <a:gd name="T24" fmla="*/ 21 w 30"/>
                    <a:gd name="T25" fmla="*/ 26 h 36"/>
                    <a:gd name="T26" fmla="*/ 19 w 30"/>
                    <a:gd name="T27" fmla="*/ 29 h 36"/>
                    <a:gd name="T28" fmla="*/ 14 w 30"/>
                    <a:gd name="T29" fmla="*/ 30 h 36"/>
                    <a:gd name="T30" fmla="*/ 8 w 30"/>
                    <a:gd name="T31" fmla="*/ 28 h 36"/>
                    <a:gd name="T32" fmla="*/ 7 w 30"/>
                    <a:gd name="T33" fmla="*/ 24 h 36"/>
                    <a:gd name="T34" fmla="*/ 0 w 30"/>
                    <a:gd name="T35" fmla="*/ 24 h 36"/>
                    <a:gd name="T36" fmla="*/ 1 w 30"/>
                    <a:gd name="T37" fmla="*/ 30 h 36"/>
                    <a:gd name="T38" fmla="*/ 6 w 30"/>
                    <a:gd name="T39" fmla="*/ 35 h 36"/>
                    <a:gd name="T40" fmla="*/ 14 w 30"/>
                    <a:gd name="T41" fmla="*/ 36 h 36"/>
                    <a:gd name="T42" fmla="*/ 24 w 30"/>
                    <a:gd name="T43" fmla="*/ 33 h 36"/>
                    <a:gd name="T44" fmla="*/ 28 w 30"/>
                    <a:gd name="T45" fmla="*/ 25 h 36"/>
                    <a:gd name="T46" fmla="*/ 26 w 30"/>
                    <a:gd name="T47" fmla="*/ 19 h 36"/>
                    <a:gd name="T48" fmla="*/ 18 w 30"/>
                    <a:gd name="T49" fmla="*/ 14 h 36"/>
                    <a:gd name="T50" fmla="*/ 13 w 30"/>
                    <a:gd name="T51" fmla="*/ 12 h 36"/>
                    <a:gd name="T52" fmla="*/ 11 w 30"/>
                    <a:gd name="T53" fmla="*/ 9 h 36"/>
                    <a:gd name="T54" fmla="*/ 13 w 30"/>
                    <a:gd name="T55" fmla="*/ 6 h 36"/>
                    <a:gd name="T56" fmla="*/ 17 w 30"/>
                    <a:gd name="T57" fmla="*/ 5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0" h="36">
                      <a:moveTo>
                        <a:pt x="17" y="5"/>
                      </a:moveTo>
                      <a:cubicBezTo>
                        <a:pt x="19" y="5"/>
                        <a:pt x="21" y="6"/>
                        <a:pt x="22" y="7"/>
                      </a:cubicBezTo>
                      <a:cubicBezTo>
                        <a:pt x="23" y="8"/>
                        <a:pt x="23" y="9"/>
                        <a:pt x="23" y="11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7"/>
                        <a:pt x="29" y="4"/>
                        <a:pt x="27" y="3"/>
                      </a:cubicBezTo>
                      <a:cubicBezTo>
                        <a:pt x="24" y="1"/>
                        <a:pt x="21" y="0"/>
                        <a:pt x="17" y="0"/>
                      </a:cubicBezTo>
                      <a:cubicBezTo>
                        <a:pt x="13" y="0"/>
                        <a:pt x="10" y="1"/>
                        <a:pt x="8" y="3"/>
                      </a:cubicBezTo>
                      <a:cubicBezTo>
                        <a:pt x="5" y="5"/>
                        <a:pt x="4" y="7"/>
                        <a:pt x="4" y="10"/>
                      </a:cubicBezTo>
                      <a:cubicBezTo>
                        <a:pt x="4" y="12"/>
                        <a:pt x="5" y="13"/>
                        <a:pt x="6" y="14"/>
                      </a:cubicBezTo>
                      <a:cubicBezTo>
                        <a:pt x="6" y="16"/>
                        <a:pt x="7" y="17"/>
                        <a:pt x="8" y="18"/>
                      </a:cubicBezTo>
                      <a:cubicBezTo>
                        <a:pt x="10" y="18"/>
                        <a:pt x="12" y="19"/>
                        <a:pt x="15" y="21"/>
                      </a:cubicBezTo>
                      <a:cubicBezTo>
                        <a:pt x="17" y="22"/>
                        <a:pt x="19" y="23"/>
                        <a:pt x="20" y="23"/>
                      </a:cubicBezTo>
                      <a:cubicBezTo>
                        <a:pt x="20" y="24"/>
                        <a:pt x="21" y="25"/>
                        <a:pt x="21" y="26"/>
                      </a:cubicBezTo>
                      <a:cubicBezTo>
                        <a:pt x="21" y="27"/>
                        <a:pt x="20" y="28"/>
                        <a:pt x="19" y="29"/>
                      </a:cubicBezTo>
                      <a:cubicBezTo>
                        <a:pt x="18" y="30"/>
                        <a:pt x="16" y="30"/>
                        <a:pt x="14" y="30"/>
                      </a:cubicBezTo>
                      <a:cubicBezTo>
                        <a:pt x="11" y="30"/>
                        <a:pt x="9" y="30"/>
                        <a:pt x="8" y="28"/>
                      </a:cubicBezTo>
                      <a:cubicBezTo>
                        <a:pt x="8" y="28"/>
                        <a:pt x="7" y="26"/>
                        <a:pt x="7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7"/>
                        <a:pt x="0" y="29"/>
                        <a:pt x="1" y="30"/>
                      </a:cubicBezTo>
                      <a:cubicBezTo>
                        <a:pt x="2" y="32"/>
                        <a:pt x="4" y="34"/>
                        <a:pt x="6" y="35"/>
                      </a:cubicBezTo>
                      <a:cubicBezTo>
                        <a:pt x="8" y="36"/>
                        <a:pt x="11" y="36"/>
                        <a:pt x="14" y="36"/>
                      </a:cubicBezTo>
                      <a:cubicBezTo>
                        <a:pt x="18" y="36"/>
                        <a:pt x="22" y="35"/>
                        <a:pt x="24" y="33"/>
                      </a:cubicBezTo>
                      <a:cubicBezTo>
                        <a:pt x="27" y="31"/>
                        <a:pt x="28" y="28"/>
                        <a:pt x="28" y="25"/>
                      </a:cubicBezTo>
                      <a:cubicBezTo>
                        <a:pt x="28" y="22"/>
                        <a:pt x="27" y="20"/>
                        <a:pt x="26" y="19"/>
                      </a:cubicBezTo>
                      <a:cubicBezTo>
                        <a:pt x="25" y="18"/>
                        <a:pt x="22" y="16"/>
                        <a:pt x="18" y="14"/>
                      </a:cubicBezTo>
                      <a:cubicBezTo>
                        <a:pt x="15" y="13"/>
                        <a:pt x="13" y="12"/>
                        <a:pt x="13" y="12"/>
                      </a:cubicBezTo>
                      <a:cubicBezTo>
                        <a:pt x="12" y="11"/>
                        <a:pt x="11" y="10"/>
                        <a:pt x="11" y="9"/>
                      </a:cubicBezTo>
                      <a:cubicBezTo>
                        <a:pt x="11" y="8"/>
                        <a:pt x="12" y="7"/>
                        <a:pt x="13" y="6"/>
                      </a:cubicBezTo>
                      <a:cubicBezTo>
                        <a:pt x="14" y="6"/>
                        <a:pt x="15" y="5"/>
                        <a:pt x="17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3" name="is1ïḍé">
                  <a:extLst>
                    <a:ext uri="{FF2B5EF4-FFF2-40B4-BE49-F238E27FC236}">
                      <a16:creationId xmlns:a16="http://schemas.microsoft.com/office/drawing/2014/main" id="{8016403F-7DD6-4322-9DDF-D3EE7D4E0675}"/>
                    </a:ext>
                  </a:extLst>
                </p:cNvPr>
                <p:cNvSpPr/>
                <p:nvPr/>
              </p:nvSpPr>
              <p:spPr bwMode="auto">
                <a:xfrm>
                  <a:off x="8374063" y="3521075"/>
                  <a:ext cx="46038" cy="119063"/>
                </a:xfrm>
                <a:custGeom>
                  <a:avLst/>
                  <a:gdLst>
                    <a:gd name="T0" fmla="*/ 0 w 29"/>
                    <a:gd name="T1" fmla="*/ 75 h 75"/>
                    <a:gd name="T2" fmla="*/ 14 w 29"/>
                    <a:gd name="T3" fmla="*/ 75 h 75"/>
                    <a:gd name="T4" fmla="*/ 29 w 29"/>
                    <a:gd name="T5" fmla="*/ 0 h 75"/>
                    <a:gd name="T6" fmla="*/ 14 w 29"/>
                    <a:gd name="T7" fmla="*/ 0 h 75"/>
                    <a:gd name="T8" fmla="*/ 0 w 29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4" name="í$ļîḍé">
                  <a:extLst>
                    <a:ext uri="{FF2B5EF4-FFF2-40B4-BE49-F238E27FC236}">
                      <a16:creationId xmlns:a16="http://schemas.microsoft.com/office/drawing/2014/main" id="{E817F8F5-BE84-429A-ACD7-DA3840D6BA3E}"/>
                    </a:ext>
                  </a:extLst>
                </p:cNvPr>
                <p:cNvSpPr/>
                <p:nvPr/>
              </p:nvSpPr>
              <p:spPr bwMode="auto">
                <a:xfrm>
                  <a:off x="8432801" y="3521075"/>
                  <a:ext cx="95250" cy="119063"/>
                </a:xfrm>
                <a:custGeom>
                  <a:avLst/>
                  <a:gdLst>
                    <a:gd name="T0" fmla="*/ 0 w 60"/>
                    <a:gd name="T1" fmla="*/ 12 h 75"/>
                    <a:gd name="T2" fmla="*/ 21 w 60"/>
                    <a:gd name="T3" fmla="*/ 12 h 75"/>
                    <a:gd name="T4" fmla="*/ 8 w 60"/>
                    <a:gd name="T5" fmla="*/ 75 h 75"/>
                    <a:gd name="T6" fmla="*/ 23 w 60"/>
                    <a:gd name="T7" fmla="*/ 75 h 75"/>
                    <a:gd name="T8" fmla="*/ 35 w 60"/>
                    <a:gd name="T9" fmla="*/ 12 h 75"/>
                    <a:gd name="T10" fmla="*/ 58 w 60"/>
                    <a:gd name="T11" fmla="*/ 12 h 75"/>
                    <a:gd name="T12" fmla="*/ 60 w 60"/>
                    <a:gd name="T13" fmla="*/ 0 h 75"/>
                    <a:gd name="T14" fmla="*/ 2 w 60"/>
                    <a:gd name="T15" fmla="*/ 0 h 75"/>
                    <a:gd name="T16" fmla="*/ 0 w 60"/>
                    <a:gd name="T17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75">
                      <a:moveTo>
                        <a:pt x="0" y="12"/>
                      </a:moveTo>
                      <a:lnTo>
                        <a:pt x="21" y="12"/>
                      </a:lnTo>
                      <a:lnTo>
                        <a:pt x="8" y="75"/>
                      </a:lnTo>
                      <a:lnTo>
                        <a:pt x="23" y="75"/>
                      </a:lnTo>
                      <a:lnTo>
                        <a:pt x="35" y="12"/>
                      </a:lnTo>
                      <a:lnTo>
                        <a:pt x="58" y="12"/>
                      </a:lnTo>
                      <a:lnTo>
                        <a:pt x="60" y="0"/>
                      </a:lnTo>
                      <a:lnTo>
                        <a:pt x="2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25" name="ïSļîḓê">
                  <a:extLst>
                    <a:ext uri="{FF2B5EF4-FFF2-40B4-BE49-F238E27FC236}">
                      <a16:creationId xmlns:a16="http://schemas.microsoft.com/office/drawing/2014/main" id="{424F8DC8-23CF-41B7-80BF-AF4B55891815}"/>
                    </a:ext>
                  </a:extLst>
                </p:cNvPr>
                <p:cNvSpPr/>
                <p:nvPr/>
              </p:nvSpPr>
              <p:spPr bwMode="auto">
                <a:xfrm>
                  <a:off x="8531226" y="3521075"/>
                  <a:ext cx="109538" cy="119063"/>
                </a:xfrm>
                <a:custGeom>
                  <a:avLst/>
                  <a:gdLst>
                    <a:gd name="T0" fmla="*/ 25 w 33"/>
                    <a:gd name="T1" fmla="*/ 0 h 36"/>
                    <a:gd name="T2" fmla="*/ 19 w 33"/>
                    <a:gd name="T3" fmla="*/ 7 h 36"/>
                    <a:gd name="T4" fmla="*/ 16 w 33"/>
                    <a:gd name="T5" fmla="*/ 12 h 36"/>
                    <a:gd name="T6" fmla="*/ 14 w 33"/>
                    <a:gd name="T7" fmla="*/ 15 h 36"/>
                    <a:gd name="T8" fmla="*/ 12 w 33"/>
                    <a:gd name="T9" fmla="*/ 10 h 36"/>
                    <a:gd name="T10" fmla="*/ 8 w 33"/>
                    <a:gd name="T11" fmla="*/ 0 h 36"/>
                    <a:gd name="T12" fmla="*/ 0 w 33"/>
                    <a:gd name="T13" fmla="*/ 0 h 36"/>
                    <a:gd name="T14" fmla="*/ 10 w 33"/>
                    <a:gd name="T15" fmla="*/ 22 h 36"/>
                    <a:gd name="T16" fmla="*/ 7 w 33"/>
                    <a:gd name="T17" fmla="*/ 36 h 36"/>
                    <a:gd name="T18" fmla="*/ 14 w 33"/>
                    <a:gd name="T19" fmla="*/ 36 h 36"/>
                    <a:gd name="T20" fmla="*/ 17 w 33"/>
                    <a:gd name="T21" fmla="*/ 23 h 36"/>
                    <a:gd name="T22" fmla="*/ 33 w 33"/>
                    <a:gd name="T23" fmla="*/ 0 h 36"/>
                    <a:gd name="T24" fmla="*/ 25 w 33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36">
                      <a:moveTo>
                        <a:pt x="25" y="0"/>
                      </a:move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5" y="13"/>
                        <a:pt x="15" y="14"/>
                        <a:pt x="14" y="15"/>
                      </a:cubicBezTo>
                      <a:cubicBezTo>
                        <a:pt x="14" y="14"/>
                        <a:pt x="13" y="13"/>
                        <a:pt x="12" y="1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33" y="0"/>
                        <a:pt x="33" y="0"/>
                        <a:pt x="33" y="0"/>
                      </a:cubicBez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135981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ļ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ṣ1îḓè">
            <a:extLst>
              <a:ext uri="{FF2B5EF4-FFF2-40B4-BE49-F238E27FC236}">
                <a16:creationId xmlns:a16="http://schemas.microsoft.com/office/drawing/2014/main" id="{17C0299E-B05E-4EE4-B2B7-C171D8E6A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sļîḑè">
            <a:extLst>
              <a:ext uri="{FF2B5EF4-FFF2-40B4-BE49-F238E27FC236}">
                <a16:creationId xmlns:a16="http://schemas.microsoft.com/office/drawing/2014/main" id="{4D4AB972-1A48-40DA-87A5-634D35D60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$ḷíḑè">
            <a:extLst>
              <a:ext uri="{FF2B5EF4-FFF2-40B4-BE49-F238E27FC236}">
                <a16:creationId xmlns:a16="http://schemas.microsoft.com/office/drawing/2014/main" id="{3A9A2877-9240-47BE-85C2-30BA86452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98" name="iṡḻîḓé">
            <a:extLst>
              <a:ext uri="{FF2B5EF4-FFF2-40B4-BE49-F238E27FC236}">
                <a16:creationId xmlns:a16="http://schemas.microsoft.com/office/drawing/2014/main" id="{7DCA5B41-0E9F-4D94-BDC5-0C5FE239CA2A}"/>
              </a:ext>
            </a:extLst>
          </p:cNvPr>
          <p:cNvSpPr/>
          <p:nvPr/>
        </p:nvSpPr>
        <p:spPr>
          <a:xfrm>
            <a:off x="660400" y="4889171"/>
            <a:ext cx="3852551" cy="1244929"/>
          </a:xfrm>
          <a:prstGeom prst="rect">
            <a:avLst/>
          </a:prstGeom>
          <a:noFill/>
          <a:ln w="9525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Adjust the spacing to adapt to Chinese typesetting, use the reference line in PPT.</a:t>
            </a:r>
          </a:p>
        </p:txBody>
      </p:sp>
      <p:sp>
        <p:nvSpPr>
          <p:cNvPr id="99" name="işlïḋé">
            <a:extLst>
              <a:ext uri="{FF2B5EF4-FFF2-40B4-BE49-F238E27FC236}">
                <a16:creationId xmlns:a16="http://schemas.microsoft.com/office/drawing/2014/main" id="{9BA449B0-BB46-4CA8-8483-E737DC30AC1E}"/>
              </a:ext>
            </a:extLst>
          </p:cNvPr>
          <p:cNvSpPr txBox="1"/>
          <p:nvPr/>
        </p:nvSpPr>
        <p:spPr bwMode="auto">
          <a:xfrm>
            <a:off x="660400" y="4447366"/>
            <a:ext cx="38525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00" name="îṡḷiďé">
            <a:extLst>
              <a:ext uri="{FF2B5EF4-FFF2-40B4-BE49-F238E27FC236}">
                <a16:creationId xmlns:a16="http://schemas.microsoft.com/office/drawing/2014/main" id="{FE6D3FCA-85E2-4D9E-9B74-A305204CBAC8}"/>
              </a:ext>
            </a:extLst>
          </p:cNvPr>
          <p:cNvSpPr/>
          <p:nvPr/>
        </p:nvSpPr>
        <p:spPr bwMode="auto">
          <a:xfrm>
            <a:off x="3878700" y="1447851"/>
            <a:ext cx="3565388" cy="3565388"/>
          </a:xfrm>
          <a:prstGeom prst="ellipse">
            <a:avLst/>
          </a:prstGeom>
          <a:blipFill>
            <a:blip r:embed="rId3"/>
            <a:srcRect/>
            <a:stretch>
              <a:fillRect l="-25000" r="-25000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01" name="íslîḓé">
            <a:extLst>
              <a:ext uri="{FF2B5EF4-FFF2-40B4-BE49-F238E27FC236}">
                <a16:creationId xmlns:a16="http://schemas.microsoft.com/office/drawing/2014/main" id="{144E2735-AC4C-4D7B-A25E-5075B811EF0A}"/>
              </a:ext>
            </a:extLst>
          </p:cNvPr>
          <p:cNvSpPr>
            <a:spLocks/>
          </p:cNvSpPr>
          <p:nvPr/>
        </p:nvSpPr>
        <p:spPr bwMode="auto">
          <a:xfrm>
            <a:off x="5661394" y="4704221"/>
            <a:ext cx="868082" cy="868080"/>
          </a:xfrm>
          <a:prstGeom prst="ellipse">
            <a:avLst/>
          </a:prstGeom>
          <a:solidFill>
            <a:schemeClr val="tx2"/>
          </a:solidFill>
          <a:ln w="38100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0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2" name="ïSļíḓè">
            <a:extLst>
              <a:ext uri="{FF2B5EF4-FFF2-40B4-BE49-F238E27FC236}">
                <a16:creationId xmlns:a16="http://schemas.microsoft.com/office/drawing/2014/main" id="{3A6AB93F-9EA7-445A-872F-36918D478658}"/>
              </a:ext>
            </a:extLst>
          </p:cNvPr>
          <p:cNvSpPr>
            <a:spLocks/>
          </p:cNvSpPr>
          <p:nvPr/>
        </p:nvSpPr>
        <p:spPr bwMode="auto">
          <a:xfrm>
            <a:off x="6663019" y="1452934"/>
            <a:ext cx="868082" cy="868080"/>
          </a:xfrm>
          <a:prstGeom prst="ellipse">
            <a:avLst/>
          </a:pr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04" name="îṥḷiḓe">
            <a:extLst>
              <a:ext uri="{FF2B5EF4-FFF2-40B4-BE49-F238E27FC236}">
                <a16:creationId xmlns:a16="http://schemas.microsoft.com/office/drawing/2014/main" id="{458E8CA2-B175-4F7B-BF48-43CB151BE23B}"/>
              </a:ext>
            </a:extLst>
          </p:cNvPr>
          <p:cNvSpPr>
            <a:spLocks/>
          </p:cNvSpPr>
          <p:nvPr/>
        </p:nvSpPr>
        <p:spPr bwMode="auto">
          <a:xfrm>
            <a:off x="6982759" y="2669072"/>
            <a:ext cx="868082" cy="868080"/>
          </a:xfrm>
          <a:prstGeom prst="ellipse">
            <a:avLst/>
          </a:prstGeom>
          <a:solidFill>
            <a:schemeClr val="tx2"/>
          </a:solidFill>
          <a:ln w="38100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0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6" name="ïŝḻîḍé">
            <a:extLst>
              <a:ext uri="{FF2B5EF4-FFF2-40B4-BE49-F238E27FC236}">
                <a16:creationId xmlns:a16="http://schemas.microsoft.com/office/drawing/2014/main" id="{21AABDDD-9176-4D3E-8BFD-6AFB90268461}"/>
              </a:ext>
            </a:extLst>
          </p:cNvPr>
          <p:cNvSpPr>
            <a:spLocks/>
          </p:cNvSpPr>
          <p:nvPr/>
        </p:nvSpPr>
        <p:spPr bwMode="auto">
          <a:xfrm>
            <a:off x="6472389" y="3763027"/>
            <a:ext cx="868082" cy="868080"/>
          </a:xfrm>
          <a:prstGeom prst="ellipse">
            <a:avLst/>
          </a:prstGeom>
          <a:solidFill>
            <a:schemeClr val="tx2"/>
          </a:solidFill>
          <a:ln w="38100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ctr" anchorCtr="1" compatLnSpc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</a:rPr>
              <a:t>0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7" name="išḻïďè">
            <a:extLst>
              <a:ext uri="{FF2B5EF4-FFF2-40B4-BE49-F238E27FC236}">
                <a16:creationId xmlns:a16="http://schemas.microsoft.com/office/drawing/2014/main" id="{7031897F-F7B4-42E7-89C9-F458618D63A2}"/>
              </a:ext>
            </a:extLst>
          </p:cNvPr>
          <p:cNvSpPr/>
          <p:nvPr/>
        </p:nvSpPr>
        <p:spPr bwMode="auto">
          <a:xfrm>
            <a:off x="7693370" y="1937340"/>
            <a:ext cx="3581310" cy="31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08" name="ïṣliďè">
            <a:extLst>
              <a:ext uri="{FF2B5EF4-FFF2-40B4-BE49-F238E27FC236}">
                <a16:creationId xmlns:a16="http://schemas.microsoft.com/office/drawing/2014/main" id="{9F43FADE-75EF-4D33-879E-C38FBF826682}"/>
              </a:ext>
            </a:extLst>
          </p:cNvPr>
          <p:cNvSpPr txBox="1"/>
          <p:nvPr/>
        </p:nvSpPr>
        <p:spPr bwMode="auto">
          <a:xfrm>
            <a:off x="7693370" y="1524460"/>
            <a:ext cx="358131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09" name="iṥḷiḓé">
            <a:extLst>
              <a:ext uri="{FF2B5EF4-FFF2-40B4-BE49-F238E27FC236}">
                <a16:creationId xmlns:a16="http://schemas.microsoft.com/office/drawing/2014/main" id="{7AE4D110-10A7-47EB-B8B8-C2CC5A460005}"/>
              </a:ext>
            </a:extLst>
          </p:cNvPr>
          <p:cNvSpPr/>
          <p:nvPr/>
        </p:nvSpPr>
        <p:spPr bwMode="auto">
          <a:xfrm>
            <a:off x="7937590" y="3048411"/>
            <a:ext cx="3581310" cy="31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10" name="ïŝ1ïḋé">
            <a:extLst>
              <a:ext uri="{FF2B5EF4-FFF2-40B4-BE49-F238E27FC236}">
                <a16:creationId xmlns:a16="http://schemas.microsoft.com/office/drawing/2014/main" id="{4BFE300D-60E3-4734-AFFF-6F5725B9AEB4}"/>
              </a:ext>
            </a:extLst>
          </p:cNvPr>
          <p:cNvSpPr txBox="1"/>
          <p:nvPr/>
        </p:nvSpPr>
        <p:spPr bwMode="auto">
          <a:xfrm>
            <a:off x="7937590" y="2635531"/>
            <a:ext cx="358131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11" name="iṩļîdè">
            <a:extLst>
              <a:ext uri="{FF2B5EF4-FFF2-40B4-BE49-F238E27FC236}">
                <a16:creationId xmlns:a16="http://schemas.microsoft.com/office/drawing/2014/main" id="{CBFF44AE-A309-4AAA-96E6-8E7C88E705E1}"/>
              </a:ext>
            </a:extLst>
          </p:cNvPr>
          <p:cNvSpPr/>
          <p:nvPr/>
        </p:nvSpPr>
        <p:spPr bwMode="auto">
          <a:xfrm>
            <a:off x="7469298" y="4159482"/>
            <a:ext cx="3581310" cy="31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12" name="îṧḷíḑê">
            <a:extLst>
              <a:ext uri="{FF2B5EF4-FFF2-40B4-BE49-F238E27FC236}">
                <a16:creationId xmlns:a16="http://schemas.microsoft.com/office/drawing/2014/main" id="{7956BE30-C590-450A-98DE-5079520EBF9E}"/>
              </a:ext>
            </a:extLst>
          </p:cNvPr>
          <p:cNvSpPr txBox="1"/>
          <p:nvPr/>
        </p:nvSpPr>
        <p:spPr bwMode="auto">
          <a:xfrm>
            <a:off x="7469298" y="3746602"/>
            <a:ext cx="358131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13" name="ïsliḑe">
            <a:extLst>
              <a:ext uri="{FF2B5EF4-FFF2-40B4-BE49-F238E27FC236}">
                <a16:creationId xmlns:a16="http://schemas.microsoft.com/office/drawing/2014/main" id="{1AB1479A-5EA2-48FA-AA4D-95C298DF74FC}"/>
              </a:ext>
            </a:extLst>
          </p:cNvPr>
          <p:cNvSpPr/>
          <p:nvPr/>
        </p:nvSpPr>
        <p:spPr bwMode="auto">
          <a:xfrm>
            <a:off x="6852157" y="5270552"/>
            <a:ext cx="3581310" cy="31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14" name="iṡļide">
            <a:extLst>
              <a:ext uri="{FF2B5EF4-FFF2-40B4-BE49-F238E27FC236}">
                <a16:creationId xmlns:a16="http://schemas.microsoft.com/office/drawing/2014/main" id="{ECC92F1D-A8C1-45D2-A9C1-BB8AD571637F}"/>
              </a:ext>
            </a:extLst>
          </p:cNvPr>
          <p:cNvSpPr txBox="1"/>
          <p:nvPr/>
        </p:nvSpPr>
        <p:spPr bwMode="auto">
          <a:xfrm>
            <a:off x="6852157" y="4857672"/>
            <a:ext cx="358131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cxnSp>
        <p:nvCxnSpPr>
          <p:cNvPr id="115" name="íŝḻiḑé">
            <a:extLst>
              <a:ext uri="{FF2B5EF4-FFF2-40B4-BE49-F238E27FC236}">
                <a16:creationId xmlns:a16="http://schemas.microsoft.com/office/drawing/2014/main" id="{3A0B9BA0-49BF-4AD8-A7FB-63AF47322E05}"/>
              </a:ext>
            </a:extLst>
          </p:cNvPr>
          <p:cNvCxnSpPr/>
          <p:nvPr/>
        </p:nvCxnSpPr>
        <p:spPr>
          <a:xfrm>
            <a:off x="7767264" y="2394885"/>
            <a:ext cx="37516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îsļiḓè">
            <a:extLst>
              <a:ext uri="{FF2B5EF4-FFF2-40B4-BE49-F238E27FC236}">
                <a16:creationId xmlns:a16="http://schemas.microsoft.com/office/drawing/2014/main" id="{19D9B9A3-EFAC-4A3B-98A1-567EAFDE8E26}"/>
              </a:ext>
            </a:extLst>
          </p:cNvPr>
          <p:cNvCxnSpPr/>
          <p:nvPr/>
        </p:nvCxnSpPr>
        <p:spPr>
          <a:xfrm>
            <a:off x="8085377" y="3505956"/>
            <a:ext cx="343352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îsļiḑe">
            <a:extLst>
              <a:ext uri="{FF2B5EF4-FFF2-40B4-BE49-F238E27FC236}">
                <a16:creationId xmlns:a16="http://schemas.microsoft.com/office/drawing/2014/main" id="{8CDA5DF5-201B-481E-A057-2F2DB763DBBD}"/>
              </a:ext>
            </a:extLst>
          </p:cNvPr>
          <p:cNvCxnSpPr/>
          <p:nvPr/>
        </p:nvCxnSpPr>
        <p:spPr>
          <a:xfrm>
            <a:off x="7416800" y="4617027"/>
            <a:ext cx="41021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360325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ḻ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ṧ1ïďê">
            <a:extLst>
              <a:ext uri="{FF2B5EF4-FFF2-40B4-BE49-F238E27FC236}">
                <a16:creationId xmlns:a16="http://schemas.microsoft.com/office/drawing/2014/main" id="{1A584783-69D6-47E6-B6A9-420EA70E7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ṧlíḋè">
            <a:extLst>
              <a:ext uri="{FF2B5EF4-FFF2-40B4-BE49-F238E27FC236}">
                <a16:creationId xmlns:a16="http://schemas.microsoft.com/office/drawing/2014/main" id="{1E55F0E0-4ED0-467B-92AE-84747BCDE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ṩlïďè">
            <a:extLst>
              <a:ext uri="{FF2B5EF4-FFF2-40B4-BE49-F238E27FC236}">
                <a16:creationId xmlns:a16="http://schemas.microsoft.com/office/drawing/2014/main" id="{B8B316E3-51EF-4124-B54B-0C7FE7A5B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iṣľîḑè">
            <a:extLst>
              <a:ext uri="{FF2B5EF4-FFF2-40B4-BE49-F238E27FC236}">
                <a16:creationId xmlns:a16="http://schemas.microsoft.com/office/drawing/2014/main" id="{1E340006-739E-492A-8721-7C49F413FDAA}"/>
              </a:ext>
            </a:extLst>
          </p:cNvPr>
          <p:cNvGrpSpPr/>
          <p:nvPr/>
        </p:nvGrpSpPr>
        <p:grpSpPr>
          <a:xfrm>
            <a:off x="1212488" y="3429000"/>
            <a:ext cx="9767025" cy="1816569"/>
            <a:chOff x="1271713" y="3429000"/>
            <a:chExt cx="9767025" cy="1816569"/>
          </a:xfrm>
        </p:grpSpPr>
        <p:sp>
          <p:nvSpPr>
            <p:cNvPr id="119" name="îSḷíḍè">
              <a:extLst>
                <a:ext uri="{FF2B5EF4-FFF2-40B4-BE49-F238E27FC236}">
                  <a16:creationId xmlns:a16="http://schemas.microsoft.com/office/drawing/2014/main" id="{8F2243F4-52AB-4020-AD89-6AC986437FA5}"/>
                </a:ext>
              </a:extLst>
            </p:cNvPr>
            <p:cNvSpPr/>
            <p:nvPr/>
          </p:nvSpPr>
          <p:spPr>
            <a:xfrm>
              <a:off x="1400289" y="3429000"/>
              <a:ext cx="657692" cy="657689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bg1">
                  <a:lumMod val="95000"/>
                </a:schemeClr>
              </a:solidFill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120" name="iṡľíḓê">
              <a:extLst>
                <a:ext uri="{FF2B5EF4-FFF2-40B4-BE49-F238E27FC236}">
                  <a16:creationId xmlns:a16="http://schemas.microsoft.com/office/drawing/2014/main" id="{D0859163-855B-4855-8B99-DDCAE20F2799}"/>
                </a:ext>
              </a:extLst>
            </p:cNvPr>
            <p:cNvSpPr/>
            <p:nvPr/>
          </p:nvSpPr>
          <p:spPr>
            <a:xfrm>
              <a:off x="1584891" y="3599730"/>
              <a:ext cx="288488" cy="316228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 cmpd="sng">
              <a:noFill/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21" name="îṣlîde">
              <a:extLst>
                <a:ext uri="{FF2B5EF4-FFF2-40B4-BE49-F238E27FC236}">
                  <a16:creationId xmlns:a16="http://schemas.microsoft.com/office/drawing/2014/main" id="{94035374-3A8A-45D4-910B-D285DB4CB0E8}"/>
                </a:ext>
              </a:extLst>
            </p:cNvPr>
            <p:cNvGrpSpPr/>
            <p:nvPr/>
          </p:nvGrpSpPr>
          <p:grpSpPr>
            <a:xfrm>
              <a:off x="1271713" y="4170770"/>
              <a:ext cx="1696421" cy="1074799"/>
              <a:chOff x="660400" y="2251530"/>
              <a:chExt cx="1696421" cy="1074799"/>
            </a:xfrm>
          </p:grpSpPr>
          <p:sp>
            <p:nvSpPr>
              <p:cNvPr id="143" name="i$ḻiḑe">
                <a:extLst>
                  <a:ext uri="{FF2B5EF4-FFF2-40B4-BE49-F238E27FC236}">
                    <a16:creationId xmlns:a16="http://schemas.microsoft.com/office/drawing/2014/main" id="{1D4CDB25-6F98-4131-8836-D48A299E62FF}"/>
                  </a:ext>
                </a:extLst>
              </p:cNvPr>
              <p:cNvSpPr/>
              <p:nvPr/>
            </p:nvSpPr>
            <p:spPr bwMode="auto">
              <a:xfrm>
                <a:off x="660400" y="2664411"/>
                <a:ext cx="1696421" cy="661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4" name="iṧḷîďê">
                <a:extLst>
                  <a:ext uri="{FF2B5EF4-FFF2-40B4-BE49-F238E27FC236}">
                    <a16:creationId xmlns:a16="http://schemas.microsoft.com/office/drawing/2014/main" id="{957DAD2D-BFEA-41A1-B629-45718F1538A2}"/>
                  </a:ext>
                </a:extLst>
              </p:cNvPr>
              <p:cNvSpPr txBox="1"/>
              <p:nvPr/>
            </p:nvSpPr>
            <p:spPr bwMode="auto">
              <a:xfrm>
                <a:off x="660400" y="2251530"/>
                <a:ext cx="1696421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  <p:sp>
          <p:nvSpPr>
            <p:cNvPr id="123" name="íṧlîḋê">
              <a:extLst>
                <a:ext uri="{FF2B5EF4-FFF2-40B4-BE49-F238E27FC236}">
                  <a16:creationId xmlns:a16="http://schemas.microsoft.com/office/drawing/2014/main" id="{750B867A-096F-413C-9DE3-DA79CB658B88}"/>
                </a:ext>
              </a:extLst>
            </p:cNvPr>
            <p:cNvSpPr/>
            <p:nvPr/>
          </p:nvSpPr>
          <p:spPr>
            <a:xfrm>
              <a:off x="4082593" y="3429000"/>
              <a:ext cx="657692" cy="657689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bg1">
                  <a:lumMod val="95000"/>
                </a:schemeClr>
              </a:solidFill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124" name="iṧľïḋê">
              <a:extLst>
                <a:ext uri="{FF2B5EF4-FFF2-40B4-BE49-F238E27FC236}">
                  <a16:creationId xmlns:a16="http://schemas.microsoft.com/office/drawing/2014/main" id="{67F78175-6029-4243-9C19-295396362E8B}"/>
                </a:ext>
              </a:extLst>
            </p:cNvPr>
            <p:cNvSpPr/>
            <p:nvPr/>
          </p:nvSpPr>
          <p:spPr>
            <a:xfrm>
              <a:off x="4246346" y="3580310"/>
              <a:ext cx="330184" cy="355068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8100" cap="flat" cmpd="sng">
              <a:noFill/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25" name="ïsḷíḋè">
              <a:extLst>
                <a:ext uri="{FF2B5EF4-FFF2-40B4-BE49-F238E27FC236}">
                  <a16:creationId xmlns:a16="http://schemas.microsoft.com/office/drawing/2014/main" id="{6FFFCDBE-666B-481F-BBD8-238E257E0DB7}"/>
                </a:ext>
              </a:extLst>
            </p:cNvPr>
            <p:cNvGrpSpPr/>
            <p:nvPr/>
          </p:nvGrpSpPr>
          <p:grpSpPr>
            <a:xfrm>
              <a:off x="3961914" y="4170770"/>
              <a:ext cx="1696421" cy="1074799"/>
              <a:chOff x="3353814" y="2269086"/>
              <a:chExt cx="1696421" cy="1074799"/>
            </a:xfrm>
          </p:grpSpPr>
          <p:sp>
            <p:nvSpPr>
              <p:cNvPr id="141" name="íṩľíḑè">
                <a:extLst>
                  <a:ext uri="{FF2B5EF4-FFF2-40B4-BE49-F238E27FC236}">
                    <a16:creationId xmlns:a16="http://schemas.microsoft.com/office/drawing/2014/main" id="{1D4CDB25-6F98-4131-8836-D48A299E62FF}"/>
                  </a:ext>
                </a:extLst>
              </p:cNvPr>
              <p:cNvSpPr/>
              <p:nvPr/>
            </p:nvSpPr>
            <p:spPr bwMode="auto">
              <a:xfrm>
                <a:off x="3353814" y="2681967"/>
                <a:ext cx="1696421" cy="661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2" name="îṩľîḍé">
                <a:extLst>
                  <a:ext uri="{FF2B5EF4-FFF2-40B4-BE49-F238E27FC236}">
                    <a16:creationId xmlns:a16="http://schemas.microsoft.com/office/drawing/2014/main" id="{957DAD2D-BFEA-41A1-B629-45718F1538A2}"/>
                  </a:ext>
                </a:extLst>
              </p:cNvPr>
              <p:cNvSpPr txBox="1"/>
              <p:nvPr/>
            </p:nvSpPr>
            <p:spPr bwMode="auto">
              <a:xfrm>
                <a:off x="3353814" y="2269086"/>
                <a:ext cx="1696421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  <p:sp>
          <p:nvSpPr>
            <p:cNvPr id="127" name="îṣļîdê">
              <a:extLst>
                <a:ext uri="{FF2B5EF4-FFF2-40B4-BE49-F238E27FC236}">
                  <a16:creationId xmlns:a16="http://schemas.microsoft.com/office/drawing/2014/main" id="{57D093B2-BC10-42C7-8109-80AF8A8E5F5C}"/>
                </a:ext>
              </a:extLst>
            </p:cNvPr>
            <p:cNvSpPr/>
            <p:nvPr/>
          </p:nvSpPr>
          <p:spPr>
            <a:xfrm>
              <a:off x="9603227" y="3429000"/>
              <a:ext cx="657692" cy="657689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bg1">
                  <a:lumMod val="95000"/>
                </a:schemeClr>
              </a:solidFill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128" name="îşlíḑè">
              <a:extLst>
                <a:ext uri="{FF2B5EF4-FFF2-40B4-BE49-F238E27FC236}">
                  <a16:creationId xmlns:a16="http://schemas.microsoft.com/office/drawing/2014/main" id="{531AE299-033C-45CD-BAD2-B3A73DBFAD22}"/>
                </a:ext>
              </a:extLst>
            </p:cNvPr>
            <p:cNvSpPr/>
            <p:nvPr/>
          </p:nvSpPr>
          <p:spPr>
            <a:xfrm>
              <a:off x="9785730" y="3579688"/>
              <a:ext cx="292686" cy="356312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8100" cap="flat" cmpd="sng">
              <a:noFill/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29" name="îṡḻïḋé">
              <a:extLst>
                <a:ext uri="{FF2B5EF4-FFF2-40B4-BE49-F238E27FC236}">
                  <a16:creationId xmlns:a16="http://schemas.microsoft.com/office/drawing/2014/main" id="{54E11DA6-193E-40B9-9BAD-31C9347EA5D3}"/>
                </a:ext>
              </a:extLst>
            </p:cNvPr>
            <p:cNvGrpSpPr/>
            <p:nvPr/>
          </p:nvGrpSpPr>
          <p:grpSpPr>
            <a:xfrm>
              <a:off x="9342317" y="4170770"/>
              <a:ext cx="1696421" cy="1074799"/>
              <a:chOff x="8740642" y="2290843"/>
              <a:chExt cx="1696421" cy="1074799"/>
            </a:xfrm>
          </p:grpSpPr>
          <p:sp>
            <p:nvSpPr>
              <p:cNvPr id="139" name="íṥľîḋè">
                <a:extLst>
                  <a:ext uri="{FF2B5EF4-FFF2-40B4-BE49-F238E27FC236}">
                    <a16:creationId xmlns:a16="http://schemas.microsoft.com/office/drawing/2014/main" id="{1D4CDB25-6F98-4131-8836-D48A299E62FF}"/>
                  </a:ext>
                </a:extLst>
              </p:cNvPr>
              <p:cNvSpPr/>
              <p:nvPr/>
            </p:nvSpPr>
            <p:spPr bwMode="auto">
              <a:xfrm>
                <a:off x="8740642" y="2703724"/>
                <a:ext cx="1696421" cy="661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0" name="íşlïdê">
                <a:extLst>
                  <a:ext uri="{FF2B5EF4-FFF2-40B4-BE49-F238E27FC236}">
                    <a16:creationId xmlns:a16="http://schemas.microsoft.com/office/drawing/2014/main" id="{957DAD2D-BFEA-41A1-B629-45718F1538A2}"/>
                  </a:ext>
                </a:extLst>
              </p:cNvPr>
              <p:cNvSpPr txBox="1"/>
              <p:nvPr/>
            </p:nvSpPr>
            <p:spPr bwMode="auto">
              <a:xfrm>
                <a:off x="8740642" y="2290843"/>
                <a:ext cx="1696421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  <p:sp>
          <p:nvSpPr>
            <p:cNvPr id="131" name="îṩľîḋé">
              <a:extLst>
                <a:ext uri="{FF2B5EF4-FFF2-40B4-BE49-F238E27FC236}">
                  <a16:creationId xmlns:a16="http://schemas.microsoft.com/office/drawing/2014/main" id="{D1753FF2-2904-4898-884D-9EA8D38B249E}"/>
                </a:ext>
              </a:extLst>
            </p:cNvPr>
            <p:cNvSpPr/>
            <p:nvPr/>
          </p:nvSpPr>
          <p:spPr>
            <a:xfrm>
              <a:off x="6842907" y="3429000"/>
              <a:ext cx="657692" cy="657689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bg1">
                  <a:lumMod val="95000"/>
                </a:schemeClr>
              </a:solidFill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132" name="íṩ1ïďè">
              <a:extLst>
                <a:ext uri="{FF2B5EF4-FFF2-40B4-BE49-F238E27FC236}">
                  <a16:creationId xmlns:a16="http://schemas.microsoft.com/office/drawing/2014/main" id="{6C65BA7C-BFE2-4915-A0EF-CD0DB77E6764}"/>
                </a:ext>
              </a:extLst>
            </p:cNvPr>
            <p:cNvSpPr/>
            <p:nvPr/>
          </p:nvSpPr>
          <p:spPr>
            <a:xfrm>
              <a:off x="7003584" y="3631717"/>
              <a:ext cx="336336" cy="252252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 cmpd="sng">
              <a:noFill/>
              <a:prstDash val="solid"/>
              <a:miter/>
              <a:headEnd type="none" w="med" len="med"/>
              <a:tailEnd type="none" w="med" len="med"/>
            </a:ln>
            <a:effectLst/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SzPct val="25000"/>
                <a:buNone/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33" name="ïSḻiḓe">
              <a:extLst>
                <a:ext uri="{FF2B5EF4-FFF2-40B4-BE49-F238E27FC236}">
                  <a16:creationId xmlns:a16="http://schemas.microsoft.com/office/drawing/2014/main" id="{FE8BB9DD-7AAB-4B25-9942-8B83FAACE793}"/>
                </a:ext>
              </a:extLst>
            </p:cNvPr>
            <p:cNvGrpSpPr/>
            <p:nvPr/>
          </p:nvGrpSpPr>
          <p:grpSpPr>
            <a:xfrm>
              <a:off x="6652115" y="4170770"/>
              <a:ext cx="1696421" cy="1074799"/>
              <a:chOff x="6047228" y="2284977"/>
              <a:chExt cx="1696421" cy="1074799"/>
            </a:xfrm>
          </p:grpSpPr>
          <p:sp>
            <p:nvSpPr>
              <p:cNvPr id="137" name="îṣlïḍê">
                <a:extLst>
                  <a:ext uri="{FF2B5EF4-FFF2-40B4-BE49-F238E27FC236}">
                    <a16:creationId xmlns:a16="http://schemas.microsoft.com/office/drawing/2014/main" id="{1D4CDB25-6F98-4131-8836-D48A299E62FF}"/>
                  </a:ext>
                </a:extLst>
              </p:cNvPr>
              <p:cNvSpPr/>
              <p:nvPr/>
            </p:nvSpPr>
            <p:spPr bwMode="auto">
              <a:xfrm>
                <a:off x="6047228" y="2697858"/>
                <a:ext cx="1696421" cy="661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38" name="isľiḋe">
                <a:extLst>
                  <a:ext uri="{FF2B5EF4-FFF2-40B4-BE49-F238E27FC236}">
                    <a16:creationId xmlns:a16="http://schemas.microsoft.com/office/drawing/2014/main" id="{957DAD2D-BFEA-41A1-B629-45718F1538A2}"/>
                  </a:ext>
                </a:extLst>
              </p:cNvPr>
              <p:cNvSpPr txBox="1"/>
              <p:nvPr/>
            </p:nvSpPr>
            <p:spPr bwMode="auto">
              <a:xfrm>
                <a:off x="6047228" y="2284977"/>
                <a:ext cx="1696421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</a:p>
            </p:txBody>
          </p:sp>
        </p:grpSp>
      </p:grpSp>
      <p:grpSp>
        <p:nvGrpSpPr>
          <p:cNvPr id="134" name="îṣḻíḓe">
            <a:extLst>
              <a:ext uri="{FF2B5EF4-FFF2-40B4-BE49-F238E27FC236}">
                <a16:creationId xmlns:a16="http://schemas.microsoft.com/office/drawing/2014/main" id="{18387597-F57D-4434-BBDF-8EF99AB47737}"/>
              </a:ext>
            </a:extLst>
          </p:cNvPr>
          <p:cNvGrpSpPr/>
          <p:nvPr/>
        </p:nvGrpSpPr>
        <p:grpSpPr>
          <a:xfrm>
            <a:off x="660399" y="1458150"/>
            <a:ext cx="10858500" cy="1358890"/>
            <a:chOff x="660399" y="4775210"/>
            <a:chExt cx="10858500" cy="1358890"/>
          </a:xfrm>
        </p:grpSpPr>
        <p:sp>
          <p:nvSpPr>
            <p:cNvPr id="135" name="ïşliḑé">
              <a:extLst>
                <a:ext uri="{FF2B5EF4-FFF2-40B4-BE49-F238E27FC236}">
                  <a16:creationId xmlns:a16="http://schemas.microsoft.com/office/drawing/2014/main" id="{3A4AF6BF-C08C-4C0A-B9C3-D307CBD9EA2D}"/>
                </a:ext>
              </a:extLst>
            </p:cNvPr>
            <p:cNvSpPr txBox="1"/>
            <p:nvPr/>
          </p:nvSpPr>
          <p:spPr>
            <a:xfrm>
              <a:off x="660399" y="4775210"/>
              <a:ext cx="108585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800" dirty="0">
                  <a:solidFill>
                    <a:srgbClr val="3A3838"/>
                  </a:solidFill>
                </a:rPr>
                <a:t>Unified fonts make reading more fluent.</a:t>
              </a:r>
            </a:p>
          </p:txBody>
        </p:sp>
        <p:sp>
          <p:nvSpPr>
            <p:cNvPr id="136" name="íṡļiḑe">
              <a:extLst>
                <a:ext uri="{FF2B5EF4-FFF2-40B4-BE49-F238E27FC236}">
                  <a16:creationId xmlns:a16="http://schemas.microsoft.com/office/drawing/2014/main" id="{D7F3D5A6-DC34-47C6-854C-3D43749187A8}"/>
                </a:ext>
              </a:extLst>
            </p:cNvPr>
            <p:cNvSpPr txBox="1"/>
            <p:nvPr/>
          </p:nvSpPr>
          <p:spPr>
            <a:xfrm>
              <a:off x="660401" y="5539617"/>
              <a:ext cx="108584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939955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$li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ŝḻîḑe">
            <a:extLst>
              <a:ext uri="{FF2B5EF4-FFF2-40B4-BE49-F238E27FC236}">
                <a16:creationId xmlns:a16="http://schemas.microsoft.com/office/drawing/2014/main" id="{5D2606A6-41E8-4DAC-8FFC-A7B405E4E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$lïḋè">
            <a:extLst>
              <a:ext uri="{FF2B5EF4-FFF2-40B4-BE49-F238E27FC236}">
                <a16:creationId xmlns:a16="http://schemas.microsoft.com/office/drawing/2014/main" id="{EB31B2C4-17C9-4960-A750-3120B020F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ṥľïdê">
            <a:extLst>
              <a:ext uri="{FF2B5EF4-FFF2-40B4-BE49-F238E27FC236}">
                <a16:creationId xmlns:a16="http://schemas.microsoft.com/office/drawing/2014/main" id="{7518D5D3-998D-462D-A4FA-59DF9A821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170" name="iṡ1î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FC83797-545B-4D86-BF94-73D0BBD18C4D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13427"/>
            <a:ext cx="10847388" cy="4650246"/>
            <a:chOff x="673100" y="1313427"/>
            <a:chExt cx="10847388" cy="4650246"/>
          </a:xfrm>
        </p:grpSpPr>
        <p:sp>
          <p:nvSpPr>
            <p:cNvPr id="171" name="işļiḓê">
              <a:extLst>
                <a:ext uri="{FF2B5EF4-FFF2-40B4-BE49-F238E27FC236}">
                  <a16:creationId xmlns:a16="http://schemas.microsoft.com/office/drawing/2014/main" id="{83AA066C-BEAA-4C20-B9F2-226FBCC451BF}"/>
                </a:ext>
              </a:extLst>
            </p:cNvPr>
            <p:cNvSpPr/>
            <p:nvPr/>
          </p:nvSpPr>
          <p:spPr bwMode="auto">
            <a:xfrm>
              <a:off x="4518007" y="2063820"/>
              <a:ext cx="3159160" cy="31531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2" name="ïŝlîďê">
              <a:extLst>
                <a:ext uri="{FF2B5EF4-FFF2-40B4-BE49-F238E27FC236}">
                  <a16:creationId xmlns:a16="http://schemas.microsoft.com/office/drawing/2014/main" id="{DA799831-F108-421A-94C5-0428FD819104}"/>
                </a:ext>
              </a:extLst>
            </p:cNvPr>
            <p:cNvSpPr/>
            <p:nvPr/>
          </p:nvSpPr>
          <p:spPr bwMode="auto">
            <a:xfrm>
              <a:off x="3807621" y="3152432"/>
              <a:ext cx="2776084" cy="2773661"/>
            </a:xfrm>
            <a:custGeom>
              <a:avLst/>
              <a:gdLst>
                <a:gd name="T0" fmla="*/ 996 w 1102"/>
                <a:gd name="T1" fmla="*/ 106 h 1103"/>
                <a:gd name="T2" fmla="*/ 996 w 1102"/>
                <a:gd name="T3" fmla="*/ 106 h 1103"/>
                <a:gd name="T4" fmla="*/ 611 w 1102"/>
                <a:gd name="T5" fmla="*/ 106 h 1103"/>
                <a:gd name="T6" fmla="*/ 106 w 1102"/>
                <a:gd name="T7" fmla="*/ 611 h 1103"/>
                <a:gd name="T8" fmla="*/ 106 w 1102"/>
                <a:gd name="T9" fmla="*/ 997 h 1103"/>
                <a:gd name="T10" fmla="*/ 106 w 1102"/>
                <a:gd name="T11" fmla="*/ 997 h 1103"/>
                <a:gd name="T12" fmla="*/ 492 w 1102"/>
                <a:gd name="T13" fmla="*/ 997 h 1103"/>
                <a:gd name="T14" fmla="*/ 996 w 1102"/>
                <a:gd name="T15" fmla="*/ 492 h 1103"/>
                <a:gd name="T16" fmla="*/ 996 w 1102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3">
                  <a:moveTo>
                    <a:pt x="996" y="106"/>
                  </a:moveTo>
                  <a:cubicBezTo>
                    <a:pt x="996" y="106"/>
                    <a:pt x="996" y="106"/>
                    <a:pt x="996" y="106"/>
                  </a:cubicBezTo>
                  <a:cubicBezTo>
                    <a:pt x="890" y="0"/>
                    <a:pt x="717" y="0"/>
                    <a:pt x="611" y="106"/>
                  </a:cubicBezTo>
                  <a:cubicBezTo>
                    <a:pt x="106" y="611"/>
                    <a:pt x="106" y="611"/>
                    <a:pt x="106" y="611"/>
                  </a:cubicBezTo>
                  <a:cubicBezTo>
                    <a:pt x="0" y="717"/>
                    <a:pt x="0" y="890"/>
                    <a:pt x="106" y="997"/>
                  </a:cubicBezTo>
                  <a:cubicBezTo>
                    <a:pt x="106" y="997"/>
                    <a:pt x="106" y="997"/>
                    <a:pt x="106" y="997"/>
                  </a:cubicBezTo>
                  <a:cubicBezTo>
                    <a:pt x="212" y="1103"/>
                    <a:pt x="386" y="1103"/>
                    <a:pt x="492" y="997"/>
                  </a:cubicBezTo>
                  <a:cubicBezTo>
                    <a:pt x="996" y="492"/>
                    <a:pt x="996" y="492"/>
                    <a:pt x="996" y="492"/>
                  </a:cubicBezTo>
                  <a:cubicBezTo>
                    <a:pt x="1102" y="386"/>
                    <a:pt x="1102" y="212"/>
                    <a:pt x="996" y="10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3" name="iśľiďè">
              <a:extLst>
                <a:ext uri="{FF2B5EF4-FFF2-40B4-BE49-F238E27FC236}">
                  <a16:creationId xmlns:a16="http://schemas.microsoft.com/office/drawing/2014/main" id="{67832A40-FF42-4B4F-87DD-48D28707FEEC}"/>
                </a:ext>
              </a:extLst>
            </p:cNvPr>
            <p:cNvSpPr/>
            <p:nvPr/>
          </p:nvSpPr>
          <p:spPr bwMode="auto">
            <a:xfrm>
              <a:off x="5569041" y="1313427"/>
              <a:ext cx="2856094" cy="2854883"/>
            </a:xfrm>
            <a:custGeom>
              <a:avLst/>
              <a:gdLst>
                <a:gd name="T0" fmla="*/ 92 w 1134"/>
                <a:gd name="T1" fmla="*/ 1042 h 1135"/>
                <a:gd name="T2" fmla="*/ 61 w 1134"/>
                <a:gd name="T3" fmla="*/ 1006 h 1135"/>
                <a:gd name="T4" fmla="*/ 36 w 1134"/>
                <a:gd name="T5" fmla="*/ 966 h 1135"/>
                <a:gd name="T6" fmla="*/ 9 w 1134"/>
                <a:gd name="T7" fmla="*/ 895 h 1135"/>
                <a:gd name="T8" fmla="*/ 2 w 1134"/>
                <a:gd name="T9" fmla="*/ 850 h 1135"/>
                <a:gd name="T10" fmla="*/ 4 w 1134"/>
                <a:gd name="T11" fmla="*/ 774 h 1135"/>
                <a:gd name="T12" fmla="*/ 13 w 1134"/>
                <a:gd name="T13" fmla="*/ 730 h 1135"/>
                <a:gd name="T14" fmla="*/ 44 w 1134"/>
                <a:gd name="T15" fmla="*/ 659 h 1135"/>
                <a:gd name="T16" fmla="*/ 61 w 1134"/>
                <a:gd name="T17" fmla="*/ 633 h 1135"/>
                <a:gd name="T18" fmla="*/ 92 w 1134"/>
                <a:gd name="T19" fmla="*/ 597 h 1135"/>
                <a:gd name="T20" fmla="*/ 609 w 1134"/>
                <a:gd name="T21" fmla="*/ 81 h 1135"/>
                <a:gd name="T22" fmla="*/ 646 w 1134"/>
                <a:gd name="T23" fmla="*/ 52 h 1135"/>
                <a:gd name="T24" fmla="*/ 687 w 1134"/>
                <a:gd name="T25" fmla="*/ 29 h 1135"/>
                <a:gd name="T26" fmla="*/ 760 w 1134"/>
                <a:gd name="T27" fmla="*/ 6 h 1135"/>
                <a:gd name="T28" fmla="*/ 805 w 1134"/>
                <a:gd name="T29" fmla="*/ 1 h 1135"/>
                <a:gd name="T30" fmla="*/ 880 w 1134"/>
                <a:gd name="T31" fmla="*/ 6 h 1135"/>
                <a:gd name="T32" fmla="*/ 924 w 1134"/>
                <a:gd name="T33" fmla="*/ 18 h 1135"/>
                <a:gd name="T34" fmla="*/ 993 w 1134"/>
                <a:gd name="T35" fmla="*/ 52 h 1135"/>
                <a:gd name="T36" fmla="*/ 1031 w 1134"/>
                <a:gd name="T37" fmla="*/ 81 h 1135"/>
                <a:gd name="T38" fmla="*/ 1064 w 1134"/>
                <a:gd name="T39" fmla="*/ 116 h 1135"/>
                <a:gd name="T40" fmla="*/ 1091 w 1134"/>
                <a:gd name="T41" fmla="*/ 155 h 1135"/>
                <a:gd name="T42" fmla="*/ 1112 w 1134"/>
                <a:gd name="T43" fmla="*/ 196 h 1135"/>
                <a:gd name="T44" fmla="*/ 1131 w 1134"/>
                <a:gd name="T45" fmla="*/ 270 h 1135"/>
                <a:gd name="T46" fmla="*/ 1134 w 1134"/>
                <a:gd name="T47" fmla="*/ 315 h 1135"/>
                <a:gd name="T48" fmla="*/ 1126 w 1134"/>
                <a:gd name="T49" fmla="*/ 390 h 1135"/>
                <a:gd name="T50" fmla="*/ 1112 w 1134"/>
                <a:gd name="T51" fmla="*/ 434 h 1135"/>
                <a:gd name="T52" fmla="*/ 1074 w 1134"/>
                <a:gd name="T53" fmla="*/ 501 h 1135"/>
                <a:gd name="T54" fmla="*/ 1043 w 1134"/>
                <a:gd name="T55" fmla="*/ 537 h 1135"/>
                <a:gd name="T56" fmla="*/ 526 w 1134"/>
                <a:gd name="T57" fmla="*/ 1053 h 1135"/>
                <a:gd name="T58" fmla="*/ 489 w 1134"/>
                <a:gd name="T59" fmla="*/ 1083 h 1135"/>
                <a:gd name="T60" fmla="*/ 448 w 1134"/>
                <a:gd name="T61" fmla="*/ 1105 h 1135"/>
                <a:gd name="T62" fmla="*/ 375 w 1134"/>
                <a:gd name="T63" fmla="*/ 1129 h 1135"/>
                <a:gd name="T64" fmla="*/ 330 w 1134"/>
                <a:gd name="T65" fmla="*/ 1134 h 1135"/>
                <a:gd name="T66" fmla="*/ 255 w 1134"/>
                <a:gd name="T67" fmla="*/ 1129 h 1135"/>
                <a:gd name="T68" fmla="*/ 211 w 1134"/>
                <a:gd name="T69" fmla="*/ 1117 h 1135"/>
                <a:gd name="T70" fmla="*/ 142 w 1134"/>
                <a:gd name="T71" fmla="*/ 1083 h 1135"/>
                <a:gd name="T72" fmla="*/ 104 w 1134"/>
                <a:gd name="T73" fmla="*/ 1053 h 1135"/>
                <a:gd name="T74" fmla="*/ 92 w 1134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4" h="1135">
                  <a:moveTo>
                    <a:pt x="92" y="1042"/>
                  </a:moveTo>
                  <a:cubicBezTo>
                    <a:pt x="81" y="1031"/>
                    <a:pt x="71" y="1019"/>
                    <a:pt x="61" y="1006"/>
                  </a:cubicBezTo>
                  <a:cubicBezTo>
                    <a:pt x="52" y="993"/>
                    <a:pt x="44" y="980"/>
                    <a:pt x="36" y="966"/>
                  </a:cubicBezTo>
                  <a:cubicBezTo>
                    <a:pt x="25" y="942"/>
                    <a:pt x="16" y="920"/>
                    <a:pt x="9" y="895"/>
                  </a:cubicBezTo>
                  <a:cubicBezTo>
                    <a:pt x="6" y="880"/>
                    <a:pt x="4" y="865"/>
                    <a:pt x="2" y="850"/>
                  </a:cubicBezTo>
                  <a:cubicBezTo>
                    <a:pt x="0" y="824"/>
                    <a:pt x="1" y="800"/>
                    <a:pt x="4" y="774"/>
                  </a:cubicBezTo>
                  <a:cubicBezTo>
                    <a:pt x="6" y="759"/>
                    <a:pt x="9" y="745"/>
                    <a:pt x="13" y="730"/>
                  </a:cubicBezTo>
                  <a:cubicBezTo>
                    <a:pt x="21" y="705"/>
                    <a:pt x="31" y="682"/>
                    <a:pt x="44" y="659"/>
                  </a:cubicBezTo>
                  <a:cubicBezTo>
                    <a:pt x="61" y="633"/>
                    <a:pt x="61" y="633"/>
                    <a:pt x="61" y="633"/>
                  </a:cubicBezTo>
                  <a:cubicBezTo>
                    <a:pt x="71" y="620"/>
                    <a:pt x="81" y="609"/>
                    <a:pt x="92" y="597"/>
                  </a:cubicBezTo>
                  <a:cubicBezTo>
                    <a:pt x="609" y="81"/>
                    <a:pt x="609" y="81"/>
                    <a:pt x="609" y="81"/>
                  </a:cubicBezTo>
                  <a:cubicBezTo>
                    <a:pt x="621" y="71"/>
                    <a:pt x="633" y="61"/>
                    <a:pt x="646" y="52"/>
                  </a:cubicBezTo>
                  <a:cubicBezTo>
                    <a:pt x="660" y="44"/>
                    <a:pt x="673" y="36"/>
                    <a:pt x="687" y="29"/>
                  </a:cubicBezTo>
                  <a:cubicBezTo>
                    <a:pt x="711" y="19"/>
                    <a:pt x="734" y="12"/>
                    <a:pt x="760" y="6"/>
                  </a:cubicBezTo>
                  <a:cubicBezTo>
                    <a:pt x="775" y="3"/>
                    <a:pt x="789" y="2"/>
                    <a:pt x="805" y="1"/>
                  </a:cubicBezTo>
                  <a:cubicBezTo>
                    <a:pt x="831" y="0"/>
                    <a:pt x="854" y="2"/>
                    <a:pt x="880" y="6"/>
                  </a:cubicBezTo>
                  <a:cubicBezTo>
                    <a:pt x="895" y="9"/>
                    <a:pt x="909" y="13"/>
                    <a:pt x="924" y="18"/>
                  </a:cubicBezTo>
                  <a:cubicBezTo>
                    <a:pt x="949" y="27"/>
                    <a:pt x="971" y="38"/>
                    <a:pt x="993" y="52"/>
                  </a:cubicBezTo>
                  <a:cubicBezTo>
                    <a:pt x="1006" y="61"/>
                    <a:pt x="1019" y="71"/>
                    <a:pt x="1031" y="81"/>
                  </a:cubicBezTo>
                  <a:cubicBezTo>
                    <a:pt x="1043" y="92"/>
                    <a:pt x="1053" y="104"/>
                    <a:pt x="1064" y="116"/>
                  </a:cubicBezTo>
                  <a:cubicBezTo>
                    <a:pt x="1074" y="129"/>
                    <a:pt x="1083" y="141"/>
                    <a:pt x="1091" y="155"/>
                  </a:cubicBezTo>
                  <a:cubicBezTo>
                    <a:pt x="1099" y="169"/>
                    <a:pt x="1105" y="182"/>
                    <a:pt x="1112" y="196"/>
                  </a:cubicBezTo>
                  <a:cubicBezTo>
                    <a:pt x="1121" y="221"/>
                    <a:pt x="1127" y="244"/>
                    <a:pt x="1131" y="270"/>
                  </a:cubicBezTo>
                  <a:cubicBezTo>
                    <a:pt x="1133" y="285"/>
                    <a:pt x="1134" y="300"/>
                    <a:pt x="1134" y="315"/>
                  </a:cubicBezTo>
                  <a:cubicBezTo>
                    <a:pt x="1134" y="341"/>
                    <a:pt x="1131" y="365"/>
                    <a:pt x="1126" y="390"/>
                  </a:cubicBezTo>
                  <a:cubicBezTo>
                    <a:pt x="1121" y="405"/>
                    <a:pt x="1117" y="419"/>
                    <a:pt x="1112" y="434"/>
                  </a:cubicBezTo>
                  <a:cubicBezTo>
                    <a:pt x="1101" y="458"/>
                    <a:pt x="1089" y="479"/>
                    <a:pt x="1074" y="501"/>
                  </a:cubicBezTo>
                  <a:cubicBezTo>
                    <a:pt x="1064" y="514"/>
                    <a:pt x="1054" y="526"/>
                    <a:pt x="1043" y="537"/>
                  </a:cubicBezTo>
                  <a:cubicBezTo>
                    <a:pt x="526" y="1053"/>
                    <a:pt x="526" y="1053"/>
                    <a:pt x="526" y="1053"/>
                  </a:cubicBezTo>
                  <a:cubicBezTo>
                    <a:pt x="514" y="1064"/>
                    <a:pt x="502" y="1073"/>
                    <a:pt x="489" y="1083"/>
                  </a:cubicBezTo>
                  <a:cubicBezTo>
                    <a:pt x="475" y="1091"/>
                    <a:pt x="462" y="1098"/>
                    <a:pt x="448" y="1105"/>
                  </a:cubicBezTo>
                  <a:cubicBezTo>
                    <a:pt x="424" y="1116"/>
                    <a:pt x="401" y="1123"/>
                    <a:pt x="375" y="1129"/>
                  </a:cubicBezTo>
                  <a:cubicBezTo>
                    <a:pt x="360" y="1131"/>
                    <a:pt x="346" y="1133"/>
                    <a:pt x="330" y="1134"/>
                  </a:cubicBezTo>
                  <a:cubicBezTo>
                    <a:pt x="304" y="1135"/>
                    <a:pt x="281" y="1133"/>
                    <a:pt x="255" y="1129"/>
                  </a:cubicBezTo>
                  <a:cubicBezTo>
                    <a:pt x="240" y="1125"/>
                    <a:pt x="226" y="1121"/>
                    <a:pt x="211" y="1117"/>
                  </a:cubicBezTo>
                  <a:cubicBezTo>
                    <a:pt x="186" y="1107"/>
                    <a:pt x="164" y="1097"/>
                    <a:pt x="142" y="1083"/>
                  </a:cubicBezTo>
                  <a:cubicBezTo>
                    <a:pt x="128" y="1073"/>
                    <a:pt x="116" y="1064"/>
                    <a:pt x="104" y="1053"/>
                  </a:cubicBezTo>
                  <a:cubicBezTo>
                    <a:pt x="92" y="1042"/>
                    <a:pt x="92" y="1042"/>
                    <a:pt x="9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4" name="íṩlíḓe">
              <a:extLst>
                <a:ext uri="{FF2B5EF4-FFF2-40B4-BE49-F238E27FC236}">
                  <a16:creationId xmlns:a16="http://schemas.microsoft.com/office/drawing/2014/main" id="{9B2A59AE-3021-4CC1-80FD-D03AB02BB4EE}"/>
                </a:ext>
              </a:extLst>
            </p:cNvPr>
            <p:cNvSpPr/>
            <p:nvPr/>
          </p:nvSpPr>
          <p:spPr bwMode="auto">
            <a:xfrm>
              <a:off x="5609046" y="1354644"/>
              <a:ext cx="2778509" cy="2770024"/>
            </a:xfrm>
            <a:custGeom>
              <a:avLst/>
              <a:gdLst>
                <a:gd name="T0" fmla="*/ 106 w 1103"/>
                <a:gd name="T1" fmla="*/ 996 h 1102"/>
                <a:gd name="T2" fmla="*/ 106 w 1103"/>
                <a:gd name="T3" fmla="*/ 996 h 1102"/>
                <a:gd name="T4" fmla="*/ 106 w 1103"/>
                <a:gd name="T5" fmla="*/ 611 h 1102"/>
                <a:gd name="T6" fmla="*/ 611 w 1103"/>
                <a:gd name="T7" fmla="*/ 106 h 1102"/>
                <a:gd name="T8" fmla="*/ 997 w 1103"/>
                <a:gd name="T9" fmla="*/ 106 h 1102"/>
                <a:gd name="T10" fmla="*/ 997 w 1103"/>
                <a:gd name="T11" fmla="*/ 106 h 1102"/>
                <a:gd name="T12" fmla="*/ 997 w 1103"/>
                <a:gd name="T13" fmla="*/ 492 h 1102"/>
                <a:gd name="T14" fmla="*/ 492 w 1103"/>
                <a:gd name="T15" fmla="*/ 996 h 1102"/>
                <a:gd name="T16" fmla="*/ 106 w 1103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2">
                  <a:moveTo>
                    <a:pt x="106" y="996"/>
                  </a:moveTo>
                  <a:cubicBezTo>
                    <a:pt x="106" y="996"/>
                    <a:pt x="106" y="996"/>
                    <a:pt x="106" y="996"/>
                  </a:cubicBezTo>
                  <a:cubicBezTo>
                    <a:pt x="0" y="890"/>
                    <a:pt x="0" y="717"/>
                    <a:pt x="106" y="611"/>
                  </a:cubicBezTo>
                  <a:cubicBezTo>
                    <a:pt x="611" y="106"/>
                    <a:pt x="611" y="106"/>
                    <a:pt x="611" y="106"/>
                  </a:cubicBezTo>
                  <a:cubicBezTo>
                    <a:pt x="717" y="0"/>
                    <a:pt x="890" y="0"/>
                    <a:pt x="997" y="106"/>
                  </a:cubicBezTo>
                  <a:cubicBezTo>
                    <a:pt x="997" y="106"/>
                    <a:pt x="997" y="106"/>
                    <a:pt x="997" y="106"/>
                  </a:cubicBezTo>
                  <a:cubicBezTo>
                    <a:pt x="1103" y="212"/>
                    <a:pt x="1103" y="386"/>
                    <a:pt x="997" y="492"/>
                  </a:cubicBezTo>
                  <a:cubicBezTo>
                    <a:pt x="492" y="996"/>
                    <a:pt x="492" y="996"/>
                    <a:pt x="492" y="996"/>
                  </a:cubicBezTo>
                  <a:cubicBezTo>
                    <a:pt x="386" y="1102"/>
                    <a:pt x="212" y="1102"/>
                    <a:pt x="106" y="99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5" name="ïṣ1íďe">
              <a:extLst>
                <a:ext uri="{FF2B5EF4-FFF2-40B4-BE49-F238E27FC236}">
                  <a16:creationId xmlns:a16="http://schemas.microsoft.com/office/drawing/2014/main" id="{CC47C910-55FC-4261-A76F-AC0DF8E391E6}"/>
                </a:ext>
              </a:extLst>
            </p:cNvPr>
            <p:cNvSpPr/>
            <p:nvPr/>
          </p:nvSpPr>
          <p:spPr bwMode="auto">
            <a:xfrm>
              <a:off x="5569041" y="3112427"/>
              <a:ext cx="2858519" cy="2851246"/>
            </a:xfrm>
            <a:custGeom>
              <a:avLst/>
              <a:gdLst>
                <a:gd name="T0" fmla="*/ 92 w 1135"/>
                <a:gd name="T1" fmla="*/ 92 h 1134"/>
                <a:gd name="T2" fmla="*/ 129 w 1135"/>
                <a:gd name="T3" fmla="*/ 61 h 1134"/>
                <a:gd name="T4" fmla="*/ 169 w 1135"/>
                <a:gd name="T5" fmla="*/ 36 h 1134"/>
                <a:gd name="T6" fmla="*/ 240 w 1135"/>
                <a:gd name="T7" fmla="*/ 9 h 1134"/>
                <a:gd name="T8" fmla="*/ 285 w 1135"/>
                <a:gd name="T9" fmla="*/ 2 h 1134"/>
                <a:gd name="T10" fmla="*/ 360 w 1135"/>
                <a:gd name="T11" fmla="*/ 4 h 1134"/>
                <a:gd name="T12" fmla="*/ 405 w 1135"/>
                <a:gd name="T13" fmla="*/ 13 h 1134"/>
                <a:gd name="T14" fmla="*/ 475 w 1135"/>
                <a:gd name="T15" fmla="*/ 44 h 1134"/>
                <a:gd name="T16" fmla="*/ 502 w 1135"/>
                <a:gd name="T17" fmla="*/ 61 h 1134"/>
                <a:gd name="T18" fmla="*/ 538 w 1135"/>
                <a:gd name="T19" fmla="*/ 92 h 1134"/>
                <a:gd name="T20" fmla="*/ 1054 w 1135"/>
                <a:gd name="T21" fmla="*/ 609 h 1134"/>
                <a:gd name="T22" fmla="*/ 1083 w 1135"/>
                <a:gd name="T23" fmla="*/ 646 h 1134"/>
                <a:gd name="T24" fmla="*/ 1105 w 1135"/>
                <a:gd name="T25" fmla="*/ 687 h 1134"/>
                <a:gd name="T26" fmla="*/ 1129 w 1135"/>
                <a:gd name="T27" fmla="*/ 760 h 1134"/>
                <a:gd name="T28" fmla="*/ 1134 w 1135"/>
                <a:gd name="T29" fmla="*/ 805 h 1134"/>
                <a:gd name="T30" fmla="*/ 1129 w 1135"/>
                <a:gd name="T31" fmla="*/ 880 h 1134"/>
                <a:gd name="T32" fmla="*/ 1117 w 1135"/>
                <a:gd name="T33" fmla="*/ 924 h 1134"/>
                <a:gd name="T34" fmla="*/ 1083 w 1135"/>
                <a:gd name="T35" fmla="*/ 993 h 1134"/>
                <a:gd name="T36" fmla="*/ 1054 w 1135"/>
                <a:gd name="T37" fmla="*/ 1031 h 1134"/>
                <a:gd name="T38" fmla="*/ 1019 w 1135"/>
                <a:gd name="T39" fmla="*/ 1064 h 1134"/>
                <a:gd name="T40" fmla="*/ 980 w 1135"/>
                <a:gd name="T41" fmla="*/ 1091 h 1134"/>
                <a:gd name="T42" fmla="*/ 938 w 1135"/>
                <a:gd name="T43" fmla="*/ 1112 h 1134"/>
                <a:gd name="T44" fmla="*/ 865 w 1135"/>
                <a:gd name="T45" fmla="*/ 1131 h 1134"/>
                <a:gd name="T46" fmla="*/ 820 w 1135"/>
                <a:gd name="T47" fmla="*/ 1134 h 1134"/>
                <a:gd name="T48" fmla="*/ 745 w 1135"/>
                <a:gd name="T49" fmla="*/ 1126 h 1134"/>
                <a:gd name="T50" fmla="*/ 701 w 1135"/>
                <a:gd name="T51" fmla="*/ 1112 h 1134"/>
                <a:gd name="T52" fmla="*/ 633 w 1135"/>
                <a:gd name="T53" fmla="*/ 1074 h 1134"/>
                <a:gd name="T54" fmla="*/ 597 w 1135"/>
                <a:gd name="T55" fmla="*/ 1043 h 1134"/>
                <a:gd name="T56" fmla="*/ 81 w 1135"/>
                <a:gd name="T57" fmla="*/ 526 h 1134"/>
                <a:gd name="T58" fmla="*/ 52 w 1135"/>
                <a:gd name="T59" fmla="*/ 489 h 1134"/>
                <a:gd name="T60" fmla="*/ 30 w 1135"/>
                <a:gd name="T61" fmla="*/ 448 h 1134"/>
                <a:gd name="T62" fmla="*/ 6 w 1135"/>
                <a:gd name="T63" fmla="*/ 375 h 1134"/>
                <a:gd name="T64" fmla="*/ 1 w 1135"/>
                <a:gd name="T65" fmla="*/ 330 h 1134"/>
                <a:gd name="T66" fmla="*/ 6 w 1135"/>
                <a:gd name="T67" fmla="*/ 255 h 1134"/>
                <a:gd name="T68" fmla="*/ 18 w 1135"/>
                <a:gd name="T69" fmla="*/ 211 h 1134"/>
                <a:gd name="T70" fmla="*/ 52 w 1135"/>
                <a:gd name="T71" fmla="*/ 142 h 1134"/>
                <a:gd name="T72" fmla="*/ 81 w 1135"/>
                <a:gd name="T73" fmla="*/ 104 h 1134"/>
                <a:gd name="T74" fmla="*/ 92 w 1135"/>
                <a:gd name="T75" fmla="*/ 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4">
                  <a:moveTo>
                    <a:pt x="92" y="92"/>
                  </a:moveTo>
                  <a:cubicBezTo>
                    <a:pt x="104" y="81"/>
                    <a:pt x="116" y="71"/>
                    <a:pt x="129" y="61"/>
                  </a:cubicBezTo>
                  <a:cubicBezTo>
                    <a:pt x="142" y="52"/>
                    <a:pt x="155" y="44"/>
                    <a:pt x="169" y="36"/>
                  </a:cubicBezTo>
                  <a:cubicBezTo>
                    <a:pt x="192" y="25"/>
                    <a:pt x="215" y="16"/>
                    <a:pt x="240" y="9"/>
                  </a:cubicBezTo>
                  <a:cubicBezTo>
                    <a:pt x="255" y="6"/>
                    <a:pt x="270" y="4"/>
                    <a:pt x="285" y="2"/>
                  </a:cubicBezTo>
                  <a:cubicBezTo>
                    <a:pt x="311" y="0"/>
                    <a:pt x="335" y="1"/>
                    <a:pt x="360" y="4"/>
                  </a:cubicBezTo>
                  <a:cubicBezTo>
                    <a:pt x="376" y="6"/>
                    <a:pt x="390" y="9"/>
                    <a:pt x="405" y="13"/>
                  </a:cubicBezTo>
                  <a:cubicBezTo>
                    <a:pt x="430" y="21"/>
                    <a:pt x="452" y="31"/>
                    <a:pt x="475" y="44"/>
                  </a:cubicBezTo>
                  <a:cubicBezTo>
                    <a:pt x="502" y="61"/>
                    <a:pt x="502" y="61"/>
                    <a:pt x="502" y="61"/>
                  </a:cubicBezTo>
                  <a:cubicBezTo>
                    <a:pt x="514" y="71"/>
                    <a:pt x="526" y="81"/>
                    <a:pt x="538" y="92"/>
                  </a:cubicBezTo>
                  <a:cubicBezTo>
                    <a:pt x="1054" y="609"/>
                    <a:pt x="1054" y="609"/>
                    <a:pt x="1054" y="609"/>
                  </a:cubicBezTo>
                  <a:cubicBezTo>
                    <a:pt x="1064" y="621"/>
                    <a:pt x="1074" y="633"/>
                    <a:pt x="1083" y="646"/>
                  </a:cubicBezTo>
                  <a:cubicBezTo>
                    <a:pt x="1091" y="660"/>
                    <a:pt x="1098" y="673"/>
                    <a:pt x="1105" y="687"/>
                  </a:cubicBezTo>
                  <a:cubicBezTo>
                    <a:pt x="1116" y="711"/>
                    <a:pt x="1123" y="734"/>
                    <a:pt x="1129" y="760"/>
                  </a:cubicBezTo>
                  <a:cubicBezTo>
                    <a:pt x="1131" y="775"/>
                    <a:pt x="1133" y="789"/>
                    <a:pt x="1134" y="805"/>
                  </a:cubicBezTo>
                  <a:cubicBezTo>
                    <a:pt x="1135" y="831"/>
                    <a:pt x="1133" y="854"/>
                    <a:pt x="1129" y="880"/>
                  </a:cubicBezTo>
                  <a:cubicBezTo>
                    <a:pt x="1125" y="895"/>
                    <a:pt x="1122" y="909"/>
                    <a:pt x="1117" y="924"/>
                  </a:cubicBezTo>
                  <a:cubicBezTo>
                    <a:pt x="1108" y="949"/>
                    <a:pt x="1097" y="971"/>
                    <a:pt x="1083" y="993"/>
                  </a:cubicBezTo>
                  <a:cubicBezTo>
                    <a:pt x="1074" y="1006"/>
                    <a:pt x="1064" y="1019"/>
                    <a:pt x="1054" y="1031"/>
                  </a:cubicBezTo>
                  <a:cubicBezTo>
                    <a:pt x="1042" y="1043"/>
                    <a:pt x="1031" y="1053"/>
                    <a:pt x="1019" y="1064"/>
                  </a:cubicBezTo>
                  <a:cubicBezTo>
                    <a:pt x="1006" y="1074"/>
                    <a:pt x="993" y="1083"/>
                    <a:pt x="980" y="1091"/>
                  </a:cubicBezTo>
                  <a:cubicBezTo>
                    <a:pt x="966" y="1099"/>
                    <a:pt x="953" y="1105"/>
                    <a:pt x="938" y="1112"/>
                  </a:cubicBezTo>
                  <a:cubicBezTo>
                    <a:pt x="914" y="1121"/>
                    <a:pt x="891" y="1127"/>
                    <a:pt x="865" y="1131"/>
                  </a:cubicBezTo>
                  <a:cubicBezTo>
                    <a:pt x="850" y="1133"/>
                    <a:pt x="835" y="1134"/>
                    <a:pt x="820" y="1134"/>
                  </a:cubicBezTo>
                  <a:cubicBezTo>
                    <a:pt x="794" y="1134"/>
                    <a:pt x="770" y="1131"/>
                    <a:pt x="745" y="1126"/>
                  </a:cubicBezTo>
                  <a:cubicBezTo>
                    <a:pt x="730" y="1121"/>
                    <a:pt x="716" y="1117"/>
                    <a:pt x="701" y="1112"/>
                  </a:cubicBezTo>
                  <a:cubicBezTo>
                    <a:pt x="677" y="1101"/>
                    <a:pt x="655" y="1089"/>
                    <a:pt x="633" y="1074"/>
                  </a:cubicBezTo>
                  <a:cubicBezTo>
                    <a:pt x="621" y="1064"/>
                    <a:pt x="609" y="1054"/>
                    <a:pt x="597" y="1043"/>
                  </a:cubicBezTo>
                  <a:cubicBezTo>
                    <a:pt x="81" y="526"/>
                    <a:pt x="81" y="526"/>
                    <a:pt x="81" y="526"/>
                  </a:cubicBezTo>
                  <a:cubicBezTo>
                    <a:pt x="71" y="514"/>
                    <a:pt x="61" y="502"/>
                    <a:pt x="52" y="489"/>
                  </a:cubicBezTo>
                  <a:cubicBezTo>
                    <a:pt x="44" y="475"/>
                    <a:pt x="37" y="462"/>
                    <a:pt x="30" y="448"/>
                  </a:cubicBezTo>
                  <a:cubicBezTo>
                    <a:pt x="19" y="424"/>
                    <a:pt x="12" y="401"/>
                    <a:pt x="6" y="375"/>
                  </a:cubicBezTo>
                  <a:cubicBezTo>
                    <a:pt x="4" y="360"/>
                    <a:pt x="2" y="346"/>
                    <a:pt x="1" y="330"/>
                  </a:cubicBezTo>
                  <a:cubicBezTo>
                    <a:pt x="0" y="304"/>
                    <a:pt x="2" y="281"/>
                    <a:pt x="6" y="255"/>
                  </a:cubicBezTo>
                  <a:cubicBezTo>
                    <a:pt x="9" y="240"/>
                    <a:pt x="13" y="226"/>
                    <a:pt x="18" y="211"/>
                  </a:cubicBezTo>
                  <a:cubicBezTo>
                    <a:pt x="27" y="186"/>
                    <a:pt x="38" y="164"/>
                    <a:pt x="52" y="142"/>
                  </a:cubicBezTo>
                  <a:cubicBezTo>
                    <a:pt x="61" y="128"/>
                    <a:pt x="71" y="116"/>
                    <a:pt x="81" y="104"/>
                  </a:cubicBezTo>
                  <a:cubicBezTo>
                    <a:pt x="92" y="92"/>
                    <a:pt x="92" y="92"/>
                    <a:pt x="92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6" name="íšľïḑé">
              <a:extLst>
                <a:ext uri="{FF2B5EF4-FFF2-40B4-BE49-F238E27FC236}">
                  <a16:creationId xmlns:a16="http://schemas.microsoft.com/office/drawing/2014/main" id="{CDD16575-6B43-422C-A067-EBCA42A7D08B}"/>
                </a:ext>
              </a:extLst>
            </p:cNvPr>
            <p:cNvSpPr/>
            <p:nvPr/>
          </p:nvSpPr>
          <p:spPr bwMode="auto">
            <a:xfrm>
              <a:off x="5609046" y="3152432"/>
              <a:ext cx="2778509" cy="2773661"/>
            </a:xfrm>
            <a:custGeom>
              <a:avLst/>
              <a:gdLst>
                <a:gd name="T0" fmla="*/ 106 w 1103"/>
                <a:gd name="T1" fmla="*/ 106 h 1103"/>
                <a:gd name="T2" fmla="*/ 106 w 1103"/>
                <a:gd name="T3" fmla="*/ 106 h 1103"/>
                <a:gd name="T4" fmla="*/ 492 w 1103"/>
                <a:gd name="T5" fmla="*/ 106 h 1103"/>
                <a:gd name="T6" fmla="*/ 997 w 1103"/>
                <a:gd name="T7" fmla="*/ 611 h 1103"/>
                <a:gd name="T8" fmla="*/ 997 w 1103"/>
                <a:gd name="T9" fmla="*/ 997 h 1103"/>
                <a:gd name="T10" fmla="*/ 997 w 1103"/>
                <a:gd name="T11" fmla="*/ 997 h 1103"/>
                <a:gd name="T12" fmla="*/ 611 w 1103"/>
                <a:gd name="T13" fmla="*/ 997 h 1103"/>
                <a:gd name="T14" fmla="*/ 106 w 1103"/>
                <a:gd name="T15" fmla="*/ 492 h 1103"/>
                <a:gd name="T16" fmla="*/ 106 w 1103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3">
                  <a:moveTo>
                    <a:pt x="106" y="106"/>
                  </a:moveTo>
                  <a:cubicBezTo>
                    <a:pt x="106" y="106"/>
                    <a:pt x="106" y="106"/>
                    <a:pt x="106" y="106"/>
                  </a:cubicBezTo>
                  <a:cubicBezTo>
                    <a:pt x="212" y="0"/>
                    <a:pt x="386" y="0"/>
                    <a:pt x="492" y="106"/>
                  </a:cubicBezTo>
                  <a:cubicBezTo>
                    <a:pt x="997" y="611"/>
                    <a:pt x="997" y="611"/>
                    <a:pt x="997" y="611"/>
                  </a:cubicBezTo>
                  <a:cubicBezTo>
                    <a:pt x="1103" y="717"/>
                    <a:pt x="1103" y="890"/>
                    <a:pt x="997" y="997"/>
                  </a:cubicBezTo>
                  <a:cubicBezTo>
                    <a:pt x="997" y="997"/>
                    <a:pt x="997" y="997"/>
                    <a:pt x="997" y="997"/>
                  </a:cubicBezTo>
                  <a:cubicBezTo>
                    <a:pt x="890" y="1103"/>
                    <a:pt x="717" y="1103"/>
                    <a:pt x="611" y="997"/>
                  </a:cubicBezTo>
                  <a:cubicBezTo>
                    <a:pt x="106" y="492"/>
                    <a:pt x="106" y="492"/>
                    <a:pt x="106" y="492"/>
                  </a:cubicBezTo>
                  <a:cubicBezTo>
                    <a:pt x="0" y="386"/>
                    <a:pt x="0" y="212"/>
                    <a:pt x="106" y="10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7" name="îsľídè">
              <a:extLst>
                <a:ext uri="{FF2B5EF4-FFF2-40B4-BE49-F238E27FC236}">
                  <a16:creationId xmlns:a16="http://schemas.microsoft.com/office/drawing/2014/main" id="{C90C8262-E2F9-4379-BECB-4220AB3E616C}"/>
                </a:ext>
              </a:extLst>
            </p:cNvPr>
            <p:cNvSpPr/>
            <p:nvPr/>
          </p:nvSpPr>
          <p:spPr bwMode="auto">
            <a:xfrm>
              <a:off x="3767616" y="1313427"/>
              <a:ext cx="2858519" cy="2854883"/>
            </a:xfrm>
            <a:custGeom>
              <a:avLst/>
              <a:gdLst>
                <a:gd name="T0" fmla="*/ 1042 w 1135"/>
                <a:gd name="T1" fmla="*/ 1042 h 1135"/>
                <a:gd name="T2" fmla="*/ 1074 w 1135"/>
                <a:gd name="T3" fmla="*/ 1006 h 1135"/>
                <a:gd name="T4" fmla="*/ 1098 w 1135"/>
                <a:gd name="T5" fmla="*/ 966 h 1135"/>
                <a:gd name="T6" fmla="*/ 1125 w 1135"/>
                <a:gd name="T7" fmla="*/ 895 h 1135"/>
                <a:gd name="T8" fmla="*/ 1133 w 1135"/>
                <a:gd name="T9" fmla="*/ 850 h 1135"/>
                <a:gd name="T10" fmla="*/ 1131 w 1135"/>
                <a:gd name="T11" fmla="*/ 774 h 1135"/>
                <a:gd name="T12" fmla="*/ 1121 w 1135"/>
                <a:gd name="T13" fmla="*/ 730 h 1135"/>
                <a:gd name="T14" fmla="*/ 1091 w 1135"/>
                <a:gd name="T15" fmla="*/ 659 h 1135"/>
                <a:gd name="T16" fmla="*/ 1074 w 1135"/>
                <a:gd name="T17" fmla="*/ 633 h 1135"/>
                <a:gd name="T18" fmla="*/ 1043 w 1135"/>
                <a:gd name="T19" fmla="*/ 597 h 1135"/>
                <a:gd name="T20" fmla="*/ 526 w 1135"/>
                <a:gd name="T21" fmla="*/ 81 h 1135"/>
                <a:gd name="T22" fmla="*/ 488 w 1135"/>
                <a:gd name="T23" fmla="*/ 52 h 1135"/>
                <a:gd name="T24" fmla="*/ 448 w 1135"/>
                <a:gd name="T25" fmla="*/ 29 h 1135"/>
                <a:gd name="T26" fmla="*/ 375 w 1135"/>
                <a:gd name="T27" fmla="*/ 6 h 1135"/>
                <a:gd name="T28" fmla="*/ 330 w 1135"/>
                <a:gd name="T29" fmla="*/ 1 h 1135"/>
                <a:gd name="T30" fmla="*/ 255 w 1135"/>
                <a:gd name="T31" fmla="*/ 6 h 1135"/>
                <a:gd name="T32" fmla="*/ 211 w 1135"/>
                <a:gd name="T33" fmla="*/ 18 h 1135"/>
                <a:gd name="T34" fmla="*/ 142 w 1135"/>
                <a:gd name="T35" fmla="*/ 52 h 1135"/>
                <a:gd name="T36" fmla="*/ 104 w 1135"/>
                <a:gd name="T37" fmla="*/ 81 h 1135"/>
                <a:gd name="T38" fmla="*/ 71 w 1135"/>
                <a:gd name="T39" fmla="*/ 116 h 1135"/>
                <a:gd name="T40" fmla="*/ 44 w 1135"/>
                <a:gd name="T41" fmla="*/ 155 h 1135"/>
                <a:gd name="T42" fmla="*/ 23 w 1135"/>
                <a:gd name="T43" fmla="*/ 196 h 1135"/>
                <a:gd name="T44" fmla="*/ 3 w 1135"/>
                <a:gd name="T45" fmla="*/ 270 h 1135"/>
                <a:gd name="T46" fmla="*/ 0 w 1135"/>
                <a:gd name="T47" fmla="*/ 315 h 1135"/>
                <a:gd name="T48" fmla="*/ 9 w 1135"/>
                <a:gd name="T49" fmla="*/ 390 h 1135"/>
                <a:gd name="T50" fmla="*/ 23 w 1135"/>
                <a:gd name="T51" fmla="*/ 434 h 1135"/>
                <a:gd name="T52" fmla="*/ 61 w 1135"/>
                <a:gd name="T53" fmla="*/ 501 h 1135"/>
                <a:gd name="T54" fmla="*/ 92 w 1135"/>
                <a:gd name="T55" fmla="*/ 537 h 1135"/>
                <a:gd name="T56" fmla="*/ 608 w 1135"/>
                <a:gd name="T57" fmla="*/ 1053 h 1135"/>
                <a:gd name="T58" fmla="*/ 646 w 1135"/>
                <a:gd name="T59" fmla="*/ 1083 h 1135"/>
                <a:gd name="T60" fmla="*/ 687 w 1135"/>
                <a:gd name="T61" fmla="*/ 1105 h 1135"/>
                <a:gd name="T62" fmla="*/ 759 w 1135"/>
                <a:gd name="T63" fmla="*/ 1129 h 1135"/>
                <a:gd name="T64" fmla="*/ 804 w 1135"/>
                <a:gd name="T65" fmla="*/ 1134 h 1135"/>
                <a:gd name="T66" fmla="*/ 880 w 1135"/>
                <a:gd name="T67" fmla="*/ 1129 h 1135"/>
                <a:gd name="T68" fmla="*/ 924 w 1135"/>
                <a:gd name="T69" fmla="*/ 1117 h 1135"/>
                <a:gd name="T70" fmla="*/ 993 w 1135"/>
                <a:gd name="T71" fmla="*/ 1083 h 1135"/>
                <a:gd name="T72" fmla="*/ 1031 w 1135"/>
                <a:gd name="T73" fmla="*/ 1053 h 1135"/>
                <a:gd name="T74" fmla="*/ 1042 w 1135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5">
                  <a:moveTo>
                    <a:pt x="1042" y="1042"/>
                  </a:moveTo>
                  <a:cubicBezTo>
                    <a:pt x="1054" y="1031"/>
                    <a:pt x="1064" y="1019"/>
                    <a:pt x="1074" y="1006"/>
                  </a:cubicBezTo>
                  <a:cubicBezTo>
                    <a:pt x="1083" y="993"/>
                    <a:pt x="1091" y="980"/>
                    <a:pt x="1098" y="966"/>
                  </a:cubicBezTo>
                  <a:cubicBezTo>
                    <a:pt x="1110" y="942"/>
                    <a:pt x="1118" y="920"/>
                    <a:pt x="1125" y="895"/>
                  </a:cubicBezTo>
                  <a:cubicBezTo>
                    <a:pt x="1129" y="880"/>
                    <a:pt x="1131" y="865"/>
                    <a:pt x="1133" y="850"/>
                  </a:cubicBezTo>
                  <a:cubicBezTo>
                    <a:pt x="1135" y="824"/>
                    <a:pt x="1134" y="800"/>
                    <a:pt x="1131" y="774"/>
                  </a:cubicBezTo>
                  <a:cubicBezTo>
                    <a:pt x="1128" y="759"/>
                    <a:pt x="1125" y="745"/>
                    <a:pt x="1121" y="730"/>
                  </a:cubicBezTo>
                  <a:cubicBezTo>
                    <a:pt x="1113" y="705"/>
                    <a:pt x="1104" y="682"/>
                    <a:pt x="1091" y="659"/>
                  </a:cubicBezTo>
                  <a:cubicBezTo>
                    <a:pt x="1074" y="633"/>
                    <a:pt x="1074" y="633"/>
                    <a:pt x="1074" y="633"/>
                  </a:cubicBezTo>
                  <a:cubicBezTo>
                    <a:pt x="1064" y="620"/>
                    <a:pt x="1054" y="609"/>
                    <a:pt x="1043" y="597"/>
                  </a:cubicBezTo>
                  <a:cubicBezTo>
                    <a:pt x="526" y="81"/>
                    <a:pt x="526" y="81"/>
                    <a:pt x="526" y="81"/>
                  </a:cubicBezTo>
                  <a:cubicBezTo>
                    <a:pt x="514" y="71"/>
                    <a:pt x="502" y="61"/>
                    <a:pt x="488" y="52"/>
                  </a:cubicBezTo>
                  <a:cubicBezTo>
                    <a:pt x="475" y="44"/>
                    <a:pt x="462" y="36"/>
                    <a:pt x="448" y="29"/>
                  </a:cubicBezTo>
                  <a:cubicBezTo>
                    <a:pt x="424" y="19"/>
                    <a:pt x="401" y="12"/>
                    <a:pt x="375" y="6"/>
                  </a:cubicBezTo>
                  <a:cubicBezTo>
                    <a:pt x="360" y="3"/>
                    <a:pt x="345" y="2"/>
                    <a:pt x="330" y="1"/>
                  </a:cubicBezTo>
                  <a:cubicBezTo>
                    <a:pt x="304" y="0"/>
                    <a:pt x="280" y="2"/>
                    <a:pt x="255" y="6"/>
                  </a:cubicBezTo>
                  <a:cubicBezTo>
                    <a:pt x="240" y="9"/>
                    <a:pt x="225" y="13"/>
                    <a:pt x="211" y="18"/>
                  </a:cubicBezTo>
                  <a:cubicBezTo>
                    <a:pt x="186" y="27"/>
                    <a:pt x="164" y="38"/>
                    <a:pt x="142" y="52"/>
                  </a:cubicBezTo>
                  <a:cubicBezTo>
                    <a:pt x="128" y="61"/>
                    <a:pt x="116" y="71"/>
                    <a:pt x="104" y="81"/>
                  </a:cubicBezTo>
                  <a:cubicBezTo>
                    <a:pt x="92" y="92"/>
                    <a:pt x="81" y="104"/>
                    <a:pt x="71" y="116"/>
                  </a:cubicBezTo>
                  <a:cubicBezTo>
                    <a:pt x="61" y="129"/>
                    <a:pt x="52" y="141"/>
                    <a:pt x="44" y="155"/>
                  </a:cubicBezTo>
                  <a:cubicBezTo>
                    <a:pt x="36" y="169"/>
                    <a:pt x="29" y="182"/>
                    <a:pt x="23" y="196"/>
                  </a:cubicBezTo>
                  <a:cubicBezTo>
                    <a:pt x="14" y="221"/>
                    <a:pt x="8" y="244"/>
                    <a:pt x="3" y="270"/>
                  </a:cubicBezTo>
                  <a:cubicBezTo>
                    <a:pt x="2" y="285"/>
                    <a:pt x="1" y="300"/>
                    <a:pt x="0" y="315"/>
                  </a:cubicBezTo>
                  <a:cubicBezTo>
                    <a:pt x="1" y="341"/>
                    <a:pt x="4" y="365"/>
                    <a:pt x="9" y="390"/>
                  </a:cubicBezTo>
                  <a:cubicBezTo>
                    <a:pt x="13" y="405"/>
                    <a:pt x="18" y="419"/>
                    <a:pt x="23" y="434"/>
                  </a:cubicBezTo>
                  <a:cubicBezTo>
                    <a:pt x="34" y="458"/>
                    <a:pt x="46" y="479"/>
                    <a:pt x="61" y="501"/>
                  </a:cubicBezTo>
                  <a:cubicBezTo>
                    <a:pt x="71" y="514"/>
                    <a:pt x="81" y="526"/>
                    <a:pt x="92" y="537"/>
                  </a:cubicBezTo>
                  <a:cubicBezTo>
                    <a:pt x="608" y="1053"/>
                    <a:pt x="608" y="1053"/>
                    <a:pt x="608" y="1053"/>
                  </a:cubicBezTo>
                  <a:cubicBezTo>
                    <a:pt x="621" y="1064"/>
                    <a:pt x="633" y="1073"/>
                    <a:pt x="646" y="1083"/>
                  </a:cubicBezTo>
                  <a:cubicBezTo>
                    <a:pt x="659" y="1091"/>
                    <a:pt x="673" y="1098"/>
                    <a:pt x="687" y="1105"/>
                  </a:cubicBezTo>
                  <a:cubicBezTo>
                    <a:pt x="711" y="1116"/>
                    <a:pt x="734" y="1123"/>
                    <a:pt x="759" y="1129"/>
                  </a:cubicBezTo>
                  <a:cubicBezTo>
                    <a:pt x="774" y="1131"/>
                    <a:pt x="789" y="1133"/>
                    <a:pt x="804" y="1134"/>
                  </a:cubicBezTo>
                  <a:cubicBezTo>
                    <a:pt x="830" y="1135"/>
                    <a:pt x="854" y="1133"/>
                    <a:pt x="880" y="1129"/>
                  </a:cubicBezTo>
                  <a:cubicBezTo>
                    <a:pt x="895" y="1125"/>
                    <a:pt x="909" y="1121"/>
                    <a:pt x="924" y="1117"/>
                  </a:cubicBezTo>
                  <a:cubicBezTo>
                    <a:pt x="949" y="1107"/>
                    <a:pt x="970" y="1097"/>
                    <a:pt x="993" y="1083"/>
                  </a:cubicBezTo>
                  <a:cubicBezTo>
                    <a:pt x="1006" y="1073"/>
                    <a:pt x="1018" y="1064"/>
                    <a:pt x="1031" y="1053"/>
                  </a:cubicBezTo>
                  <a:cubicBezTo>
                    <a:pt x="1042" y="1042"/>
                    <a:pt x="1042" y="1042"/>
                    <a:pt x="104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8" name="iṧļíḓê">
              <a:extLst>
                <a:ext uri="{FF2B5EF4-FFF2-40B4-BE49-F238E27FC236}">
                  <a16:creationId xmlns:a16="http://schemas.microsoft.com/office/drawing/2014/main" id="{1BAAEBE2-3FA9-40A5-BE99-443AE1341F24}"/>
                </a:ext>
              </a:extLst>
            </p:cNvPr>
            <p:cNvSpPr/>
            <p:nvPr/>
          </p:nvSpPr>
          <p:spPr bwMode="auto">
            <a:xfrm>
              <a:off x="3807621" y="1354644"/>
              <a:ext cx="2776084" cy="2770024"/>
            </a:xfrm>
            <a:custGeom>
              <a:avLst/>
              <a:gdLst>
                <a:gd name="T0" fmla="*/ 996 w 1102"/>
                <a:gd name="T1" fmla="*/ 996 h 1102"/>
                <a:gd name="T2" fmla="*/ 996 w 1102"/>
                <a:gd name="T3" fmla="*/ 996 h 1102"/>
                <a:gd name="T4" fmla="*/ 996 w 1102"/>
                <a:gd name="T5" fmla="*/ 611 h 1102"/>
                <a:gd name="T6" fmla="*/ 492 w 1102"/>
                <a:gd name="T7" fmla="*/ 106 h 1102"/>
                <a:gd name="T8" fmla="*/ 106 w 1102"/>
                <a:gd name="T9" fmla="*/ 106 h 1102"/>
                <a:gd name="T10" fmla="*/ 106 w 1102"/>
                <a:gd name="T11" fmla="*/ 106 h 1102"/>
                <a:gd name="T12" fmla="*/ 106 w 1102"/>
                <a:gd name="T13" fmla="*/ 492 h 1102"/>
                <a:gd name="T14" fmla="*/ 611 w 1102"/>
                <a:gd name="T15" fmla="*/ 996 h 1102"/>
                <a:gd name="T16" fmla="*/ 996 w 1102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2">
                  <a:moveTo>
                    <a:pt x="996" y="996"/>
                  </a:moveTo>
                  <a:cubicBezTo>
                    <a:pt x="996" y="996"/>
                    <a:pt x="996" y="996"/>
                    <a:pt x="996" y="996"/>
                  </a:cubicBezTo>
                  <a:cubicBezTo>
                    <a:pt x="1102" y="890"/>
                    <a:pt x="1102" y="717"/>
                    <a:pt x="996" y="611"/>
                  </a:cubicBezTo>
                  <a:cubicBezTo>
                    <a:pt x="492" y="106"/>
                    <a:pt x="492" y="106"/>
                    <a:pt x="492" y="106"/>
                  </a:cubicBezTo>
                  <a:cubicBezTo>
                    <a:pt x="386" y="0"/>
                    <a:pt x="212" y="0"/>
                    <a:pt x="106" y="106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0" y="212"/>
                    <a:pt x="0" y="386"/>
                    <a:pt x="106" y="492"/>
                  </a:cubicBezTo>
                  <a:cubicBezTo>
                    <a:pt x="611" y="996"/>
                    <a:pt x="611" y="996"/>
                    <a:pt x="611" y="996"/>
                  </a:cubicBezTo>
                  <a:cubicBezTo>
                    <a:pt x="717" y="1102"/>
                    <a:pt x="890" y="1102"/>
                    <a:pt x="996" y="99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9" name="íşľîḋê">
              <a:extLst>
                <a:ext uri="{FF2B5EF4-FFF2-40B4-BE49-F238E27FC236}">
                  <a16:creationId xmlns:a16="http://schemas.microsoft.com/office/drawing/2014/main" id="{C7789153-84F3-4E3D-A95D-F11AC3383AD0}"/>
                </a:ext>
              </a:extLst>
            </p:cNvPr>
            <p:cNvSpPr/>
            <p:nvPr/>
          </p:nvSpPr>
          <p:spPr bwMode="auto">
            <a:xfrm>
              <a:off x="4623474" y="2169285"/>
              <a:ext cx="2948226" cy="29421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0" name="ïŝlíḋe">
              <a:extLst>
                <a:ext uri="{FF2B5EF4-FFF2-40B4-BE49-F238E27FC236}">
                  <a16:creationId xmlns:a16="http://schemas.microsoft.com/office/drawing/2014/main" id="{0FA28593-7974-44A8-AF2D-A8E0467948D7}"/>
                </a:ext>
              </a:extLst>
            </p:cNvPr>
            <p:cNvSpPr/>
            <p:nvPr/>
          </p:nvSpPr>
          <p:spPr bwMode="auto">
            <a:xfrm>
              <a:off x="4732578" y="2277177"/>
              <a:ext cx="1311670" cy="1310458"/>
            </a:xfrm>
            <a:custGeom>
              <a:avLst/>
              <a:gdLst>
                <a:gd name="T0" fmla="*/ 0 w 521"/>
                <a:gd name="T1" fmla="*/ 521 h 521"/>
                <a:gd name="T2" fmla="*/ 521 w 521"/>
                <a:gd name="T3" fmla="*/ 0 h 521"/>
                <a:gd name="T4" fmla="*/ 521 w 521"/>
                <a:gd name="T5" fmla="*/ 521 h 521"/>
                <a:gd name="T6" fmla="*/ 0 w 521"/>
                <a:gd name="T7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1">
                  <a:moveTo>
                    <a:pt x="0" y="521"/>
                  </a:moveTo>
                  <a:cubicBezTo>
                    <a:pt x="11" y="239"/>
                    <a:pt x="239" y="11"/>
                    <a:pt x="521" y="0"/>
                  </a:cubicBezTo>
                  <a:cubicBezTo>
                    <a:pt x="521" y="521"/>
                    <a:pt x="521" y="521"/>
                    <a:pt x="521" y="521"/>
                  </a:cubicBezTo>
                  <a:cubicBezTo>
                    <a:pt x="0" y="521"/>
                    <a:pt x="0" y="521"/>
                    <a:pt x="0" y="5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3600" b="1" dirty="0">
                  <a:solidFill>
                    <a:schemeClr val="bg1"/>
                  </a:solidFill>
                </a:rPr>
                <a:t>1</a:t>
              </a:r>
              <a:endParaRPr lang="zh-CN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81" name="ïṡḷiḋe">
              <a:extLst>
                <a:ext uri="{FF2B5EF4-FFF2-40B4-BE49-F238E27FC236}">
                  <a16:creationId xmlns:a16="http://schemas.microsoft.com/office/drawing/2014/main" id="{47F8EC5B-78A8-40D5-9415-609E2CE3CD08}"/>
                </a:ext>
              </a:extLst>
            </p:cNvPr>
            <p:cNvSpPr/>
            <p:nvPr/>
          </p:nvSpPr>
          <p:spPr bwMode="auto">
            <a:xfrm>
              <a:off x="4732578" y="3690678"/>
              <a:ext cx="1311670" cy="1311670"/>
            </a:xfrm>
            <a:custGeom>
              <a:avLst/>
              <a:gdLst>
                <a:gd name="T0" fmla="*/ 521 w 521"/>
                <a:gd name="T1" fmla="*/ 522 h 522"/>
                <a:gd name="T2" fmla="*/ 0 w 521"/>
                <a:gd name="T3" fmla="*/ 0 h 522"/>
                <a:gd name="T4" fmla="*/ 521 w 521"/>
                <a:gd name="T5" fmla="*/ 0 h 522"/>
                <a:gd name="T6" fmla="*/ 521 w 521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2">
                  <a:moveTo>
                    <a:pt x="521" y="522"/>
                  </a:moveTo>
                  <a:cubicBezTo>
                    <a:pt x="239" y="511"/>
                    <a:pt x="11" y="283"/>
                    <a:pt x="0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21" y="522"/>
                    <a:pt x="521" y="522"/>
                    <a:pt x="521" y="52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3600" b="1" dirty="0">
                  <a:solidFill>
                    <a:schemeClr val="bg1"/>
                  </a:solidFill>
                </a:rPr>
                <a:t>4</a:t>
              </a:r>
              <a:endParaRPr lang="zh-CN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82" name="î$ḷïḑé">
              <a:extLst>
                <a:ext uri="{FF2B5EF4-FFF2-40B4-BE49-F238E27FC236}">
                  <a16:creationId xmlns:a16="http://schemas.microsoft.com/office/drawing/2014/main" id="{0C7725E5-4B03-4076-906E-BBA3D21F6241}"/>
                </a:ext>
              </a:extLst>
            </p:cNvPr>
            <p:cNvSpPr/>
            <p:nvPr/>
          </p:nvSpPr>
          <p:spPr bwMode="auto">
            <a:xfrm>
              <a:off x="6148504" y="3690678"/>
              <a:ext cx="1314095" cy="1311670"/>
            </a:xfrm>
            <a:custGeom>
              <a:avLst/>
              <a:gdLst>
                <a:gd name="T0" fmla="*/ 522 w 522"/>
                <a:gd name="T1" fmla="*/ 0 h 522"/>
                <a:gd name="T2" fmla="*/ 0 w 522"/>
                <a:gd name="T3" fmla="*/ 522 h 522"/>
                <a:gd name="T4" fmla="*/ 0 w 522"/>
                <a:gd name="T5" fmla="*/ 0 h 522"/>
                <a:gd name="T6" fmla="*/ 522 w 522"/>
                <a:gd name="T7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2">
                  <a:moveTo>
                    <a:pt x="522" y="0"/>
                  </a:moveTo>
                  <a:cubicBezTo>
                    <a:pt x="511" y="283"/>
                    <a:pt x="283" y="511"/>
                    <a:pt x="0" y="5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22" y="0"/>
                    <a:pt x="522" y="0"/>
                    <a:pt x="522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3600" b="1" dirty="0">
                  <a:solidFill>
                    <a:schemeClr val="bg1"/>
                  </a:solidFill>
                </a:rPr>
                <a:t>3</a:t>
              </a:r>
              <a:endParaRPr lang="zh-CN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83" name="ïSľîḍe">
              <a:extLst>
                <a:ext uri="{FF2B5EF4-FFF2-40B4-BE49-F238E27FC236}">
                  <a16:creationId xmlns:a16="http://schemas.microsoft.com/office/drawing/2014/main" id="{1A8484BE-2781-477E-AEB6-C611EA20DD8B}"/>
                </a:ext>
              </a:extLst>
            </p:cNvPr>
            <p:cNvSpPr/>
            <p:nvPr/>
          </p:nvSpPr>
          <p:spPr bwMode="auto">
            <a:xfrm>
              <a:off x="6148504" y="2277177"/>
              <a:ext cx="1314095" cy="1310458"/>
            </a:xfrm>
            <a:custGeom>
              <a:avLst/>
              <a:gdLst>
                <a:gd name="T0" fmla="*/ 0 w 522"/>
                <a:gd name="T1" fmla="*/ 0 h 521"/>
                <a:gd name="T2" fmla="*/ 522 w 522"/>
                <a:gd name="T3" fmla="*/ 521 h 521"/>
                <a:gd name="T4" fmla="*/ 0 w 522"/>
                <a:gd name="T5" fmla="*/ 521 h 521"/>
                <a:gd name="T6" fmla="*/ 0 w 522"/>
                <a:gd name="T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1">
                  <a:moveTo>
                    <a:pt x="0" y="0"/>
                  </a:moveTo>
                  <a:cubicBezTo>
                    <a:pt x="283" y="11"/>
                    <a:pt x="511" y="239"/>
                    <a:pt x="522" y="521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3600" b="1" dirty="0">
                  <a:solidFill>
                    <a:schemeClr val="bg1"/>
                  </a:solidFill>
                </a:rPr>
                <a:t>2</a:t>
              </a:r>
              <a:endParaRPr lang="zh-CN" alt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184" name="íṩḻide">
              <a:extLst>
                <a:ext uri="{FF2B5EF4-FFF2-40B4-BE49-F238E27FC236}">
                  <a16:creationId xmlns:a16="http://schemas.microsoft.com/office/drawing/2014/main" id="{D129739E-C624-40D6-9614-BA3C60932941}"/>
                </a:ext>
              </a:extLst>
            </p:cNvPr>
            <p:cNvSpPr/>
            <p:nvPr/>
          </p:nvSpPr>
          <p:spPr bwMode="auto">
            <a:xfrm>
              <a:off x="5428412" y="2971916"/>
              <a:ext cx="1335926" cy="1334482"/>
            </a:xfrm>
            <a:custGeom>
              <a:avLst/>
              <a:gdLst>
                <a:gd name="T0" fmla="*/ 79 w 445"/>
                <a:gd name="T1" fmla="*/ 79 h 445"/>
                <a:gd name="T2" fmla="*/ 79 w 445"/>
                <a:gd name="T3" fmla="*/ 366 h 445"/>
                <a:gd name="T4" fmla="*/ 366 w 445"/>
                <a:gd name="T5" fmla="*/ 366 h 445"/>
                <a:gd name="T6" fmla="*/ 366 w 445"/>
                <a:gd name="T7" fmla="*/ 79 h 445"/>
                <a:gd name="T8" fmla="*/ 79 w 445"/>
                <a:gd name="T9" fmla="*/ 7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5">
                  <a:moveTo>
                    <a:pt x="79" y="79"/>
                  </a:moveTo>
                  <a:cubicBezTo>
                    <a:pt x="0" y="158"/>
                    <a:pt x="0" y="287"/>
                    <a:pt x="79" y="366"/>
                  </a:cubicBezTo>
                  <a:cubicBezTo>
                    <a:pt x="158" y="445"/>
                    <a:pt x="287" y="445"/>
                    <a:pt x="366" y="366"/>
                  </a:cubicBezTo>
                  <a:cubicBezTo>
                    <a:pt x="445" y="287"/>
                    <a:pt x="445" y="158"/>
                    <a:pt x="366" y="79"/>
                  </a:cubicBezTo>
                  <a:cubicBezTo>
                    <a:pt x="287" y="0"/>
                    <a:pt x="158" y="0"/>
                    <a:pt x="79" y="7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Text</a:t>
              </a:r>
              <a:endParaRPr b="1" dirty="0">
                <a:solidFill>
                  <a:schemeClr val="tx1"/>
                </a:solidFill>
              </a:endParaRPr>
            </a:p>
          </p:txBody>
        </p:sp>
        <p:sp>
          <p:nvSpPr>
            <p:cNvPr id="185" name="îṣḷídê">
              <a:extLst>
                <a:ext uri="{FF2B5EF4-FFF2-40B4-BE49-F238E27FC236}">
                  <a16:creationId xmlns:a16="http://schemas.microsoft.com/office/drawing/2014/main" id="{5C76A5F7-BD79-481E-A2BD-1CAF8153957C}"/>
                </a:ext>
              </a:extLst>
            </p:cNvPr>
            <p:cNvSpPr/>
            <p:nvPr/>
          </p:nvSpPr>
          <p:spPr bwMode="auto">
            <a:xfrm>
              <a:off x="7340120" y="1898652"/>
              <a:ext cx="567414" cy="451829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6" name="ísḷíḑé">
              <a:extLst>
                <a:ext uri="{FF2B5EF4-FFF2-40B4-BE49-F238E27FC236}">
                  <a16:creationId xmlns:a16="http://schemas.microsoft.com/office/drawing/2014/main" id="{B0A65503-F5C9-4C8B-A3D6-F138C618F595}"/>
                </a:ext>
              </a:extLst>
            </p:cNvPr>
            <p:cNvSpPr/>
            <p:nvPr/>
          </p:nvSpPr>
          <p:spPr bwMode="auto">
            <a:xfrm>
              <a:off x="4264608" y="4816707"/>
              <a:ext cx="567412" cy="516750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7" name="ïṧľîḓé">
              <a:extLst>
                <a:ext uri="{FF2B5EF4-FFF2-40B4-BE49-F238E27FC236}">
                  <a16:creationId xmlns:a16="http://schemas.microsoft.com/office/drawing/2014/main" id="{FA973743-5DF3-4CDF-8714-666F80FADEC1}"/>
                </a:ext>
              </a:extLst>
            </p:cNvPr>
            <p:cNvSpPr/>
            <p:nvPr/>
          </p:nvSpPr>
          <p:spPr bwMode="auto">
            <a:xfrm>
              <a:off x="4287035" y="1785177"/>
              <a:ext cx="567412" cy="557279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8" name="iṣľïḓe">
              <a:extLst>
                <a:ext uri="{FF2B5EF4-FFF2-40B4-BE49-F238E27FC236}">
                  <a16:creationId xmlns:a16="http://schemas.microsoft.com/office/drawing/2014/main" id="{8FEE20FD-B819-4B6C-B00B-427C76884011}"/>
                </a:ext>
              </a:extLst>
            </p:cNvPr>
            <p:cNvSpPr/>
            <p:nvPr/>
          </p:nvSpPr>
          <p:spPr bwMode="auto">
            <a:xfrm>
              <a:off x="7345612" y="4821684"/>
              <a:ext cx="517639" cy="567412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cxnSp>
          <p:nvCxnSpPr>
            <p:cNvPr id="189" name="îsľiďê">
              <a:extLst>
                <a:ext uri="{FF2B5EF4-FFF2-40B4-BE49-F238E27FC236}">
                  <a16:creationId xmlns:a16="http://schemas.microsoft.com/office/drawing/2014/main" id="{A73511D0-B7EC-471F-8AEC-31B5904DC245}"/>
                </a:ext>
              </a:extLst>
            </p:cNvPr>
            <p:cNvCxnSpPr/>
            <p:nvPr/>
          </p:nvCxnSpPr>
          <p:spPr>
            <a:xfrm>
              <a:off x="673100" y="3579218"/>
              <a:ext cx="310804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0" name="iṣľîḓé">
              <a:extLst>
                <a:ext uri="{FF2B5EF4-FFF2-40B4-BE49-F238E27FC236}">
                  <a16:creationId xmlns:a16="http://schemas.microsoft.com/office/drawing/2014/main" id="{53DCBBB4-F386-4359-BEA0-46A077101EE8}"/>
                </a:ext>
              </a:extLst>
            </p:cNvPr>
            <p:cNvGrpSpPr/>
            <p:nvPr/>
          </p:nvGrpSpPr>
          <p:grpSpPr>
            <a:xfrm>
              <a:off x="673100" y="1952119"/>
              <a:ext cx="3008671" cy="1356746"/>
              <a:chOff x="669925" y="1789366"/>
              <a:chExt cx="3176113" cy="1356746"/>
            </a:xfrm>
          </p:grpSpPr>
          <p:sp>
            <p:nvSpPr>
              <p:cNvPr id="201" name="ís1ïḍè">
                <a:extLst>
                  <a:ext uri="{FF2B5EF4-FFF2-40B4-BE49-F238E27FC236}">
                    <a16:creationId xmlns:a16="http://schemas.microsoft.com/office/drawing/2014/main" id="{9710F404-62C5-4625-950F-C805F162FDB9}"/>
                  </a:ext>
                </a:extLst>
              </p:cNvPr>
              <p:cNvSpPr/>
              <p:nvPr/>
            </p:nvSpPr>
            <p:spPr bwMode="auto">
              <a:xfrm>
                <a:off x="669927" y="2231170"/>
                <a:ext cx="3176111" cy="914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2" name="ïṥļîďé">
                <a:extLst>
                  <a:ext uri="{FF2B5EF4-FFF2-40B4-BE49-F238E27FC236}">
                    <a16:creationId xmlns:a16="http://schemas.microsoft.com/office/drawing/2014/main" id="{97AFF2E5-1610-449C-A7D5-301DC9A7AD55}"/>
                  </a:ext>
                </a:extLst>
              </p:cNvPr>
              <p:cNvSpPr txBox="1"/>
              <p:nvPr/>
            </p:nvSpPr>
            <p:spPr bwMode="auto">
              <a:xfrm>
                <a:off x="669925" y="1789366"/>
                <a:ext cx="3176113" cy="4418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</p:grpSp>
        <p:cxnSp>
          <p:nvCxnSpPr>
            <p:cNvPr id="191" name="îşḷídè">
              <a:extLst>
                <a:ext uri="{FF2B5EF4-FFF2-40B4-BE49-F238E27FC236}">
                  <a16:creationId xmlns:a16="http://schemas.microsoft.com/office/drawing/2014/main" id="{864FC537-82AF-4D74-833C-6EDB6FC7EE77}"/>
                </a:ext>
              </a:extLst>
            </p:cNvPr>
            <p:cNvCxnSpPr/>
            <p:nvPr/>
          </p:nvCxnSpPr>
          <p:spPr>
            <a:xfrm>
              <a:off x="8412448" y="3579218"/>
              <a:ext cx="310804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2" name="îŝḻîďê">
              <a:extLst>
                <a:ext uri="{FF2B5EF4-FFF2-40B4-BE49-F238E27FC236}">
                  <a16:creationId xmlns:a16="http://schemas.microsoft.com/office/drawing/2014/main" id="{9B48BDF3-9C9B-499A-96CD-CE7F03E8440C}"/>
                </a:ext>
              </a:extLst>
            </p:cNvPr>
            <p:cNvGrpSpPr/>
            <p:nvPr/>
          </p:nvGrpSpPr>
          <p:grpSpPr>
            <a:xfrm>
              <a:off x="8510229" y="1952119"/>
              <a:ext cx="3008671" cy="1356746"/>
              <a:chOff x="7804624" y="1789366"/>
              <a:chExt cx="3176113" cy="1356746"/>
            </a:xfrm>
          </p:grpSpPr>
          <p:sp>
            <p:nvSpPr>
              <p:cNvPr id="199" name="í$1ïḋê">
                <a:extLst>
                  <a:ext uri="{FF2B5EF4-FFF2-40B4-BE49-F238E27FC236}">
                    <a16:creationId xmlns:a16="http://schemas.microsoft.com/office/drawing/2014/main" id="{6DD2D481-3004-419F-B297-A0D37EE1D9E5}"/>
                  </a:ext>
                </a:extLst>
              </p:cNvPr>
              <p:cNvSpPr/>
              <p:nvPr/>
            </p:nvSpPr>
            <p:spPr bwMode="auto">
              <a:xfrm>
                <a:off x="7804626" y="2231170"/>
                <a:ext cx="3176111" cy="914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0" name="ís1ïdé">
                <a:extLst>
                  <a:ext uri="{FF2B5EF4-FFF2-40B4-BE49-F238E27FC236}">
                    <a16:creationId xmlns:a16="http://schemas.microsoft.com/office/drawing/2014/main" id="{85A63E14-9E28-4831-AC9B-8EB4571EE046}"/>
                  </a:ext>
                </a:extLst>
              </p:cNvPr>
              <p:cNvSpPr txBox="1"/>
              <p:nvPr/>
            </p:nvSpPr>
            <p:spPr bwMode="auto">
              <a:xfrm>
                <a:off x="7804624" y="1789366"/>
                <a:ext cx="317611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93" name="í$lïďe">
              <a:extLst>
                <a:ext uri="{FF2B5EF4-FFF2-40B4-BE49-F238E27FC236}">
                  <a16:creationId xmlns:a16="http://schemas.microsoft.com/office/drawing/2014/main" id="{BE1D3965-B187-4488-BE43-2FB8ACB92770}"/>
                </a:ext>
              </a:extLst>
            </p:cNvPr>
            <p:cNvGrpSpPr/>
            <p:nvPr/>
          </p:nvGrpSpPr>
          <p:grpSpPr>
            <a:xfrm>
              <a:off x="673100" y="3849571"/>
              <a:ext cx="3008671" cy="1356746"/>
              <a:chOff x="669925" y="3686818"/>
              <a:chExt cx="3176113" cy="1356746"/>
            </a:xfrm>
          </p:grpSpPr>
          <p:sp>
            <p:nvSpPr>
              <p:cNvPr id="197" name="îşlîḑe">
                <a:extLst>
                  <a:ext uri="{FF2B5EF4-FFF2-40B4-BE49-F238E27FC236}">
                    <a16:creationId xmlns:a16="http://schemas.microsoft.com/office/drawing/2014/main" id="{ADF89D9C-9C7C-4CE6-B782-39D7B6F26B39}"/>
                  </a:ext>
                </a:extLst>
              </p:cNvPr>
              <p:cNvSpPr/>
              <p:nvPr/>
            </p:nvSpPr>
            <p:spPr bwMode="auto">
              <a:xfrm>
                <a:off x="669927" y="4128622"/>
                <a:ext cx="3176111" cy="914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98" name="iṧļïďê">
                <a:extLst>
                  <a:ext uri="{FF2B5EF4-FFF2-40B4-BE49-F238E27FC236}">
                    <a16:creationId xmlns:a16="http://schemas.microsoft.com/office/drawing/2014/main" id="{2CC4AD37-614A-4C4F-BA10-B1FF6F7EB003}"/>
                  </a:ext>
                </a:extLst>
              </p:cNvPr>
              <p:cNvSpPr txBox="1"/>
              <p:nvPr/>
            </p:nvSpPr>
            <p:spPr bwMode="auto">
              <a:xfrm>
                <a:off x="669925" y="3686818"/>
                <a:ext cx="317611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94" name="îṧliḍe">
              <a:extLst>
                <a:ext uri="{FF2B5EF4-FFF2-40B4-BE49-F238E27FC236}">
                  <a16:creationId xmlns:a16="http://schemas.microsoft.com/office/drawing/2014/main" id="{3D436E37-9758-4F29-92AD-3189B5E18D8D}"/>
                </a:ext>
              </a:extLst>
            </p:cNvPr>
            <p:cNvGrpSpPr/>
            <p:nvPr/>
          </p:nvGrpSpPr>
          <p:grpSpPr>
            <a:xfrm>
              <a:off x="8510229" y="3849571"/>
              <a:ext cx="3008671" cy="1356746"/>
              <a:chOff x="7804624" y="3686818"/>
              <a:chExt cx="3176113" cy="1356746"/>
            </a:xfrm>
          </p:grpSpPr>
          <p:sp>
            <p:nvSpPr>
              <p:cNvPr id="195" name="íšlîḋê">
                <a:extLst>
                  <a:ext uri="{FF2B5EF4-FFF2-40B4-BE49-F238E27FC236}">
                    <a16:creationId xmlns:a16="http://schemas.microsoft.com/office/drawing/2014/main" id="{30027967-DD64-4E9D-8E2F-AC95304C93B0}"/>
                  </a:ext>
                </a:extLst>
              </p:cNvPr>
              <p:cNvSpPr/>
              <p:nvPr/>
            </p:nvSpPr>
            <p:spPr bwMode="auto">
              <a:xfrm>
                <a:off x="7804626" y="4128622"/>
                <a:ext cx="3176111" cy="914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96" name="îŝḷidê">
                <a:extLst>
                  <a:ext uri="{FF2B5EF4-FFF2-40B4-BE49-F238E27FC236}">
                    <a16:creationId xmlns:a16="http://schemas.microsoft.com/office/drawing/2014/main" id="{61C2C655-AB33-4A4E-B6C3-D9278E29E05D}"/>
                  </a:ext>
                </a:extLst>
              </p:cNvPr>
              <p:cNvSpPr txBox="1"/>
              <p:nvPr/>
            </p:nvSpPr>
            <p:spPr bwMode="auto">
              <a:xfrm>
                <a:off x="7804624" y="3686818"/>
                <a:ext cx="317611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60601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ḻî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ļiďè">
            <a:extLst>
              <a:ext uri="{FF2B5EF4-FFF2-40B4-BE49-F238E27FC236}">
                <a16:creationId xmlns:a16="http://schemas.microsoft.com/office/drawing/2014/main" id="{1B75FE5E-CF92-48AF-849B-093815431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ṡ1idè">
            <a:extLst>
              <a:ext uri="{FF2B5EF4-FFF2-40B4-BE49-F238E27FC236}">
                <a16:creationId xmlns:a16="http://schemas.microsoft.com/office/drawing/2014/main" id="{CCE68C0E-65C1-4FB9-A3C1-BDE10BAA3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ḷiḓê">
            <a:extLst>
              <a:ext uri="{FF2B5EF4-FFF2-40B4-BE49-F238E27FC236}">
                <a16:creationId xmlns:a16="http://schemas.microsoft.com/office/drawing/2014/main" id="{1C733E0D-C7FD-480F-98B1-C6B4146C4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141" name="ïşļ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5B20D0-514A-454D-997D-F324BC5C3518}"/>
              </a:ext>
            </a:extLst>
          </p:cNvPr>
          <p:cNvGrpSpPr>
            <a:grpSpLocks noChangeAspect="1"/>
          </p:cNvGrpSpPr>
          <p:nvPr/>
        </p:nvGrpSpPr>
        <p:grpSpPr>
          <a:xfrm>
            <a:off x="674936" y="1424445"/>
            <a:ext cx="10845552" cy="3954442"/>
            <a:chOff x="674936" y="1424445"/>
            <a:chExt cx="10845552" cy="3954442"/>
          </a:xfrm>
        </p:grpSpPr>
        <p:sp>
          <p:nvSpPr>
            <p:cNvPr id="142" name="işḷîďè">
              <a:extLst>
                <a:ext uri="{FF2B5EF4-FFF2-40B4-BE49-F238E27FC236}">
                  <a16:creationId xmlns:a16="http://schemas.microsoft.com/office/drawing/2014/main" id="{83E6D51B-CDD6-4FD6-AB1A-EEA73A1967D6}"/>
                </a:ext>
              </a:extLst>
            </p:cNvPr>
            <p:cNvSpPr/>
            <p:nvPr/>
          </p:nvSpPr>
          <p:spPr bwMode="auto">
            <a:xfrm>
              <a:off x="7229339" y="3220045"/>
              <a:ext cx="1936750" cy="1939925"/>
            </a:xfrm>
            <a:custGeom>
              <a:avLst/>
              <a:gdLst>
                <a:gd name="T0" fmla="*/ 1112 w 1112"/>
                <a:gd name="T1" fmla="*/ 332 h 1114"/>
                <a:gd name="T2" fmla="*/ 331 w 1112"/>
                <a:gd name="T3" fmla="*/ 1114 h 1114"/>
                <a:gd name="T4" fmla="*/ 0 w 1112"/>
                <a:gd name="T5" fmla="*/ 782 h 1114"/>
                <a:gd name="T6" fmla="*/ 781 w 1112"/>
                <a:gd name="T7" fmla="*/ 0 h 1114"/>
                <a:gd name="T8" fmla="*/ 1112 w 1112"/>
                <a:gd name="T9" fmla="*/ 332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1112" y="332"/>
                  </a:moveTo>
                  <a:lnTo>
                    <a:pt x="331" y="1114"/>
                  </a:lnTo>
                  <a:lnTo>
                    <a:pt x="0" y="782"/>
                  </a:lnTo>
                  <a:lnTo>
                    <a:pt x="781" y="0"/>
                  </a:lnTo>
                  <a:lnTo>
                    <a:pt x="1112" y="332"/>
                  </a:lnTo>
                  <a:close/>
                </a:path>
              </a:pathLst>
            </a:custGeom>
            <a:solidFill>
              <a:schemeClr val="bg1">
                <a:lumMod val="75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3" name="iSḻíḑé">
              <a:extLst>
                <a:ext uri="{FF2B5EF4-FFF2-40B4-BE49-F238E27FC236}">
                  <a16:creationId xmlns:a16="http://schemas.microsoft.com/office/drawing/2014/main" id="{CC3BDCFA-98AE-48F7-B723-29CE6469E74E}"/>
                </a:ext>
              </a:extLst>
            </p:cNvPr>
            <p:cNvSpPr/>
            <p:nvPr/>
          </p:nvSpPr>
          <p:spPr bwMode="auto">
            <a:xfrm>
              <a:off x="5868851" y="3220045"/>
              <a:ext cx="1936750" cy="1939925"/>
            </a:xfrm>
            <a:custGeom>
              <a:avLst/>
              <a:gdLst>
                <a:gd name="T0" fmla="*/ 332 w 1112"/>
                <a:gd name="T1" fmla="*/ 0 h 1114"/>
                <a:gd name="T2" fmla="*/ 1112 w 1112"/>
                <a:gd name="T3" fmla="*/ 782 h 1114"/>
                <a:gd name="T4" fmla="*/ 781 w 1112"/>
                <a:gd name="T5" fmla="*/ 1114 h 1114"/>
                <a:gd name="T6" fmla="*/ 0 w 1112"/>
                <a:gd name="T7" fmla="*/ 332 h 1114"/>
                <a:gd name="T8" fmla="*/ 332 w 1112"/>
                <a:gd name="T9" fmla="*/ 0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332" y="0"/>
                  </a:moveTo>
                  <a:lnTo>
                    <a:pt x="1112" y="782"/>
                  </a:lnTo>
                  <a:lnTo>
                    <a:pt x="781" y="1114"/>
                  </a:lnTo>
                  <a:lnTo>
                    <a:pt x="0" y="332"/>
                  </a:lnTo>
                  <a:lnTo>
                    <a:pt x="33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4" name="îs1ïḍê">
              <a:extLst>
                <a:ext uri="{FF2B5EF4-FFF2-40B4-BE49-F238E27FC236}">
                  <a16:creationId xmlns:a16="http://schemas.microsoft.com/office/drawing/2014/main" id="{726558C2-F727-4154-93E9-61F3B0697A32}"/>
                </a:ext>
              </a:extLst>
            </p:cNvPr>
            <p:cNvSpPr/>
            <p:nvPr/>
          </p:nvSpPr>
          <p:spPr bwMode="auto">
            <a:xfrm>
              <a:off x="7229339" y="1857970"/>
              <a:ext cx="1936750" cy="1939925"/>
            </a:xfrm>
            <a:custGeom>
              <a:avLst/>
              <a:gdLst>
                <a:gd name="T0" fmla="*/ 331 w 1112"/>
                <a:gd name="T1" fmla="*/ 0 h 1114"/>
                <a:gd name="T2" fmla="*/ 1112 w 1112"/>
                <a:gd name="T3" fmla="*/ 782 h 1114"/>
                <a:gd name="T4" fmla="*/ 781 w 1112"/>
                <a:gd name="T5" fmla="*/ 1114 h 1114"/>
                <a:gd name="T6" fmla="*/ 0 w 1112"/>
                <a:gd name="T7" fmla="*/ 332 h 1114"/>
                <a:gd name="T8" fmla="*/ 331 w 1112"/>
                <a:gd name="T9" fmla="*/ 0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331" y="0"/>
                  </a:moveTo>
                  <a:lnTo>
                    <a:pt x="1112" y="782"/>
                  </a:lnTo>
                  <a:lnTo>
                    <a:pt x="781" y="1114"/>
                  </a:lnTo>
                  <a:lnTo>
                    <a:pt x="0" y="332"/>
                  </a:lnTo>
                  <a:lnTo>
                    <a:pt x="33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5" name="îṩḷíḓê">
              <a:extLst>
                <a:ext uri="{FF2B5EF4-FFF2-40B4-BE49-F238E27FC236}">
                  <a16:creationId xmlns:a16="http://schemas.microsoft.com/office/drawing/2014/main" id="{A0CF436B-BAC3-4A2F-B63A-870B50243FD0}"/>
                </a:ext>
              </a:extLst>
            </p:cNvPr>
            <p:cNvSpPr/>
            <p:nvPr/>
          </p:nvSpPr>
          <p:spPr bwMode="auto">
            <a:xfrm>
              <a:off x="5868851" y="1857970"/>
              <a:ext cx="1936750" cy="1939925"/>
            </a:xfrm>
            <a:custGeom>
              <a:avLst/>
              <a:gdLst>
                <a:gd name="T0" fmla="*/ 1112 w 1112"/>
                <a:gd name="T1" fmla="*/ 332 h 1114"/>
                <a:gd name="T2" fmla="*/ 332 w 1112"/>
                <a:gd name="T3" fmla="*/ 1114 h 1114"/>
                <a:gd name="T4" fmla="*/ 0 w 1112"/>
                <a:gd name="T5" fmla="*/ 782 h 1114"/>
                <a:gd name="T6" fmla="*/ 781 w 1112"/>
                <a:gd name="T7" fmla="*/ 0 h 1114"/>
                <a:gd name="T8" fmla="*/ 1112 w 1112"/>
                <a:gd name="T9" fmla="*/ 332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1112" y="332"/>
                  </a:moveTo>
                  <a:lnTo>
                    <a:pt x="332" y="1114"/>
                  </a:lnTo>
                  <a:lnTo>
                    <a:pt x="0" y="782"/>
                  </a:lnTo>
                  <a:lnTo>
                    <a:pt x="781" y="0"/>
                  </a:lnTo>
                  <a:lnTo>
                    <a:pt x="1112" y="332"/>
                  </a:lnTo>
                  <a:close/>
                </a:path>
              </a:pathLst>
            </a:custGeom>
            <a:solidFill>
              <a:schemeClr val="bg1">
                <a:lumMod val="75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6" name="isḻïḓe">
              <a:extLst>
                <a:ext uri="{FF2B5EF4-FFF2-40B4-BE49-F238E27FC236}">
                  <a16:creationId xmlns:a16="http://schemas.microsoft.com/office/drawing/2014/main" id="{A092A7FC-314D-4939-8450-14B663191089}"/>
                </a:ext>
              </a:extLst>
            </p:cNvPr>
            <p:cNvSpPr/>
            <p:nvPr/>
          </p:nvSpPr>
          <p:spPr bwMode="auto">
            <a:xfrm>
              <a:off x="4508364" y="3220045"/>
              <a:ext cx="1938337" cy="1939925"/>
            </a:xfrm>
            <a:custGeom>
              <a:avLst/>
              <a:gdLst>
                <a:gd name="T0" fmla="*/ 1113 w 1113"/>
                <a:gd name="T1" fmla="*/ 332 h 1114"/>
                <a:gd name="T2" fmla="*/ 332 w 1113"/>
                <a:gd name="T3" fmla="*/ 1114 h 1114"/>
                <a:gd name="T4" fmla="*/ 0 w 1113"/>
                <a:gd name="T5" fmla="*/ 782 h 1114"/>
                <a:gd name="T6" fmla="*/ 781 w 1113"/>
                <a:gd name="T7" fmla="*/ 0 h 1114"/>
                <a:gd name="T8" fmla="*/ 1113 w 1113"/>
                <a:gd name="T9" fmla="*/ 332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3" h="1114">
                  <a:moveTo>
                    <a:pt x="1113" y="332"/>
                  </a:moveTo>
                  <a:lnTo>
                    <a:pt x="332" y="1114"/>
                  </a:lnTo>
                  <a:lnTo>
                    <a:pt x="0" y="782"/>
                  </a:lnTo>
                  <a:lnTo>
                    <a:pt x="781" y="0"/>
                  </a:lnTo>
                  <a:lnTo>
                    <a:pt x="1113" y="332"/>
                  </a:lnTo>
                  <a:close/>
                </a:path>
              </a:pathLst>
            </a:custGeom>
            <a:solidFill>
              <a:schemeClr val="bg1">
                <a:lumMod val="75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7" name="í$ļîďê">
              <a:extLst>
                <a:ext uri="{FF2B5EF4-FFF2-40B4-BE49-F238E27FC236}">
                  <a16:creationId xmlns:a16="http://schemas.microsoft.com/office/drawing/2014/main" id="{A33FDFAA-F1A7-4C95-A4C8-00A857FD58DC}"/>
                </a:ext>
              </a:extLst>
            </p:cNvPr>
            <p:cNvSpPr/>
            <p:nvPr/>
          </p:nvSpPr>
          <p:spPr bwMode="auto">
            <a:xfrm>
              <a:off x="3149464" y="3220045"/>
              <a:ext cx="1936750" cy="1939925"/>
            </a:xfrm>
            <a:custGeom>
              <a:avLst/>
              <a:gdLst>
                <a:gd name="T0" fmla="*/ 331 w 1112"/>
                <a:gd name="T1" fmla="*/ 0 h 1114"/>
                <a:gd name="T2" fmla="*/ 1112 w 1112"/>
                <a:gd name="T3" fmla="*/ 782 h 1114"/>
                <a:gd name="T4" fmla="*/ 780 w 1112"/>
                <a:gd name="T5" fmla="*/ 1114 h 1114"/>
                <a:gd name="T6" fmla="*/ 0 w 1112"/>
                <a:gd name="T7" fmla="*/ 332 h 1114"/>
                <a:gd name="T8" fmla="*/ 331 w 1112"/>
                <a:gd name="T9" fmla="*/ 0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331" y="0"/>
                  </a:moveTo>
                  <a:lnTo>
                    <a:pt x="1112" y="782"/>
                  </a:lnTo>
                  <a:lnTo>
                    <a:pt x="780" y="1114"/>
                  </a:lnTo>
                  <a:lnTo>
                    <a:pt x="0" y="332"/>
                  </a:lnTo>
                  <a:lnTo>
                    <a:pt x="331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8" name="ïṣļïďe">
              <a:extLst>
                <a:ext uri="{FF2B5EF4-FFF2-40B4-BE49-F238E27FC236}">
                  <a16:creationId xmlns:a16="http://schemas.microsoft.com/office/drawing/2014/main" id="{EA9CDE65-1AB6-4D19-9CF6-90654E92CB98}"/>
                </a:ext>
              </a:extLst>
            </p:cNvPr>
            <p:cNvSpPr/>
            <p:nvPr/>
          </p:nvSpPr>
          <p:spPr bwMode="auto">
            <a:xfrm>
              <a:off x="4508364" y="1857970"/>
              <a:ext cx="1938337" cy="1939925"/>
            </a:xfrm>
            <a:custGeom>
              <a:avLst/>
              <a:gdLst>
                <a:gd name="T0" fmla="*/ 332 w 1113"/>
                <a:gd name="T1" fmla="*/ 0 h 1114"/>
                <a:gd name="T2" fmla="*/ 1113 w 1113"/>
                <a:gd name="T3" fmla="*/ 782 h 1114"/>
                <a:gd name="T4" fmla="*/ 781 w 1113"/>
                <a:gd name="T5" fmla="*/ 1114 h 1114"/>
                <a:gd name="T6" fmla="*/ 0 w 1113"/>
                <a:gd name="T7" fmla="*/ 332 h 1114"/>
                <a:gd name="T8" fmla="*/ 332 w 1113"/>
                <a:gd name="T9" fmla="*/ 0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3" h="1114">
                  <a:moveTo>
                    <a:pt x="332" y="0"/>
                  </a:moveTo>
                  <a:lnTo>
                    <a:pt x="1113" y="782"/>
                  </a:lnTo>
                  <a:lnTo>
                    <a:pt x="781" y="1114"/>
                  </a:lnTo>
                  <a:lnTo>
                    <a:pt x="0" y="332"/>
                  </a:lnTo>
                  <a:lnTo>
                    <a:pt x="332" y="0"/>
                  </a:lnTo>
                  <a:close/>
                </a:path>
              </a:pathLst>
            </a:custGeom>
            <a:solidFill>
              <a:schemeClr val="bg1">
                <a:lumMod val="50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49" name="îsļiḍé">
              <a:extLst>
                <a:ext uri="{FF2B5EF4-FFF2-40B4-BE49-F238E27FC236}">
                  <a16:creationId xmlns:a16="http://schemas.microsoft.com/office/drawing/2014/main" id="{11B7A339-9F09-43C2-B2EE-A80CC07C7887}"/>
                </a:ext>
              </a:extLst>
            </p:cNvPr>
            <p:cNvSpPr/>
            <p:nvPr/>
          </p:nvSpPr>
          <p:spPr bwMode="auto">
            <a:xfrm>
              <a:off x="3149464" y="1857970"/>
              <a:ext cx="1936750" cy="1939925"/>
            </a:xfrm>
            <a:custGeom>
              <a:avLst/>
              <a:gdLst>
                <a:gd name="T0" fmla="*/ 1112 w 1112"/>
                <a:gd name="T1" fmla="*/ 332 h 1114"/>
                <a:gd name="T2" fmla="*/ 331 w 1112"/>
                <a:gd name="T3" fmla="*/ 1114 h 1114"/>
                <a:gd name="T4" fmla="*/ 0 w 1112"/>
                <a:gd name="T5" fmla="*/ 782 h 1114"/>
                <a:gd name="T6" fmla="*/ 780 w 1112"/>
                <a:gd name="T7" fmla="*/ 0 h 1114"/>
                <a:gd name="T8" fmla="*/ 1112 w 1112"/>
                <a:gd name="T9" fmla="*/ 332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2" h="1114">
                  <a:moveTo>
                    <a:pt x="1112" y="332"/>
                  </a:moveTo>
                  <a:lnTo>
                    <a:pt x="331" y="1114"/>
                  </a:lnTo>
                  <a:lnTo>
                    <a:pt x="0" y="782"/>
                  </a:lnTo>
                  <a:lnTo>
                    <a:pt x="780" y="0"/>
                  </a:lnTo>
                  <a:lnTo>
                    <a:pt x="1112" y="332"/>
                  </a:lnTo>
                  <a:close/>
                </a:path>
              </a:pathLst>
            </a:custGeom>
            <a:solidFill>
              <a:schemeClr val="bg1">
                <a:lumMod val="75000"/>
                <a:alpha val="1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0" name="ïSļïḓé">
              <a:extLst>
                <a:ext uri="{FF2B5EF4-FFF2-40B4-BE49-F238E27FC236}">
                  <a16:creationId xmlns:a16="http://schemas.microsoft.com/office/drawing/2014/main" id="{F48E6DC9-12AB-428D-B3A4-2C305B423EEA}"/>
                </a:ext>
              </a:extLst>
            </p:cNvPr>
            <p:cNvSpPr/>
            <p:nvPr/>
          </p:nvSpPr>
          <p:spPr bwMode="auto">
            <a:xfrm>
              <a:off x="2992301" y="3062883"/>
              <a:ext cx="890588" cy="895350"/>
            </a:xfrm>
            <a:custGeom>
              <a:avLst/>
              <a:gdLst>
                <a:gd name="T0" fmla="*/ 178 w 216"/>
                <a:gd name="T1" fmla="*/ 38 h 217"/>
                <a:gd name="T2" fmla="*/ 178 w 216"/>
                <a:gd name="T3" fmla="*/ 178 h 217"/>
                <a:gd name="T4" fmla="*/ 38 w 216"/>
                <a:gd name="T5" fmla="*/ 178 h 217"/>
                <a:gd name="T6" fmla="*/ 38 w 216"/>
                <a:gd name="T7" fmla="*/ 38 h 217"/>
                <a:gd name="T8" fmla="*/ 178 w 216"/>
                <a:gd name="T9" fmla="*/ 3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17">
                  <a:moveTo>
                    <a:pt x="178" y="38"/>
                  </a:moveTo>
                  <a:cubicBezTo>
                    <a:pt x="216" y="77"/>
                    <a:pt x="216" y="139"/>
                    <a:pt x="178" y="178"/>
                  </a:cubicBezTo>
                  <a:cubicBezTo>
                    <a:pt x="139" y="217"/>
                    <a:pt x="77" y="217"/>
                    <a:pt x="38" y="178"/>
                  </a:cubicBezTo>
                  <a:cubicBezTo>
                    <a:pt x="0" y="139"/>
                    <a:pt x="0" y="77"/>
                    <a:pt x="38" y="38"/>
                  </a:cubicBezTo>
                  <a:cubicBezTo>
                    <a:pt x="77" y="0"/>
                    <a:pt x="139" y="0"/>
                    <a:pt x="178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1" name="iṧ1ïḓé">
              <a:extLst>
                <a:ext uri="{FF2B5EF4-FFF2-40B4-BE49-F238E27FC236}">
                  <a16:creationId xmlns:a16="http://schemas.microsoft.com/office/drawing/2014/main" id="{2DE17D61-32A2-4A8B-9238-2D1FC086398E}"/>
                </a:ext>
              </a:extLst>
            </p:cNvPr>
            <p:cNvSpPr/>
            <p:nvPr/>
          </p:nvSpPr>
          <p:spPr bwMode="auto">
            <a:xfrm>
              <a:off x="4348026" y="1700808"/>
              <a:ext cx="895350" cy="895350"/>
            </a:xfrm>
            <a:custGeom>
              <a:avLst/>
              <a:gdLst>
                <a:gd name="T0" fmla="*/ 179 w 217"/>
                <a:gd name="T1" fmla="*/ 178 h 217"/>
                <a:gd name="T2" fmla="*/ 39 w 217"/>
                <a:gd name="T3" fmla="*/ 178 h 217"/>
                <a:gd name="T4" fmla="*/ 39 w 217"/>
                <a:gd name="T5" fmla="*/ 38 h 217"/>
                <a:gd name="T6" fmla="*/ 179 w 217"/>
                <a:gd name="T7" fmla="*/ 38 h 217"/>
                <a:gd name="T8" fmla="*/ 179 w 217"/>
                <a:gd name="T9" fmla="*/ 17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179" y="178"/>
                  </a:moveTo>
                  <a:cubicBezTo>
                    <a:pt x="140" y="217"/>
                    <a:pt x="78" y="217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ubicBezTo>
                    <a:pt x="217" y="77"/>
                    <a:pt x="217" y="139"/>
                    <a:pt x="179" y="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2" name="íślïďè">
              <a:extLst>
                <a:ext uri="{FF2B5EF4-FFF2-40B4-BE49-F238E27FC236}">
                  <a16:creationId xmlns:a16="http://schemas.microsoft.com/office/drawing/2014/main" id="{464A7ECB-E8D1-4459-BEC3-564EA8289767}"/>
                </a:ext>
              </a:extLst>
            </p:cNvPr>
            <p:cNvSpPr/>
            <p:nvPr/>
          </p:nvSpPr>
          <p:spPr bwMode="auto">
            <a:xfrm>
              <a:off x="4348026" y="4424958"/>
              <a:ext cx="895350" cy="892175"/>
            </a:xfrm>
            <a:custGeom>
              <a:avLst/>
              <a:gdLst>
                <a:gd name="T0" fmla="*/ 2147483646 w 217"/>
                <a:gd name="T1" fmla="*/ 648041224 h 216"/>
                <a:gd name="T2" fmla="*/ 2147483646 w 217"/>
                <a:gd name="T3" fmla="*/ 2147483646 h 216"/>
                <a:gd name="T4" fmla="*/ 663904088 w 217"/>
                <a:gd name="T5" fmla="*/ 2147483646 h 216"/>
                <a:gd name="T6" fmla="*/ 663904088 w 217"/>
                <a:gd name="T7" fmla="*/ 648041224 h 216"/>
                <a:gd name="T8" fmla="*/ 2147483646 w 217"/>
                <a:gd name="T9" fmla="*/ 648041224 h 2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7" h="216">
                  <a:moveTo>
                    <a:pt x="179" y="38"/>
                  </a:moveTo>
                  <a:cubicBezTo>
                    <a:pt x="217" y="77"/>
                    <a:pt x="217" y="139"/>
                    <a:pt x="179" y="178"/>
                  </a:cubicBezTo>
                  <a:cubicBezTo>
                    <a:pt x="140" y="216"/>
                    <a:pt x="78" y="216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3" name="iSlidê">
              <a:extLst>
                <a:ext uri="{FF2B5EF4-FFF2-40B4-BE49-F238E27FC236}">
                  <a16:creationId xmlns:a16="http://schemas.microsoft.com/office/drawing/2014/main" id="{00B7E904-FA20-4F75-9BEA-48F243439101}"/>
                </a:ext>
              </a:extLst>
            </p:cNvPr>
            <p:cNvSpPr/>
            <p:nvPr/>
          </p:nvSpPr>
          <p:spPr bwMode="auto">
            <a:xfrm>
              <a:off x="5708514" y="3062883"/>
              <a:ext cx="895350" cy="895350"/>
            </a:xfrm>
            <a:custGeom>
              <a:avLst/>
              <a:gdLst>
                <a:gd name="T0" fmla="*/ 179 w 217"/>
                <a:gd name="T1" fmla="*/ 178 h 217"/>
                <a:gd name="T2" fmla="*/ 39 w 217"/>
                <a:gd name="T3" fmla="*/ 178 h 217"/>
                <a:gd name="T4" fmla="*/ 39 w 217"/>
                <a:gd name="T5" fmla="*/ 38 h 217"/>
                <a:gd name="T6" fmla="*/ 179 w 217"/>
                <a:gd name="T7" fmla="*/ 38 h 217"/>
                <a:gd name="T8" fmla="*/ 179 w 217"/>
                <a:gd name="T9" fmla="*/ 17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179" y="178"/>
                  </a:moveTo>
                  <a:cubicBezTo>
                    <a:pt x="140" y="217"/>
                    <a:pt x="78" y="217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ubicBezTo>
                    <a:pt x="217" y="77"/>
                    <a:pt x="217" y="139"/>
                    <a:pt x="179" y="1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4" name="íšļîďé">
              <a:extLst>
                <a:ext uri="{FF2B5EF4-FFF2-40B4-BE49-F238E27FC236}">
                  <a16:creationId xmlns:a16="http://schemas.microsoft.com/office/drawing/2014/main" id="{4FD865A0-CCBB-4A44-9F2F-CA9FC907C552}"/>
                </a:ext>
              </a:extLst>
            </p:cNvPr>
            <p:cNvSpPr/>
            <p:nvPr/>
          </p:nvSpPr>
          <p:spPr bwMode="auto">
            <a:xfrm>
              <a:off x="7069001" y="1700808"/>
              <a:ext cx="893763" cy="895350"/>
            </a:xfrm>
            <a:custGeom>
              <a:avLst/>
              <a:gdLst>
                <a:gd name="T0" fmla="*/ 179 w 217"/>
                <a:gd name="T1" fmla="*/ 178 h 217"/>
                <a:gd name="T2" fmla="*/ 39 w 217"/>
                <a:gd name="T3" fmla="*/ 178 h 217"/>
                <a:gd name="T4" fmla="*/ 39 w 217"/>
                <a:gd name="T5" fmla="*/ 38 h 217"/>
                <a:gd name="T6" fmla="*/ 179 w 217"/>
                <a:gd name="T7" fmla="*/ 38 h 217"/>
                <a:gd name="T8" fmla="*/ 179 w 217"/>
                <a:gd name="T9" fmla="*/ 17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179" y="178"/>
                  </a:moveTo>
                  <a:cubicBezTo>
                    <a:pt x="140" y="217"/>
                    <a:pt x="78" y="217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ubicBezTo>
                    <a:pt x="217" y="77"/>
                    <a:pt x="217" y="139"/>
                    <a:pt x="179" y="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5" name="íšḷíďé">
              <a:extLst>
                <a:ext uri="{FF2B5EF4-FFF2-40B4-BE49-F238E27FC236}">
                  <a16:creationId xmlns:a16="http://schemas.microsoft.com/office/drawing/2014/main" id="{BD4DE939-053C-45F5-B1AA-4848907A7A2F}"/>
                </a:ext>
              </a:extLst>
            </p:cNvPr>
            <p:cNvSpPr/>
            <p:nvPr/>
          </p:nvSpPr>
          <p:spPr bwMode="auto">
            <a:xfrm>
              <a:off x="7069001" y="4424958"/>
              <a:ext cx="893763" cy="892175"/>
            </a:xfrm>
            <a:custGeom>
              <a:avLst/>
              <a:gdLst>
                <a:gd name="T0" fmla="*/ 2147483646 w 217"/>
                <a:gd name="T1" fmla="*/ 648041224 h 216"/>
                <a:gd name="T2" fmla="*/ 2147483646 w 217"/>
                <a:gd name="T3" fmla="*/ 2147483646 h 216"/>
                <a:gd name="T4" fmla="*/ 661442282 w 217"/>
                <a:gd name="T5" fmla="*/ 2147483646 h 216"/>
                <a:gd name="T6" fmla="*/ 661442282 w 217"/>
                <a:gd name="T7" fmla="*/ 648041224 h 216"/>
                <a:gd name="T8" fmla="*/ 2147483646 w 217"/>
                <a:gd name="T9" fmla="*/ 648041224 h 2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7" h="216">
                  <a:moveTo>
                    <a:pt x="179" y="38"/>
                  </a:moveTo>
                  <a:cubicBezTo>
                    <a:pt x="217" y="77"/>
                    <a:pt x="217" y="139"/>
                    <a:pt x="179" y="178"/>
                  </a:cubicBezTo>
                  <a:cubicBezTo>
                    <a:pt x="140" y="216"/>
                    <a:pt x="78" y="216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" name="íṥľïḍe">
              <a:extLst>
                <a:ext uri="{FF2B5EF4-FFF2-40B4-BE49-F238E27FC236}">
                  <a16:creationId xmlns:a16="http://schemas.microsoft.com/office/drawing/2014/main" id="{47E7DF04-A835-4501-B3AE-BC4F07827F9E}"/>
                </a:ext>
              </a:extLst>
            </p:cNvPr>
            <p:cNvSpPr/>
            <p:nvPr/>
          </p:nvSpPr>
          <p:spPr bwMode="auto">
            <a:xfrm>
              <a:off x="8429489" y="3062883"/>
              <a:ext cx="893762" cy="895350"/>
            </a:xfrm>
            <a:custGeom>
              <a:avLst/>
              <a:gdLst>
                <a:gd name="T0" fmla="*/ 179 w 217"/>
                <a:gd name="T1" fmla="*/ 178 h 217"/>
                <a:gd name="T2" fmla="*/ 39 w 217"/>
                <a:gd name="T3" fmla="*/ 178 h 217"/>
                <a:gd name="T4" fmla="*/ 39 w 217"/>
                <a:gd name="T5" fmla="*/ 38 h 217"/>
                <a:gd name="T6" fmla="*/ 179 w 217"/>
                <a:gd name="T7" fmla="*/ 38 h 217"/>
                <a:gd name="T8" fmla="*/ 179 w 217"/>
                <a:gd name="T9" fmla="*/ 17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7">
                  <a:moveTo>
                    <a:pt x="179" y="178"/>
                  </a:moveTo>
                  <a:cubicBezTo>
                    <a:pt x="140" y="217"/>
                    <a:pt x="78" y="217"/>
                    <a:pt x="39" y="178"/>
                  </a:cubicBezTo>
                  <a:cubicBezTo>
                    <a:pt x="0" y="139"/>
                    <a:pt x="0" y="77"/>
                    <a:pt x="39" y="38"/>
                  </a:cubicBezTo>
                  <a:cubicBezTo>
                    <a:pt x="78" y="0"/>
                    <a:pt x="140" y="0"/>
                    <a:pt x="179" y="38"/>
                  </a:cubicBezTo>
                  <a:cubicBezTo>
                    <a:pt x="217" y="77"/>
                    <a:pt x="217" y="139"/>
                    <a:pt x="179" y="1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7" name="ïşḻïḍé">
              <a:extLst>
                <a:ext uri="{FF2B5EF4-FFF2-40B4-BE49-F238E27FC236}">
                  <a16:creationId xmlns:a16="http://schemas.microsoft.com/office/drawing/2014/main" id="{6F62EBBC-360F-4C29-9D79-D8D545973BF2}"/>
                </a:ext>
              </a:extLst>
            </p:cNvPr>
            <p:cNvSpPr/>
            <p:nvPr/>
          </p:nvSpPr>
          <p:spPr bwMode="auto">
            <a:xfrm>
              <a:off x="7297836" y="4639438"/>
              <a:ext cx="436090" cy="478022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8" name="ïŝlidè">
              <a:extLst>
                <a:ext uri="{FF2B5EF4-FFF2-40B4-BE49-F238E27FC236}">
                  <a16:creationId xmlns:a16="http://schemas.microsoft.com/office/drawing/2014/main" id="{D4B08C6E-C1AE-4949-9BD9-10640E6DF208}"/>
                </a:ext>
              </a:extLst>
            </p:cNvPr>
            <p:cNvSpPr/>
            <p:nvPr/>
          </p:nvSpPr>
          <p:spPr bwMode="auto">
            <a:xfrm>
              <a:off x="8650395" y="3251639"/>
              <a:ext cx="451948" cy="478022"/>
            </a:xfrm>
            <a:custGeom>
              <a:avLst/>
              <a:gdLst>
                <a:gd name="connsiteX0" fmla="*/ 371475 w 495300"/>
                <a:gd name="connsiteY0" fmla="*/ 0 h 523875"/>
                <a:gd name="connsiteX1" fmla="*/ 400050 w 495300"/>
                <a:gd name="connsiteY1" fmla="*/ 28575 h 523875"/>
                <a:gd name="connsiteX2" fmla="*/ 400050 w 495300"/>
                <a:gd name="connsiteY2" fmla="*/ 133350 h 523875"/>
                <a:gd name="connsiteX3" fmla="*/ 371475 w 495300"/>
                <a:gd name="connsiteY3" fmla="*/ 161925 h 523875"/>
                <a:gd name="connsiteX4" fmla="*/ 257175 w 495300"/>
                <a:gd name="connsiteY4" fmla="*/ 161925 h 523875"/>
                <a:gd name="connsiteX5" fmla="*/ 257175 w 495300"/>
                <a:gd name="connsiteY5" fmla="*/ 285750 h 523875"/>
                <a:gd name="connsiteX6" fmla="*/ 419100 w 495300"/>
                <a:gd name="connsiteY6" fmla="*/ 285750 h 523875"/>
                <a:gd name="connsiteX7" fmla="*/ 457200 w 495300"/>
                <a:gd name="connsiteY7" fmla="*/ 321945 h 523875"/>
                <a:gd name="connsiteX8" fmla="*/ 457200 w 495300"/>
                <a:gd name="connsiteY8" fmla="*/ 323850 h 523875"/>
                <a:gd name="connsiteX9" fmla="*/ 457200 w 495300"/>
                <a:gd name="connsiteY9" fmla="*/ 428625 h 523875"/>
                <a:gd name="connsiteX10" fmla="*/ 476250 w 495300"/>
                <a:gd name="connsiteY10" fmla="*/ 428625 h 523875"/>
                <a:gd name="connsiteX11" fmla="*/ 495300 w 495300"/>
                <a:gd name="connsiteY11" fmla="*/ 447675 h 523875"/>
                <a:gd name="connsiteX12" fmla="*/ 495300 w 495300"/>
                <a:gd name="connsiteY12" fmla="*/ 504825 h 523875"/>
                <a:gd name="connsiteX13" fmla="*/ 476250 w 495300"/>
                <a:gd name="connsiteY13" fmla="*/ 523875 h 523875"/>
                <a:gd name="connsiteX14" fmla="*/ 419100 w 495300"/>
                <a:gd name="connsiteY14" fmla="*/ 523875 h 523875"/>
                <a:gd name="connsiteX15" fmla="*/ 400050 w 495300"/>
                <a:gd name="connsiteY15" fmla="*/ 504825 h 523875"/>
                <a:gd name="connsiteX16" fmla="*/ 400050 w 495300"/>
                <a:gd name="connsiteY16" fmla="*/ 447675 h 523875"/>
                <a:gd name="connsiteX17" fmla="*/ 419100 w 495300"/>
                <a:gd name="connsiteY17" fmla="*/ 428625 h 523875"/>
                <a:gd name="connsiteX18" fmla="*/ 438150 w 495300"/>
                <a:gd name="connsiteY18" fmla="*/ 428625 h 523875"/>
                <a:gd name="connsiteX19" fmla="*/ 438150 w 495300"/>
                <a:gd name="connsiteY19" fmla="*/ 323850 h 523875"/>
                <a:gd name="connsiteX20" fmla="*/ 420529 w 495300"/>
                <a:gd name="connsiteY20" fmla="*/ 304895 h 523875"/>
                <a:gd name="connsiteX21" fmla="*/ 419100 w 495300"/>
                <a:gd name="connsiteY21" fmla="*/ 304800 h 523875"/>
                <a:gd name="connsiteX22" fmla="*/ 257175 w 495300"/>
                <a:gd name="connsiteY22" fmla="*/ 304800 h 523875"/>
                <a:gd name="connsiteX23" fmla="*/ 257175 w 495300"/>
                <a:gd name="connsiteY23" fmla="*/ 428625 h 523875"/>
                <a:gd name="connsiteX24" fmla="*/ 276225 w 495300"/>
                <a:gd name="connsiteY24" fmla="*/ 428625 h 523875"/>
                <a:gd name="connsiteX25" fmla="*/ 295275 w 495300"/>
                <a:gd name="connsiteY25" fmla="*/ 447675 h 523875"/>
                <a:gd name="connsiteX26" fmla="*/ 295275 w 495300"/>
                <a:gd name="connsiteY26" fmla="*/ 504825 h 523875"/>
                <a:gd name="connsiteX27" fmla="*/ 276225 w 495300"/>
                <a:gd name="connsiteY27" fmla="*/ 523875 h 523875"/>
                <a:gd name="connsiteX28" fmla="*/ 219075 w 495300"/>
                <a:gd name="connsiteY28" fmla="*/ 523875 h 523875"/>
                <a:gd name="connsiteX29" fmla="*/ 200025 w 495300"/>
                <a:gd name="connsiteY29" fmla="*/ 504825 h 523875"/>
                <a:gd name="connsiteX30" fmla="*/ 200025 w 495300"/>
                <a:gd name="connsiteY30" fmla="*/ 447675 h 523875"/>
                <a:gd name="connsiteX31" fmla="*/ 219075 w 495300"/>
                <a:gd name="connsiteY31" fmla="*/ 428625 h 523875"/>
                <a:gd name="connsiteX32" fmla="*/ 238125 w 495300"/>
                <a:gd name="connsiteY32" fmla="*/ 428625 h 523875"/>
                <a:gd name="connsiteX33" fmla="*/ 238125 w 495300"/>
                <a:gd name="connsiteY33" fmla="*/ 304800 h 523875"/>
                <a:gd name="connsiteX34" fmla="*/ 76200 w 495300"/>
                <a:gd name="connsiteY34" fmla="*/ 304800 h 523875"/>
                <a:gd name="connsiteX35" fmla="*/ 57245 w 495300"/>
                <a:gd name="connsiteY35" fmla="*/ 322421 h 523875"/>
                <a:gd name="connsiteX36" fmla="*/ 57150 w 495300"/>
                <a:gd name="connsiteY36" fmla="*/ 323850 h 523875"/>
                <a:gd name="connsiteX37" fmla="*/ 57150 w 495300"/>
                <a:gd name="connsiteY37" fmla="*/ 428625 h 523875"/>
                <a:gd name="connsiteX38" fmla="*/ 76200 w 495300"/>
                <a:gd name="connsiteY38" fmla="*/ 428625 h 523875"/>
                <a:gd name="connsiteX39" fmla="*/ 95250 w 495300"/>
                <a:gd name="connsiteY39" fmla="*/ 447675 h 523875"/>
                <a:gd name="connsiteX40" fmla="*/ 95250 w 495300"/>
                <a:gd name="connsiteY40" fmla="*/ 504825 h 523875"/>
                <a:gd name="connsiteX41" fmla="*/ 76200 w 495300"/>
                <a:gd name="connsiteY41" fmla="*/ 523875 h 523875"/>
                <a:gd name="connsiteX42" fmla="*/ 19050 w 495300"/>
                <a:gd name="connsiteY42" fmla="*/ 523875 h 523875"/>
                <a:gd name="connsiteX43" fmla="*/ 0 w 495300"/>
                <a:gd name="connsiteY43" fmla="*/ 504825 h 523875"/>
                <a:gd name="connsiteX44" fmla="*/ 0 w 495300"/>
                <a:gd name="connsiteY44" fmla="*/ 447675 h 523875"/>
                <a:gd name="connsiteX45" fmla="*/ 19050 w 495300"/>
                <a:gd name="connsiteY45" fmla="*/ 428625 h 523875"/>
                <a:gd name="connsiteX46" fmla="*/ 38100 w 495300"/>
                <a:gd name="connsiteY46" fmla="*/ 428625 h 523875"/>
                <a:gd name="connsiteX47" fmla="*/ 38100 w 495300"/>
                <a:gd name="connsiteY47" fmla="*/ 323850 h 523875"/>
                <a:gd name="connsiteX48" fmla="*/ 74295 w 495300"/>
                <a:gd name="connsiteY48" fmla="*/ 285750 h 523875"/>
                <a:gd name="connsiteX49" fmla="*/ 76200 w 495300"/>
                <a:gd name="connsiteY49" fmla="*/ 285750 h 523875"/>
                <a:gd name="connsiteX50" fmla="*/ 238125 w 495300"/>
                <a:gd name="connsiteY50" fmla="*/ 285750 h 523875"/>
                <a:gd name="connsiteX51" fmla="*/ 238125 w 495300"/>
                <a:gd name="connsiteY51" fmla="*/ 161925 h 523875"/>
                <a:gd name="connsiteX52" fmla="*/ 123825 w 495300"/>
                <a:gd name="connsiteY52" fmla="*/ 161925 h 523875"/>
                <a:gd name="connsiteX53" fmla="*/ 95250 w 495300"/>
                <a:gd name="connsiteY53" fmla="*/ 133350 h 523875"/>
                <a:gd name="connsiteX54" fmla="*/ 95250 w 495300"/>
                <a:gd name="connsiteY54" fmla="*/ 28575 h 523875"/>
                <a:gd name="connsiteX55" fmla="*/ 123825 w 495300"/>
                <a:gd name="connsiteY55" fmla="*/ 0 h 523875"/>
                <a:gd name="connsiteX56" fmla="*/ 371475 w 495300"/>
                <a:gd name="connsiteY56" fmla="*/ 0 h 523875"/>
                <a:gd name="connsiteX57" fmla="*/ 147638 w 495300"/>
                <a:gd name="connsiteY57" fmla="*/ 95250 h 523875"/>
                <a:gd name="connsiteX58" fmla="*/ 133350 w 495300"/>
                <a:gd name="connsiteY58" fmla="*/ 109538 h 523875"/>
                <a:gd name="connsiteX59" fmla="*/ 147638 w 495300"/>
                <a:gd name="connsiteY59" fmla="*/ 123825 h 523875"/>
                <a:gd name="connsiteX60" fmla="*/ 161925 w 495300"/>
                <a:gd name="connsiteY60" fmla="*/ 109538 h 523875"/>
                <a:gd name="connsiteX61" fmla="*/ 147638 w 495300"/>
                <a:gd name="connsiteY61" fmla="*/ 9525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95300" h="523875">
                  <a:moveTo>
                    <a:pt x="371475" y="0"/>
                  </a:moveTo>
                  <a:cubicBezTo>
                    <a:pt x="387287" y="0"/>
                    <a:pt x="400050" y="12763"/>
                    <a:pt x="400050" y="28575"/>
                  </a:cubicBezTo>
                  <a:lnTo>
                    <a:pt x="400050" y="133350"/>
                  </a:lnTo>
                  <a:cubicBezTo>
                    <a:pt x="400050" y="149162"/>
                    <a:pt x="387287" y="161925"/>
                    <a:pt x="371475" y="161925"/>
                  </a:cubicBezTo>
                  <a:lnTo>
                    <a:pt x="257175" y="161925"/>
                  </a:lnTo>
                  <a:lnTo>
                    <a:pt x="257175" y="285750"/>
                  </a:lnTo>
                  <a:lnTo>
                    <a:pt x="419100" y="285750"/>
                  </a:lnTo>
                  <a:cubicBezTo>
                    <a:pt x="439484" y="285750"/>
                    <a:pt x="456152" y="301752"/>
                    <a:pt x="457200" y="321945"/>
                  </a:cubicBezTo>
                  <a:lnTo>
                    <a:pt x="457200" y="323850"/>
                  </a:lnTo>
                  <a:lnTo>
                    <a:pt x="457200" y="428625"/>
                  </a:lnTo>
                  <a:lnTo>
                    <a:pt x="476250" y="428625"/>
                  </a:lnTo>
                  <a:cubicBezTo>
                    <a:pt x="486728" y="428625"/>
                    <a:pt x="495300" y="437198"/>
                    <a:pt x="495300" y="447675"/>
                  </a:cubicBezTo>
                  <a:lnTo>
                    <a:pt x="495300" y="504825"/>
                  </a:lnTo>
                  <a:cubicBezTo>
                    <a:pt x="495300" y="515303"/>
                    <a:pt x="486728" y="523875"/>
                    <a:pt x="476250" y="523875"/>
                  </a:cubicBezTo>
                  <a:lnTo>
                    <a:pt x="419100" y="523875"/>
                  </a:lnTo>
                  <a:cubicBezTo>
                    <a:pt x="408622" y="523875"/>
                    <a:pt x="400050" y="515303"/>
                    <a:pt x="400050" y="504825"/>
                  </a:cubicBezTo>
                  <a:lnTo>
                    <a:pt x="400050" y="447675"/>
                  </a:lnTo>
                  <a:cubicBezTo>
                    <a:pt x="400050" y="437198"/>
                    <a:pt x="408622" y="428625"/>
                    <a:pt x="419100" y="428625"/>
                  </a:cubicBezTo>
                  <a:lnTo>
                    <a:pt x="438150" y="428625"/>
                  </a:lnTo>
                  <a:lnTo>
                    <a:pt x="438150" y="323850"/>
                  </a:lnTo>
                  <a:cubicBezTo>
                    <a:pt x="438150" y="313849"/>
                    <a:pt x="430339" y="305562"/>
                    <a:pt x="420529" y="304895"/>
                  </a:cubicBezTo>
                  <a:lnTo>
                    <a:pt x="419100" y="304800"/>
                  </a:lnTo>
                  <a:lnTo>
                    <a:pt x="257175" y="304800"/>
                  </a:lnTo>
                  <a:lnTo>
                    <a:pt x="257175" y="428625"/>
                  </a:lnTo>
                  <a:lnTo>
                    <a:pt x="276225" y="428625"/>
                  </a:lnTo>
                  <a:cubicBezTo>
                    <a:pt x="286703" y="428625"/>
                    <a:pt x="295275" y="437198"/>
                    <a:pt x="295275" y="447675"/>
                  </a:cubicBezTo>
                  <a:lnTo>
                    <a:pt x="295275" y="504825"/>
                  </a:lnTo>
                  <a:cubicBezTo>
                    <a:pt x="295275" y="515303"/>
                    <a:pt x="286703" y="523875"/>
                    <a:pt x="276225" y="523875"/>
                  </a:cubicBezTo>
                  <a:lnTo>
                    <a:pt x="219075" y="523875"/>
                  </a:lnTo>
                  <a:cubicBezTo>
                    <a:pt x="208597" y="523875"/>
                    <a:pt x="200025" y="515303"/>
                    <a:pt x="200025" y="504825"/>
                  </a:cubicBezTo>
                  <a:lnTo>
                    <a:pt x="200025" y="447675"/>
                  </a:lnTo>
                  <a:cubicBezTo>
                    <a:pt x="200025" y="437198"/>
                    <a:pt x="208597" y="428625"/>
                    <a:pt x="219075" y="428625"/>
                  </a:cubicBezTo>
                  <a:lnTo>
                    <a:pt x="238125" y="428625"/>
                  </a:lnTo>
                  <a:lnTo>
                    <a:pt x="238125" y="304800"/>
                  </a:lnTo>
                  <a:lnTo>
                    <a:pt x="76200" y="304800"/>
                  </a:lnTo>
                  <a:cubicBezTo>
                    <a:pt x="66199" y="304800"/>
                    <a:pt x="57912" y="312611"/>
                    <a:pt x="57245" y="322421"/>
                  </a:cubicBezTo>
                  <a:lnTo>
                    <a:pt x="57150" y="323850"/>
                  </a:lnTo>
                  <a:lnTo>
                    <a:pt x="57150" y="428625"/>
                  </a:lnTo>
                  <a:lnTo>
                    <a:pt x="76200" y="428625"/>
                  </a:lnTo>
                  <a:cubicBezTo>
                    <a:pt x="86678" y="428625"/>
                    <a:pt x="95250" y="437198"/>
                    <a:pt x="95250" y="447675"/>
                  </a:cubicBezTo>
                  <a:lnTo>
                    <a:pt x="95250" y="504825"/>
                  </a:lnTo>
                  <a:cubicBezTo>
                    <a:pt x="95250" y="515303"/>
                    <a:pt x="86678" y="523875"/>
                    <a:pt x="76200" y="523875"/>
                  </a:cubicBezTo>
                  <a:lnTo>
                    <a:pt x="19050" y="523875"/>
                  </a:lnTo>
                  <a:cubicBezTo>
                    <a:pt x="8573" y="523875"/>
                    <a:pt x="0" y="515303"/>
                    <a:pt x="0" y="504825"/>
                  </a:cubicBezTo>
                  <a:lnTo>
                    <a:pt x="0" y="447675"/>
                  </a:lnTo>
                  <a:cubicBezTo>
                    <a:pt x="0" y="437198"/>
                    <a:pt x="8573" y="428625"/>
                    <a:pt x="19050" y="428625"/>
                  </a:cubicBezTo>
                  <a:lnTo>
                    <a:pt x="38100" y="428625"/>
                  </a:lnTo>
                  <a:lnTo>
                    <a:pt x="38100" y="323850"/>
                  </a:lnTo>
                  <a:cubicBezTo>
                    <a:pt x="38100" y="303467"/>
                    <a:pt x="54102" y="286798"/>
                    <a:pt x="74295" y="285750"/>
                  </a:cubicBezTo>
                  <a:lnTo>
                    <a:pt x="76200" y="285750"/>
                  </a:lnTo>
                  <a:lnTo>
                    <a:pt x="238125" y="285750"/>
                  </a:lnTo>
                  <a:lnTo>
                    <a:pt x="238125" y="161925"/>
                  </a:lnTo>
                  <a:lnTo>
                    <a:pt x="123825" y="161925"/>
                  </a:lnTo>
                  <a:cubicBezTo>
                    <a:pt x="108013" y="161925"/>
                    <a:pt x="95250" y="149162"/>
                    <a:pt x="95250" y="133350"/>
                  </a:cubicBezTo>
                  <a:lnTo>
                    <a:pt x="95250" y="28575"/>
                  </a:lnTo>
                  <a:cubicBezTo>
                    <a:pt x="95250" y="12763"/>
                    <a:pt x="108013" y="0"/>
                    <a:pt x="123825" y="0"/>
                  </a:cubicBezTo>
                  <a:lnTo>
                    <a:pt x="371475" y="0"/>
                  </a:lnTo>
                  <a:close/>
                  <a:moveTo>
                    <a:pt x="147638" y="95250"/>
                  </a:moveTo>
                  <a:cubicBezTo>
                    <a:pt x="139732" y="95250"/>
                    <a:pt x="133350" y="101632"/>
                    <a:pt x="133350" y="109538"/>
                  </a:cubicBezTo>
                  <a:cubicBezTo>
                    <a:pt x="133350" y="117443"/>
                    <a:pt x="139732" y="123825"/>
                    <a:pt x="147638" y="123825"/>
                  </a:cubicBezTo>
                  <a:cubicBezTo>
                    <a:pt x="155543" y="123825"/>
                    <a:pt x="161925" y="117443"/>
                    <a:pt x="161925" y="109538"/>
                  </a:cubicBezTo>
                  <a:cubicBezTo>
                    <a:pt x="161925" y="101632"/>
                    <a:pt x="155543" y="95250"/>
                    <a:pt x="147638" y="9525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" name="íšḻïḍê">
              <a:extLst>
                <a:ext uri="{FF2B5EF4-FFF2-40B4-BE49-F238E27FC236}">
                  <a16:creationId xmlns:a16="http://schemas.microsoft.com/office/drawing/2014/main" id="{31E8BC2F-BEDF-4B42-9607-5EE911E5915A}"/>
                </a:ext>
              </a:extLst>
            </p:cNvPr>
            <p:cNvSpPr/>
            <p:nvPr/>
          </p:nvSpPr>
          <p:spPr bwMode="auto">
            <a:xfrm>
              <a:off x="3241264" y="3251639"/>
              <a:ext cx="392661" cy="478022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0" name="iṣḻíḍê">
              <a:extLst>
                <a:ext uri="{FF2B5EF4-FFF2-40B4-BE49-F238E27FC236}">
                  <a16:creationId xmlns:a16="http://schemas.microsoft.com/office/drawing/2014/main" id="{73479873-327F-4955-9FC2-9F886C22F218}"/>
                </a:ext>
              </a:extLst>
            </p:cNvPr>
            <p:cNvSpPr/>
            <p:nvPr/>
          </p:nvSpPr>
          <p:spPr bwMode="auto">
            <a:xfrm>
              <a:off x="4556689" y="1943300"/>
              <a:ext cx="478022" cy="380647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1" name="ïsľîḋè">
              <a:extLst>
                <a:ext uri="{FF2B5EF4-FFF2-40B4-BE49-F238E27FC236}">
                  <a16:creationId xmlns:a16="http://schemas.microsoft.com/office/drawing/2014/main" id="{C0F5FB6D-CA69-4DB2-A345-27A5D4AC3D9A}"/>
                </a:ext>
              </a:extLst>
            </p:cNvPr>
            <p:cNvSpPr/>
            <p:nvPr/>
          </p:nvSpPr>
          <p:spPr bwMode="auto">
            <a:xfrm>
              <a:off x="7293620" y="1894613"/>
              <a:ext cx="444522" cy="478022"/>
            </a:xfrm>
            <a:custGeom>
              <a:avLst/>
              <a:gdLst>
                <a:gd name="connsiteX0" fmla="*/ 8038 w 487162"/>
                <a:gd name="connsiteY0" fmla="*/ 513398 h 523875"/>
                <a:gd name="connsiteX1" fmla="*/ 7467 w 487162"/>
                <a:gd name="connsiteY1" fmla="*/ 512731 h 523875"/>
                <a:gd name="connsiteX2" fmla="*/ 7467 w 487162"/>
                <a:gd name="connsiteY2" fmla="*/ 512731 h 523875"/>
                <a:gd name="connsiteX3" fmla="*/ 6991 w 487162"/>
                <a:gd name="connsiteY3" fmla="*/ 512064 h 523875"/>
                <a:gd name="connsiteX4" fmla="*/ 4990 w 487162"/>
                <a:gd name="connsiteY4" fmla="*/ 509016 h 523875"/>
                <a:gd name="connsiteX5" fmla="*/ 4990 w 487162"/>
                <a:gd name="connsiteY5" fmla="*/ 509016 h 523875"/>
                <a:gd name="connsiteX6" fmla="*/ 4514 w 487162"/>
                <a:gd name="connsiteY6" fmla="*/ 508254 h 523875"/>
                <a:gd name="connsiteX7" fmla="*/ 3752 w 487162"/>
                <a:gd name="connsiteY7" fmla="*/ 506730 h 523875"/>
                <a:gd name="connsiteX8" fmla="*/ 3085 w 487162"/>
                <a:gd name="connsiteY8" fmla="*/ 505111 h 523875"/>
                <a:gd name="connsiteX9" fmla="*/ 2990 w 487162"/>
                <a:gd name="connsiteY9" fmla="*/ 504920 h 523875"/>
                <a:gd name="connsiteX10" fmla="*/ 2895 w 487162"/>
                <a:gd name="connsiteY10" fmla="*/ 504635 h 523875"/>
                <a:gd name="connsiteX11" fmla="*/ 2895 w 487162"/>
                <a:gd name="connsiteY11" fmla="*/ 504444 h 523875"/>
                <a:gd name="connsiteX12" fmla="*/ 2228 w 487162"/>
                <a:gd name="connsiteY12" fmla="*/ 502444 h 523875"/>
                <a:gd name="connsiteX13" fmla="*/ 1847 w 487162"/>
                <a:gd name="connsiteY13" fmla="*/ 501110 h 523875"/>
                <a:gd name="connsiteX14" fmla="*/ 1371 w 487162"/>
                <a:gd name="connsiteY14" fmla="*/ 499205 h 523875"/>
                <a:gd name="connsiteX15" fmla="*/ 514 w 487162"/>
                <a:gd name="connsiteY15" fmla="*/ 494919 h 523875"/>
                <a:gd name="connsiteX16" fmla="*/ 228 w 487162"/>
                <a:gd name="connsiteY16" fmla="*/ 492443 h 523875"/>
                <a:gd name="connsiteX17" fmla="*/ 37 w 487162"/>
                <a:gd name="connsiteY17" fmla="*/ 485870 h 523875"/>
                <a:gd name="connsiteX18" fmla="*/ 4609 w 487162"/>
                <a:gd name="connsiteY18" fmla="*/ 467582 h 523875"/>
                <a:gd name="connsiteX19" fmla="*/ 154247 w 487162"/>
                <a:gd name="connsiteY19" fmla="*/ 150876 h 523875"/>
                <a:gd name="connsiteX20" fmla="*/ 157867 w 487162"/>
                <a:gd name="connsiteY20" fmla="*/ 134588 h 523875"/>
                <a:gd name="connsiteX21" fmla="*/ 157867 w 487162"/>
                <a:gd name="connsiteY21" fmla="*/ 19050 h 523875"/>
                <a:gd name="connsiteX22" fmla="*/ 119767 w 487162"/>
                <a:gd name="connsiteY22" fmla="*/ 19050 h 523875"/>
                <a:gd name="connsiteX23" fmla="*/ 119767 w 487162"/>
                <a:gd name="connsiteY23" fmla="*/ 0 h 523875"/>
                <a:gd name="connsiteX24" fmla="*/ 367417 w 487162"/>
                <a:gd name="connsiteY24" fmla="*/ 0 h 523875"/>
                <a:gd name="connsiteX25" fmla="*/ 367417 w 487162"/>
                <a:gd name="connsiteY25" fmla="*/ 19050 h 523875"/>
                <a:gd name="connsiteX26" fmla="*/ 329317 w 487162"/>
                <a:gd name="connsiteY26" fmla="*/ 19050 h 523875"/>
                <a:gd name="connsiteX27" fmla="*/ 329317 w 487162"/>
                <a:gd name="connsiteY27" fmla="*/ 134684 h 523875"/>
                <a:gd name="connsiteX28" fmla="*/ 332936 w 487162"/>
                <a:gd name="connsiteY28" fmla="*/ 150971 h 523875"/>
                <a:gd name="connsiteX29" fmla="*/ 482574 w 487162"/>
                <a:gd name="connsiteY29" fmla="*/ 467678 h 523875"/>
                <a:gd name="connsiteX30" fmla="*/ 484098 w 487162"/>
                <a:gd name="connsiteY30" fmla="*/ 504920 h 523875"/>
                <a:gd name="connsiteX31" fmla="*/ 484003 w 487162"/>
                <a:gd name="connsiteY31" fmla="*/ 505111 h 523875"/>
                <a:gd name="connsiteX32" fmla="*/ 483431 w 487162"/>
                <a:gd name="connsiteY32" fmla="*/ 506540 h 523875"/>
                <a:gd name="connsiteX33" fmla="*/ 458571 w 487162"/>
                <a:gd name="connsiteY33" fmla="*/ 523780 h 523875"/>
                <a:gd name="connsiteX34" fmla="*/ 456666 w 487162"/>
                <a:gd name="connsiteY34" fmla="*/ 523875 h 523875"/>
                <a:gd name="connsiteX35" fmla="*/ 30422 w 487162"/>
                <a:gd name="connsiteY35" fmla="*/ 523875 h 523875"/>
                <a:gd name="connsiteX36" fmla="*/ 28612 w 487162"/>
                <a:gd name="connsiteY36" fmla="*/ 523780 h 523875"/>
                <a:gd name="connsiteX37" fmla="*/ 26136 w 487162"/>
                <a:gd name="connsiteY37" fmla="*/ 523494 h 523875"/>
                <a:gd name="connsiteX38" fmla="*/ 22326 w 487162"/>
                <a:gd name="connsiteY38" fmla="*/ 522637 h 523875"/>
                <a:gd name="connsiteX39" fmla="*/ 22326 w 487162"/>
                <a:gd name="connsiteY39" fmla="*/ 522637 h 523875"/>
                <a:gd name="connsiteX40" fmla="*/ 16801 w 487162"/>
                <a:gd name="connsiteY40" fmla="*/ 520351 h 523875"/>
                <a:gd name="connsiteX41" fmla="*/ 15373 w 487162"/>
                <a:gd name="connsiteY41" fmla="*/ 519589 h 523875"/>
                <a:gd name="connsiteX42" fmla="*/ 14420 w 487162"/>
                <a:gd name="connsiteY42" fmla="*/ 519017 h 523875"/>
                <a:gd name="connsiteX43" fmla="*/ 9467 w 487162"/>
                <a:gd name="connsiteY43" fmla="*/ 514922 h 523875"/>
                <a:gd name="connsiteX44" fmla="*/ 8038 w 487162"/>
                <a:gd name="connsiteY44" fmla="*/ 513398 h 523875"/>
                <a:gd name="connsiteX45" fmla="*/ 8038 w 487162"/>
                <a:gd name="connsiteY45" fmla="*/ 513398 h 523875"/>
                <a:gd name="connsiteX46" fmla="*/ 254641 w 487162"/>
                <a:gd name="connsiteY46" fmla="*/ 404146 h 523875"/>
                <a:gd name="connsiteX47" fmla="*/ 251783 w 487162"/>
                <a:gd name="connsiteY47" fmla="*/ 405956 h 523875"/>
                <a:gd name="connsiteX48" fmla="*/ 246259 w 487162"/>
                <a:gd name="connsiteY48" fmla="*/ 409670 h 523875"/>
                <a:gd name="connsiteX49" fmla="*/ 54425 w 487162"/>
                <a:gd name="connsiteY49" fmla="*/ 416243 h 523875"/>
                <a:gd name="connsiteX50" fmla="*/ 50615 w 487162"/>
                <a:gd name="connsiteY50" fmla="*/ 414719 h 523875"/>
                <a:gd name="connsiteX51" fmla="*/ 21754 w 487162"/>
                <a:gd name="connsiteY51" fmla="*/ 475774 h 523875"/>
                <a:gd name="connsiteX52" fmla="*/ 20897 w 487162"/>
                <a:gd name="connsiteY52" fmla="*/ 477679 h 523875"/>
                <a:gd name="connsiteX53" fmla="*/ 20802 w 487162"/>
                <a:gd name="connsiteY53" fmla="*/ 498158 h 523875"/>
                <a:gd name="connsiteX54" fmla="*/ 27945 w 487162"/>
                <a:gd name="connsiteY54" fmla="*/ 504444 h 523875"/>
                <a:gd name="connsiteX55" fmla="*/ 29184 w 487162"/>
                <a:gd name="connsiteY55" fmla="*/ 504635 h 523875"/>
                <a:gd name="connsiteX56" fmla="*/ 30327 w 487162"/>
                <a:gd name="connsiteY56" fmla="*/ 504730 h 523875"/>
                <a:gd name="connsiteX57" fmla="*/ 456570 w 487162"/>
                <a:gd name="connsiteY57" fmla="*/ 504730 h 523875"/>
                <a:gd name="connsiteX58" fmla="*/ 457714 w 487162"/>
                <a:gd name="connsiteY58" fmla="*/ 504635 h 523875"/>
                <a:gd name="connsiteX59" fmla="*/ 466095 w 487162"/>
                <a:gd name="connsiteY59" fmla="*/ 498062 h 523875"/>
                <a:gd name="connsiteX60" fmla="*/ 466667 w 487162"/>
                <a:gd name="connsiteY60" fmla="*/ 479584 h 523875"/>
                <a:gd name="connsiteX61" fmla="*/ 466000 w 487162"/>
                <a:gd name="connsiteY61" fmla="*/ 477584 h 523875"/>
                <a:gd name="connsiteX62" fmla="*/ 465143 w 487162"/>
                <a:gd name="connsiteY62" fmla="*/ 475679 h 523875"/>
                <a:gd name="connsiteX63" fmla="*/ 423519 w 487162"/>
                <a:gd name="connsiteY63" fmla="*/ 387477 h 523875"/>
                <a:gd name="connsiteX64" fmla="*/ 254641 w 487162"/>
                <a:gd name="connsiteY64" fmla="*/ 404146 h 523875"/>
                <a:gd name="connsiteX65" fmla="*/ 305504 w 487162"/>
                <a:gd name="connsiteY65" fmla="*/ 257175 h 523875"/>
                <a:gd name="connsiteX66" fmla="*/ 272167 w 487162"/>
                <a:gd name="connsiteY66" fmla="*/ 290513 h 523875"/>
                <a:gd name="connsiteX67" fmla="*/ 305504 w 487162"/>
                <a:gd name="connsiteY67" fmla="*/ 323850 h 523875"/>
                <a:gd name="connsiteX68" fmla="*/ 338842 w 487162"/>
                <a:gd name="connsiteY68" fmla="*/ 290513 h 523875"/>
                <a:gd name="connsiteX69" fmla="*/ 305504 w 487162"/>
                <a:gd name="connsiteY69" fmla="*/ 257175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038" y="513398"/>
                  </a:moveTo>
                  <a:lnTo>
                    <a:pt x="7467" y="512731"/>
                  </a:lnTo>
                  <a:lnTo>
                    <a:pt x="7467" y="512731"/>
                  </a:lnTo>
                  <a:lnTo>
                    <a:pt x="6991" y="512064"/>
                  </a:lnTo>
                  <a:cubicBezTo>
                    <a:pt x="6228" y="511112"/>
                    <a:pt x="5657" y="510064"/>
                    <a:pt x="4990" y="509016"/>
                  </a:cubicBezTo>
                  <a:lnTo>
                    <a:pt x="4990" y="509016"/>
                  </a:lnTo>
                  <a:lnTo>
                    <a:pt x="4514" y="508254"/>
                  </a:lnTo>
                  <a:lnTo>
                    <a:pt x="3752" y="506730"/>
                  </a:lnTo>
                  <a:lnTo>
                    <a:pt x="3085" y="505111"/>
                  </a:lnTo>
                  <a:lnTo>
                    <a:pt x="2990" y="504920"/>
                  </a:lnTo>
                  <a:lnTo>
                    <a:pt x="2895" y="504635"/>
                  </a:lnTo>
                  <a:lnTo>
                    <a:pt x="2895" y="504444"/>
                  </a:lnTo>
                  <a:lnTo>
                    <a:pt x="2228" y="502444"/>
                  </a:lnTo>
                  <a:cubicBezTo>
                    <a:pt x="2133" y="501968"/>
                    <a:pt x="1942" y="501587"/>
                    <a:pt x="1847" y="501110"/>
                  </a:cubicBezTo>
                  <a:cubicBezTo>
                    <a:pt x="1657" y="500444"/>
                    <a:pt x="1466" y="499872"/>
                    <a:pt x="1371" y="499205"/>
                  </a:cubicBezTo>
                  <a:cubicBezTo>
                    <a:pt x="990" y="497776"/>
                    <a:pt x="799" y="496348"/>
                    <a:pt x="514" y="494919"/>
                  </a:cubicBezTo>
                  <a:lnTo>
                    <a:pt x="228" y="492443"/>
                  </a:lnTo>
                  <a:cubicBezTo>
                    <a:pt x="37" y="490252"/>
                    <a:pt x="-58" y="488061"/>
                    <a:pt x="37" y="485870"/>
                  </a:cubicBezTo>
                  <a:cubicBezTo>
                    <a:pt x="323" y="479584"/>
                    <a:pt x="1847" y="473393"/>
                    <a:pt x="4609" y="467582"/>
                  </a:cubicBezTo>
                  <a:lnTo>
                    <a:pt x="154247" y="150876"/>
                  </a:lnTo>
                  <a:cubicBezTo>
                    <a:pt x="156628" y="145828"/>
                    <a:pt x="157867" y="140208"/>
                    <a:pt x="157867" y="134588"/>
                  </a:cubicBezTo>
                  <a:lnTo>
                    <a:pt x="157867" y="19050"/>
                  </a:lnTo>
                  <a:lnTo>
                    <a:pt x="119767" y="19050"/>
                  </a:lnTo>
                  <a:lnTo>
                    <a:pt x="119767" y="0"/>
                  </a:lnTo>
                  <a:lnTo>
                    <a:pt x="367417" y="0"/>
                  </a:lnTo>
                  <a:lnTo>
                    <a:pt x="367417" y="19050"/>
                  </a:lnTo>
                  <a:lnTo>
                    <a:pt x="329317" y="19050"/>
                  </a:lnTo>
                  <a:lnTo>
                    <a:pt x="329317" y="134684"/>
                  </a:lnTo>
                  <a:cubicBezTo>
                    <a:pt x="329317" y="140303"/>
                    <a:pt x="330555" y="145828"/>
                    <a:pt x="332936" y="150971"/>
                  </a:cubicBezTo>
                  <a:lnTo>
                    <a:pt x="482574" y="467678"/>
                  </a:lnTo>
                  <a:cubicBezTo>
                    <a:pt x="488098" y="479393"/>
                    <a:pt x="488670" y="492824"/>
                    <a:pt x="484098" y="504920"/>
                  </a:cubicBezTo>
                  <a:lnTo>
                    <a:pt x="484003" y="505111"/>
                  </a:lnTo>
                  <a:lnTo>
                    <a:pt x="483431" y="506540"/>
                  </a:lnTo>
                  <a:cubicBezTo>
                    <a:pt x="478954" y="516446"/>
                    <a:pt x="469429" y="523113"/>
                    <a:pt x="458571" y="523780"/>
                  </a:cubicBezTo>
                  <a:lnTo>
                    <a:pt x="456666" y="523875"/>
                  </a:lnTo>
                  <a:lnTo>
                    <a:pt x="30422" y="523875"/>
                  </a:lnTo>
                  <a:lnTo>
                    <a:pt x="28612" y="523780"/>
                  </a:lnTo>
                  <a:cubicBezTo>
                    <a:pt x="27755" y="523685"/>
                    <a:pt x="26993" y="523685"/>
                    <a:pt x="26136" y="523494"/>
                  </a:cubicBezTo>
                  <a:cubicBezTo>
                    <a:pt x="24802" y="523304"/>
                    <a:pt x="23564" y="523018"/>
                    <a:pt x="22326" y="522637"/>
                  </a:cubicBezTo>
                  <a:lnTo>
                    <a:pt x="22326" y="522637"/>
                  </a:lnTo>
                  <a:cubicBezTo>
                    <a:pt x="20421" y="522065"/>
                    <a:pt x="18516" y="521303"/>
                    <a:pt x="16801" y="520351"/>
                  </a:cubicBezTo>
                  <a:lnTo>
                    <a:pt x="15373" y="519589"/>
                  </a:lnTo>
                  <a:cubicBezTo>
                    <a:pt x="15087" y="519398"/>
                    <a:pt x="14801" y="519208"/>
                    <a:pt x="14420" y="519017"/>
                  </a:cubicBezTo>
                  <a:cubicBezTo>
                    <a:pt x="12610" y="517874"/>
                    <a:pt x="10896" y="516446"/>
                    <a:pt x="9467" y="514922"/>
                  </a:cubicBezTo>
                  <a:lnTo>
                    <a:pt x="8038" y="513398"/>
                  </a:lnTo>
                  <a:lnTo>
                    <a:pt x="8038" y="513398"/>
                  </a:lnTo>
                  <a:close/>
                  <a:moveTo>
                    <a:pt x="254641" y="404146"/>
                  </a:moveTo>
                  <a:lnTo>
                    <a:pt x="251783" y="405956"/>
                  </a:lnTo>
                  <a:lnTo>
                    <a:pt x="246259" y="409670"/>
                  </a:lnTo>
                  <a:cubicBezTo>
                    <a:pt x="199015" y="441008"/>
                    <a:pt x="119481" y="441960"/>
                    <a:pt x="54425" y="416243"/>
                  </a:cubicBezTo>
                  <a:lnTo>
                    <a:pt x="50615" y="414719"/>
                  </a:lnTo>
                  <a:lnTo>
                    <a:pt x="21754" y="475774"/>
                  </a:lnTo>
                  <a:lnTo>
                    <a:pt x="20897" y="477679"/>
                  </a:lnTo>
                  <a:cubicBezTo>
                    <a:pt x="18420" y="484251"/>
                    <a:pt x="18325" y="491490"/>
                    <a:pt x="20802" y="498158"/>
                  </a:cubicBezTo>
                  <a:cubicBezTo>
                    <a:pt x="22040" y="501396"/>
                    <a:pt x="24707" y="503682"/>
                    <a:pt x="27945" y="504444"/>
                  </a:cubicBezTo>
                  <a:lnTo>
                    <a:pt x="29184" y="504635"/>
                  </a:lnTo>
                  <a:lnTo>
                    <a:pt x="30327" y="504730"/>
                  </a:lnTo>
                  <a:lnTo>
                    <a:pt x="456570" y="504730"/>
                  </a:lnTo>
                  <a:lnTo>
                    <a:pt x="457714" y="504635"/>
                  </a:lnTo>
                  <a:cubicBezTo>
                    <a:pt x="461524" y="504254"/>
                    <a:pt x="464762" y="501682"/>
                    <a:pt x="466095" y="498062"/>
                  </a:cubicBezTo>
                  <a:cubicBezTo>
                    <a:pt x="468382" y="492157"/>
                    <a:pt x="468572" y="485585"/>
                    <a:pt x="466667" y="479584"/>
                  </a:cubicBezTo>
                  <a:lnTo>
                    <a:pt x="466000" y="477584"/>
                  </a:lnTo>
                  <a:lnTo>
                    <a:pt x="465143" y="475679"/>
                  </a:lnTo>
                  <a:lnTo>
                    <a:pt x="423519" y="387477"/>
                  </a:lnTo>
                  <a:cubicBezTo>
                    <a:pt x="365416" y="373190"/>
                    <a:pt x="295979" y="378714"/>
                    <a:pt x="254641" y="404146"/>
                  </a:cubicBezTo>
                  <a:close/>
                  <a:moveTo>
                    <a:pt x="305504" y="257175"/>
                  </a:moveTo>
                  <a:cubicBezTo>
                    <a:pt x="287121" y="257175"/>
                    <a:pt x="272167" y="272129"/>
                    <a:pt x="272167" y="290513"/>
                  </a:cubicBezTo>
                  <a:cubicBezTo>
                    <a:pt x="272167" y="308896"/>
                    <a:pt x="287121" y="323850"/>
                    <a:pt x="305504" y="323850"/>
                  </a:cubicBezTo>
                  <a:cubicBezTo>
                    <a:pt x="323887" y="323850"/>
                    <a:pt x="338842" y="308896"/>
                    <a:pt x="338842" y="290513"/>
                  </a:cubicBezTo>
                  <a:cubicBezTo>
                    <a:pt x="338842" y="272129"/>
                    <a:pt x="323887" y="257175"/>
                    <a:pt x="305504" y="2571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" name="ïSļiḋe">
              <a:extLst>
                <a:ext uri="{FF2B5EF4-FFF2-40B4-BE49-F238E27FC236}">
                  <a16:creationId xmlns:a16="http://schemas.microsoft.com/office/drawing/2014/main" id="{7205A2F5-254B-410B-90D7-078B74569696}"/>
                </a:ext>
              </a:extLst>
            </p:cNvPr>
            <p:cNvSpPr/>
            <p:nvPr/>
          </p:nvSpPr>
          <p:spPr bwMode="auto">
            <a:xfrm>
              <a:off x="4546733" y="4606535"/>
              <a:ext cx="478022" cy="469486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3" name="ïṩľïďe">
              <a:extLst>
                <a:ext uri="{FF2B5EF4-FFF2-40B4-BE49-F238E27FC236}">
                  <a16:creationId xmlns:a16="http://schemas.microsoft.com/office/drawing/2014/main" id="{62680BF3-20B4-4F79-8E8F-733ED5AC366D}"/>
                </a:ext>
              </a:extLst>
            </p:cNvPr>
            <p:cNvSpPr txBox="1"/>
            <p:nvPr/>
          </p:nvSpPr>
          <p:spPr>
            <a:xfrm>
              <a:off x="2028825" y="1424445"/>
              <a:ext cx="2032658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64" name="î$ḷíďe">
              <a:extLst>
                <a:ext uri="{FF2B5EF4-FFF2-40B4-BE49-F238E27FC236}">
                  <a16:creationId xmlns:a16="http://schemas.microsoft.com/office/drawing/2014/main" id="{260A6A7D-C2D8-4E8E-A6E4-A6D1B72454B3}"/>
                </a:ext>
              </a:extLst>
            </p:cNvPr>
            <p:cNvSpPr txBox="1"/>
            <p:nvPr/>
          </p:nvSpPr>
          <p:spPr>
            <a:xfrm>
              <a:off x="2028825" y="1697632"/>
              <a:ext cx="2032658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165" name="îŝ1îďê">
              <a:extLst>
                <a:ext uri="{FF2B5EF4-FFF2-40B4-BE49-F238E27FC236}">
                  <a16:creationId xmlns:a16="http://schemas.microsoft.com/office/drawing/2014/main" id="{A52DFC26-D238-404A-8104-8B2B037E2433}"/>
                </a:ext>
              </a:extLst>
            </p:cNvPr>
            <p:cNvSpPr txBox="1"/>
            <p:nvPr/>
          </p:nvSpPr>
          <p:spPr>
            <a:xfrm>
              <a:off x="674936" y="3060128"/>
              <a:ext cx="224767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66" name="iśļiḓè">
              <a:extLst>
                <a:ext uri="{FF2B5EF4-FFF2-40B4-BE49-F238E27FC236}">
                  <a16:creationId xmlns:a16="http://schemas.microsoft.com/office/drawing/2014/main" id="{B51D22E5-9518-4B33-8655-33358F3B016B}"/>
                </a:ext>
              </a:extLst>
            </p:cNvPr>
            <p:cNvSpPr txBox="1"/>
            <p:nvPr/>
          </p:nvSpPr>
          <p:spPr>
            <a:xfrm>
              <a:off x="674936" y="3333315"/>
              <a:ext cx="2247672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167" name="íśľïḋe">
              <a:extLst>
                <a:ext uri="{FF2B5EF4-FFF2-40B4-BE49-F238E27FC236}">
                  <a16:creationId xmlns:a16="http://schemas.microsoft.com/office/drawing/2014/main" id="{6DF63723-5987-446A-B5EB-ED002301F3C2}"/>
                </a:ext>
              </a:extLst>
            </p:cNvPr>
            <p:cNvSpPr txBox="1"/>
            <p:nvPr/>
          </p:nvSpPr>
          <p:spPr>
            <a:xfrm>
              <a:off x="1635217" y="4480782"/>
              <a:ext cx="224767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68" name="îṡļïďe">
              <a:extLst>
                <a:ext uri="{FF2B5EF4-FFF2-40B4-BE49-F238E27FC236}">
                  <a16:creationId xmlns:a16="http://schemas.microsoft.com/office/drawing/2014/main" id="{09A763E8-FD72-4C03-B9AA-B1BC6C4F0809}"/>
                </a:ext>
              </a:extLst>
            </p:cNvPr>
            <p:cNvSpPr txBox="1"/>
            <p:nvPr/>
          </p:nvSpPr>
          <p:spPr>
            <a:xfrm>
              <a:off x="1635217" y="4753969"/>
              <a:ext cx="2247672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169" name="îśḷîďe">
              <a:extLst>
                <a:ext uri="{FF2B5EF4-FFF2-40B4-BE49-F238E27FC236}">
                  <a16:creationId xmlns:a16="http://schemas.microsoft.com/office/drawing/2014/main" id="{CA4431F8-F37B-4A6D-B1E4-440F6C04EC3C}"/>
                </a:ext>
              </a:extLst>
            </p:cNvPr>
            <p:cNvSpPr txBox="1"/>
            <p:nvPr/>
          </p:nvSpPr>
          <p:spPr>
            <a:xfrm>
              <a:off x="8884512" y="1424445"/>
              <a:ext cx="2032658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70" name="iṥlíḓé">
              <a:extLst>
                <a:ext uri="{FF2B5EF4-FFF2-40B4-BE49-F238E27FC236}">
                  <a16:creationId xmlns:a16="http://schemas.microsoft.com/office/drawing/2014/main" id="{E74B5097-E63C-4F6F-B1B9-57F84980B618}"/>
                </a:ext>
              </a:extLst>
            </p:cNvPr>
            <p:cNvSpPr txBox="1"/>
            <p:nvPr/>
          </p:nvSpPr>
          <p:spPr>
            <a:xfrm>
              <a:off x="8884512" y="1697632"/>
              <a:ext cx="2032658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171" name="íṩlïḓe">
              <a:extLst>
                <a:ext uri="{FF2B5EF4-FFF2-40B4-BE49-F238E27FC236}">
                  <a16:creationId xmlns:a16="http://schemas.microsoft.com/office/drawing/2014/main" id="{23B43BAD-7F89-4B54-B8CD-3418022282EE}"/>
                </a:ext>
              </a:extLst>
            </p:cNvPr>
            <p:cNvSpPr txBox="1"/>
            <p:nvPr/>
          </p:nvSpPr>
          <p:spPr>
            <a:xfrm>
              <a:off x="9373959" y="3060128"/>
              <a:ext cx="2146529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72" name="îŝļiḍé">
              <a:extLst>
                <a:ext uri="{FF2B5EF4-FFF2-40B4-BE49-F238E27FC236}">
                  <a16:creationId xmlns:a16="http://schemas.microsoft.com/office/drawing/2014/main" id="{E92C5299-6F63-4E65-98DC-6982E9185888}"/>
                </a:ext>
              </a:extLst>
            </p:cNvPr>
            <p:cNvSpPr txBox="1"/>
            <p:nvPr/>
          </p:nvSpPr>
          <p:spPr>
            <a:xfrm>
              <a:off x="9373959" y="3333315"/>
              <a:ext cx="2146529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173" name="ïŝ1îḓè">
              <a:extLst>
                <a:ext uri="{FF2B5EF4-FFF2-40B4-BE49-F238E27FC236}">
                  <a16:creationId xmlns:a16="http://schemas.microsoft.com/office/drawing/2014/main" id="{C4D3D436-9690-4595-915A-7961834510E3}"/>
                </a:ext>
              </a:extLst>
            </p:cNvPr>
            <p:cNvSpPr txBox="1"/>
            <p:nvPr/>
          </p:nvSpPr>
          <p:spPr>
            <a:xfrm>
              <a:off x="8490904" y="4480782"/>
              <a:ext cx="224767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Text here</a:t>
              </a:r>
            </a:p>
          </p:txBody>
        </p:sp>
        <p:sp>
          <p:nvSpPr>
            <p:cNvPr id="174" name="íšḷiďé">
              <a:extLst>
                <a:ext uri="{FF2B5EF4-FFF2-40B4-BE49-F238E27FC236}">
                  <a16:creationId xmlns:a16="http://schemas.microsoft.com/office/drawing/2014/main" id="{2E3A4A1E-A386-428D-A600-094F7F003707}"/>
                </a:ext>
              </a:extLst>
            </p:cNvPr>
            <p:cNvSpPr txBox="1"/>
            <p:nvPr/>
          </p:nvSpPr>
          <p:spPr>
            <a:xfrm>
              <a:off x="8490904" y="4753969"/>
              <a:ext cx="2247672" cy="6249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py paste fonts. Choose the only option to retain text.…</a:t>
              </a:r>
              <a:r>
                <a:rPr kumimoji="0" lang="de-D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116517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l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ļïḑê">
            <a:extLst>
              <a:ext uri="{FF2B5EF4-FFF2-40B4-BE49-F238E27FC236}">
                <a16:creationId xmlns:a16="http://schemas.microsoft.com/office/drawing/2014/main" id="{D6661868-67B3-46A2-AE3B-81D7CC06C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šļîḍe">
            <a:extLst>
              <a:ext uri="{FF2B5EF4-FFF2-40B4-BE49-F238E27FC236}">
                <a16:creationId xmlns:a16="http://schemas.microsoft.com/office/drawing/2014/main" id="{9E119E72-4AE3-4422-9061-B409BF912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ṩḷiďè">
            <a:extLst>
              <a:ext uri="{FF2B5EF4-FFF2-40B4-BE49-F238E27FC236}">
                <a16:creationId xmlns:a16="http://schemas.microsoft.com/office/drawing/2014/main" id="{F5EC9382-C972-49CF-AE2A-2A4958D3B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iṡḻï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ADD7258-C13C-4109-A6E8-72EE69AA0AB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55440" y="1379868"/>
            <a:ext cx="9619631" cy="4513764"/>
            <a:chOff x="1055440" y="1379868"/>
            <a:chExt cx="9619631" cy="4513764"/>
          </a:xfrm>
        </p:grpSpPr>
        <p:grpSp>
          <p:nvGrpSpPr>
            <p:cNvPr id="6" name="ïśľîḓè">
              <a:extLst>
                <a:ext uri="{FF2B5EF4-FFF2-40B4-BE49-F238E27FC236}">
                  <a16:creationId xmlns:a16="http://schemas.microsoft.com/office/drawing/2014/main" id="{BC1C6F9D-423D-4033-81EE-C11C788A1D54}"/>
                </a:ext>
              </a:extLst>
            </p:cNvPr>
            <p:cNvGrpSpPr/>
            <p:nvPr/>
          </p:nvGrpSpPr>
          <p:grpSpPr>
            <a:xfrm>
              <a:off x="1305561" y="1379868"/>
              <a:ext cx="9369510" cy="4513764"/>
              <a:chOff x="2528748" y="1237365"/>
              <a:chExt cx="9369510" cy="4513764"/>
            </a:xfrm>
          </p:grpSpPr>
          <p:grpSp>
            <p:nvGrpSpPr>
              <p:cNvPr id="9" name="îsļíďè">
                <a:extLst>
                  <a:ext uri="{FF2B5EF4-FFF2-40B4-BE49-F238E27FC236}">
                    <a16:creationId xmlns:a16="http://schemas.microsoft.com/office/drawing/2014/main" id="{EFF30E7B-CE54-4688-BDC4-0275B8036BC8}"/>
                  </a:ext>
                </a:extLst>
              </p:cNvPr>
              <p:cNvGrpSpPr/>
              <p:nvPr/>
            </p:nvGrpSpPr>
            <p:grpSpPr>
              <a:xfrm rot="21412315">
                <a:off x="5858924" y="1237365"/>
                <a:ext cx="3853586" cy="3477329"/>
                <a:chOff x="-1" y="0"/>
                <a:chExt cx="7707170" cy="6954654"/>
              </a:xfrm>
            </p:grpSpPr>
            <p:sp>
              <p:nvSpPr>
                <p:cNvPr id="21" name="işliḓê">
                  <a:extLst>
                    <a:ext uri="{FF2B5EF4-FFF2-40B4-BE49-F238E27FC236}">
                      <a16:creationId xmlns:a16="http://schemas.microsoft.com/office/drawing/2014/main" id="{F47319F4-496A-4680-BD8E-70DD9DCA714D}"/>
                    </a:ext>
                  </a:extLst>
                </p:cNvPr>
                <p:cNvSpPr/>
                <p:nvPr/>
              </p:nvSpPr>
              <p:spPr>
                <a:xfrm rot="21600000" flipH="1">
                  <a:off x="3974166" y="0"/>
                  <a:ext cx="3733003" cy="69546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642" y="0"/>
                      </a:moveTo>
                      <a:lnTo>
                        <a:pt x="0" y="21117"/>
                      </a:lnTo>
                      <a:lnTo>
                        <a:pt x="1654" y="21600"/>
                      </a:lnTo>
                      <a:lnTo>
                        <a:pt x="21600" y="156"/>
                      </a:lnTo>
                      <a:lnTo>
                        <a:pt x="19642" y="0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6350" cap="flat">
                  <a:solidFill>
                    <a:srgbClr val="CFCFCF"/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2" name="ïšľîḓé">
                  <a:extLst>
                    <a:ext uri="{FF2B5EF4-FFF2-40B4-BE49-F238E27FC236}">
                      <a16:creationId xmlns:a16="http://schemas.microsoft.com/office/drawing/2014/main" id="{36529C79-FB0A-4C93-AC00-C112920C70D3}"/>
                    </a:ext>
                  </a:extLst>
                </p:cNvPr>
                <p:cNvSpPr/>
                <p:nvPr/>
              </p:nvSpPr>
              <p:spPr>
                <a:xfrm rot="21600000" flipH="1">
                  <a:off x="550459" y="46118"/>
                  <a:ext cx="6870387" cy="690448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38" y="0"/>
                      </a:moveTo>
                      <a:lnTo>
                        <a:pt x="0" y="21600"/>
                      </a:lnTo>
                      <a:lnTo>
                        <a:pt x="21600" y="18579"/>
                      </a:lnTo>
                      <a:cubicBezTo>
                        <a:pt x="21600" y="18579"/>
                        <a:pt x="10838" y="0"/>
                        <a:pt x="10838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10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3" name="ïšļiḋé">
                  <a:extLst>
                    <a:ext uri="{FF2B5EF4-FFF2-40B4-BE49-F238E27FC236}">
                      <a16:creationId xmlns:a16="http://schemas.microsoft.com/office/drawing/2014/main" id="{B13A326B-638B-47D7-A40F-06B50F9BD08B}"/>
                    </a:ext>
                  </a:extLst>
                </p:cNvPr>
                <p:cNvSpPr/>
                <p:nvPr/>
              </p:nvSpPr>
              <p:spPr>
                <a:xfrm rot="21600000" flipH="1">
                  <a:off x="2561014" y="2080599"/>
                  <a:ext cx="2584782" cy="47609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211" y="0"/>
                      </a:moveTo>
                      <a:lnTo>
                        <a:pt x="0" y="20894"/>
                      </a:lnTo>
                      <a:lnTo>
                        <a:pt x="2389" y="21600"/>
                      </a:lnTo>
                      <a:lnTo>
                        <a:pt x="21600" y="706"/>
                      </a:lnTo>
                      <a:cubicBezTo>
                        <a:pt x="21600" y="706"/>
                        <a:pt x="19211" y="0"/>
                        <a:pt x="19211" y="0"/>
                      </a:cubicBez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6350" cap="flat">
                  <a:solidFill>
                    <a:srgbClr val="CFCFCF"/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4" name="íṡ1îďè">
                  <a:extLst>
                    <a:ext uri="{FF2B5EF4-FFF2-40B4-BE49-F238E27FC236}">
                      <a16:creationId xmlns:a16="http://schemas.microsoft.com/office/drawing/2014/main" id="{0B4F18C9-C519-4FD0-B162-7F77E12F9580}"/>
                    </a:ext>
                  </a:extLst>
                </p:cNvPr>
                <p:cNvSpPr/>
                <p:nvPr/>
              </p:nvSpPr>
              <p:spPr>
                <a:xfrm rot="21600000" flipH="1">
                  <a:off x="276703" y="2235067"/>
                  <a:ext cx="4582419" cy="460547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36" y="0"/>
                      </a:moveTo>
                      <a:lnTo>
                        <a:pt x="0" y="21600"/>
                      </a:lnTo>
                      <a:lnTo>
                        <a:pt x="21600" y="18579"/>
                      </a:lnTo>
                      <a:cubicBezTo>
                        <a:pt x="21600" y="18579"/>
                        <a:pt x="10836" y="0"/>
                        <a:pt x="1083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25" name="íś1íďè">
                  <a:extLst>
                    <a:ext uri="{FF2B5EF4-FFF2-40B4-BE49-F238E27FC236}">
                      <a16:creationId xmlns:a16="http://schemas.microsoft.com/office/drawing/2014/main" id="{26DE1A32-4E7F-434F-A011-ED45AC5AE317}"/>
                    </a:ext>
                  </a:extLst>
                </p:cNvPr>
                <p:cNvSpPr/>
                <p:nvPr/>
              </p:nvSpPr>
              <p:spPr>
                <a:xfrm rot="21600000" flipH="1">
                  <a:off x="1143529" y="4216886"/>
                  <a:ext cx="1447101" cy="248190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332" y="0"/>
                      </a:moveTo>
                      <a:lnTo>
                        <a:pt x="0" y="20246"/>
                      </a:lnTo>
                      <a:lnTo>
                        <a:pt x="4266" y="21600"/>
                      </a:lnTo>
                      <a:lnTo>
                        <a:pt x="21600" y="1354"/>
                      </a:lnTo>
                      <a:cubicBezTo>
                        <a:pt x="21600" y="1354"/>
                        <a:pt x="17332" y="0"/>
                        <a:pt x="17332" y="0"/>
                      </a:cubicBez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6350" cap="flat">
                  <a:solidFill>
                    <a:srgbClr val="CFCFCF"/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6" name="îşľíde">
                  <a:extLst>
                    <a:ext uri="{FF2B5EF4-FFF2-40B4-BE49-F238E27FC236}">
                      <a16:creationId xmlns:a16="http://schemas.microsoft.com/office/drawing/2014/main" id="{ABC8A9C7-F2AE-4655-B83B-F0BE86CA761D}"/>
                    </a:ext>
                  </a:extLst>
                </p:cNvPr>
                <p:cNvSpPr/>
                <p:nvPr/>
              </p:nvSpPr>
              <p:spPr>
                <a:xfrm rot="21600000" flipH="1">
                  <a:off x="-1" y="4363523"/>
                  <a:ext cx="2314559" cy="232638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38" y="0"/>
                      </a:moveTo>
                      <a:lnTo>
                        <a:pt x="0" y="21600"/>
                      </a:lnTo>
                      <a:lnTo>
                        <a:pt x="21600" y="18579"/>
                      </a:lnTo>
                      <a:cubicBezTo>
                        <a:pt x="21600" y="18579"/>
                        <a:pt x="10838" y="0"/>
                        <a:pt x="1083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0" name="išḷïďe">
                <a:extLst>
                  <a:ext uri="{FF2B5EF4-FFF2-40B4-BE49-F238E27FC236}">
                    <a16:creationId xmlns:a16="http://schemas.microsoft.com/office/drawing/2014/main" id="{90BA7653-6966-4F0A-A03D-12BB8A85D06E}"/>
                  </a:ext>
                </a:extLst>
              </p:cNvPr>
              <p:cNvSpPr txBox="1"/>
              <p:nvPr/>
            </p:nvSpPr>
            <p:spPr>
              <a:xfrm>
                <a:off x="2528748" y="2292856"/>
                <a:ext cx="3514249" cy="45226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sz="2400" b="1" dirty="0"/>
                  <a:t>Text here</a:t>
                </a:r>
              </a:p>
            </p:txBody>
          </p:sp>
          <p:sp>
            <p:nvSpPr>
              <p:cNvPr id="11" name="íśļïďê">
                <a:extLst>
                  <a:ext uri="{FF2B5EF4-FFF2-40B4-BE49-F238E27FC236}">
                    <a16:creationId xmlns:a16="http://schemas.microsoft.com/office/drawing/2014/main" id="{42096DF3-C55C-4C48-ADA0-EF96B792BA9F}"/>
                  </a:ext>
                </a:extLst>
              </p:cNvPr>
              <p:cNvSpPr/>
              <p:nvPr/>
            </p:nvSpPr>
            <p:spPr>
              <a:xfrm>
                <a:off x="2528748" y="2839100"/>
                <a:ext cx="3396491" cy="8114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>
                <a:normAutofit fontScale="77500" lnSpcReduction="20000"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2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2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2" name="îṣḷïdé">
                <a:extLst>
                  <a:ext uri="{FF2B5EF4-FFF2-40B4-BE49-F238E27FC236}">
                    <a16:creationId xmlns:a16="http://schemas.microsoft.com/office/drawing/2014/main" id="{D91CEFFF-F2D6-4553-A755-0621AB9E372E}"/>
                  </a:ext>
                </a:extLst>
              </p:cNvPr>
              <p:cNvSpPr/>
              <p:nvPr/>
            </p:nvSpPr>
            <p:spPr>
              <a:xfrm>
                <a:off x="9544274" y="2956838"/>
                <a:ext cx="2352943" cy="50362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3" name="íṩ1ïďè">
                <a:extLst>
                  <a:ext uri="{FF2B5EF4-FFF2-40B4-BE49-F238E27FC236}">
                    <a16:creationId xmlns:a16="http://schemas.microsoft.com/office/drawing/2014/main" id="{246FFE42-E07A-451E-8CC6-4DD14A48E688}"/>
                  </a:ext>
                </a:extLst>
              </p:cNvPr>
              <p:cNvSpPr/>
              <p:nvPr/>
            </p:nvSpPr>
            <p:spPr>
              <a:xfrm>
                <a:off x="4166236" y="5215968"/>
                <a:ext cx="2352943" cy="53516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4" name="ïṥḻidê">
                <a:extLst>
                  <a:ext uri="{FF2B5EF4-FFF2-40B4-BE49-F238E27FC236}">
                    <a16:creationId xmlns:a16="http://schemas.microsoft.com/office/drawing/2014/main" id="{A5663A3D-02C5-4FE4-BB07-EC2BABDC2F03}"/>
                  </a:ext>
                </a:extLst>
              </p:cNvPr>
              <p:cNvSpPr/>
              <p:nvPr/>
            </p:nvSpPr>
            <p:spPr>
              <a:xfrm>
                <a:off x="9083383" y="5215969"/>
                <a:ext cx="2352943" cy="5351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5" name="iṩḷîďè">
                <a:extLst>
                  <a:ext uri="{FF2B5EF4-FFF2-40B4-BE49-F238E27FC236}">
                    <a16:creationId xmlns:a16="http://schemas.microsoft.com/office/drawing/2014/main" id="{A3AFF82E-E546-4303-8A08-4950A2981DDD}"/>
                  </a:ext>
                </a:extLst>
              </p:cNvPr>
              <p:cNvSpPr/>
              <p:nvPr/>
            </p:nvSpPr>
            <p:spPr>
              <a:xfrm>
                <a:off x="8420307" y="2573254"/>
                <a:ext cx="887206" cy="887204"/>
              </a:xfrm>
              <a:prstGeom prst="ellipse">
                <a:avLst/>
              </a:prstGeom>
              <a:solidFill>
                <a:schemeClr val="bg1"/>
              </a:solidFill>
              <a:ln w="9525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sz="2800" b="1">
                    <a:solidFill>
                      <a:schemeClr val="accent1">
                        <a:lumMod val="100000"/>
                      </a:schemeClr>
                    </a:solidFill>
                  </a:rPr>
                  <a:t>1</a:t>
                </a:r>
                <a:endParaRPr lang="en-US" altLang="zh-CN" sz="2800" b="1" dirty="0">
                  <a:solidFill>
                    <a:schemeClr val="accent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6" name="ïṡľidé">
                <a:extLst>
                  <a:ext uri="{FF2B5EF4-FFF2-40B4-BE49-F238E27FC236}">
                    <a16:creationId xmlns:a16="http://schemas.microsoft.com/office/drawing/2014/main" id="{331F3485-2BAA-4BC6-9E25-8CFE2FA2C81A}"/>
                  </a:ext>
                </a:extLst>
              </p:cNvPr>
              <p:cNvSpPr/>
              <p:nvPr/>
            </p:nvSpPr>
            <p:spPr>
              <a:xfrm>
                <a:off x="5631973" y="4214703"/>
                <a:ext cx="887206" cy="887204"/>
              </a:xfrm>
              <a:prstGeom prst="ellipse">
                <a:avLst/>
              </a:prstGeom>
              <a:solidFill>
                <a:schemeClr val="bg1"/>
              </a:solidFill>
              <a:ln w="9525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sz="2800" b="1" dirty="0">
                    <a:solidFill>
                      <a:schemeClr val="bg1">
                        <a:lumMod val="75000"/>
                      </a:schemeClr>
                    </a:solidFill>
                  </a:rPr>
                  <a:t>3</a:t>
                </a:r>
              </a:p>
            </p:txBody>
          </p:sp>
          <p:sp>
            <p:nvSpPr>
              <p:cNvPr id="17" name="îṩľiḑè">
                <a:extLst>
                  <a:ext uri="{FF2B5EF4-FFF2-40B4-BE49-F238E27FC236}">
                    <a16:creationId xmlns:a16="http://schemas.microsoft.com/office/drawing/2014/main" id="{1CAE403C-E990-4D37-AF39-454BA09B55CC}"/>
                  </a:ext>
                </a:extLst>
              </p:cNvPr>
              <p:cNvSpPr/>
              <p:nvPr/>
            </p:nvSpPr>
            <p:spPr>
              <a:xfrm>
                <a:off x="7826367" y="4217120"/>
                <a:ext cx="887206" cy="887204"/>
              </a:xfrm>
              <a:prstGeom prst="ellipse">
                <a:avLst/>
              </a:prstGeom>
              <a:solidFill>
                <a:schemeClr val="bg1"/>
              </a:solidFill>
              <a:ln w="9525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defRPr sz="3200">
                    <a:solidFill>
                      <a:srgbClr val="FFFFFF"/>
                    </a:solidFill>
                  </a:defRPr>
                </a:pPr>
                <a:r>
                  <a:rPr lang="en-US" altLang="zh-CN" sz="2800" b="1" dirty="0">
                    <a:solidFill>
                      <a:schemeClr val="bg1">
                        <a:lumMod val="75000"/>
                      </a:schemeClr>
                    </a:solidFill>
                  </a:rPr>
                  <a:t>2</a:t>
                </a:r>
              </a:p>
            </p:txBody>
          </p:sp>
          <p:sp>
            <p:nvSpPr>
              <p:cNvPr id="18" name="íṥḻïdé">
                <a:extLst>
                  <a:ext uri="{FF2B5EF4-FFF2-40B4-BE49-F238E27FC236}">
                    <a16:creationId xmlns:a16="http://schemas.microsoft.com/office/drawing/2014/main" id="{1D9CEA15-015B-459F-9393-46B552CB1C1E}"/>
                  </a:ext>
                </a:extLst>
              </p:cNvPr>
              <p:cNvSpPr/>
              <p:nvPr/>
            </p:nvSpPr>
            <p:spPr>
              <a:xfrm>
                <a:off x="9545315" y="2654297"/>
                <a:ext cx="2352943" cy="28146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  <p:sp>
            <p:nvSpPr>
              <p:cNvPr id="19" name="ï$ḻiḋè">
                <a:extLst>
                  <a:ext uri="{FF2B5EF4-FFF2-40B4-BE49-F238E27FC236}">
                    <a16:creationId xmlns:a16="http://schemas.microsoft.com/office/drawing/2014/main" id="{C1B30EC9-C997-4E28-8B35-D6654754AFE3}"/>
                  </a:ext>
                </a:extLst>
              </p:cNvPr>
              <p:cNvSpPr/>
              <p:nvPr/>
            </p:nvSpPr>
            <p:spPr>
              <a:xfrm>
                <a:off x="4167277" y="4913428"/>
                <a:ext cx="2352943" cy="28146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  <p:sp>
            <p:nvSpPr>
              <p:cNvPr id="20" name="iślïḓè">
                <a:extLst>
                  <a:ext uri="{FF2B5EF4-FFF2-40B4-BE49-F238E27FC236}">
                    <a16:creationId xmlns:a16="http://schemas.microsoft.com/office/drawing/2014/main" id="{6DD486A5-CD06-427E-BDFF-B62DBBF3371F}"/>
                  </a:ext>
                </a:extLst>
              </p:cNvPr>
              <p:cNvSpPr/>
              <p:nvPr/>
            </p:nvSpPr>
            <p:spPr>
              <a:xfrm>
                <a:off x="9084424" y="4913428"/>
                <a:ext cx="2352943" cy="28146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cxnSp>
          <p:nvCxnSpPr>
            <p:cNvPr id="7" name="i$ḷídé">
              <a:extLst>
                <a:ext uri="{FF2B5EF4-FFF2-40B4-BE49-F238E27FC236}">
                  <a16:creationId xmlns:a16="http://schemas.microsoft.com/office/drawing/2014/main" id="{DDBFC2AE-1A3F-4CAB-B712-AE503601C0EE}"/>
                </a:ext>
              </a:extLst>
            </p:cNvPr>
            <p:cNvCxnSpPr/>
            <p:nvPr/>
          </p:nvCxnSpPr>
          <p:spPr>
            <a:xfrm>
              <a:off x="1055440" y="2342744"/>
              <a:ext cx="4265655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i$ľíḋè">
              <a:extLst>
                <a:ext uri="{FF2B5EF4-FFF2-40B4-BE49-F238E27FC236}">
                  <a16:creationId xmlns:a16="http://schemas.microsoft.com/office/drawing/2014/main" id="{11D62608-506D-4D9B-BFE2-CBCD177599A0}"/>
                </a:ext>
              </a:extLst>
            </p:cNvPr>
            <p:cNvCxnSpPr>
              <a:cxnSpLocks/>
            </p:cNvCxnSpPr>
            <p:nvPr/>
          </p:nvCxnSpPr>
          <p:spPr>
            <a:xfrm>
              <a:off x="1055440" y="3907384"/>
              <a:ext cx="3607347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18732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î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ṡľiḑé">
            <a:extLst>
              <a:ext uri="{FF2B5EF4-FFF2-40B4-BE49-F238E27FC236}">
                <a16:creationId xmlns:a16="http://schemas.microsoft.com/office/drawing/2014/main" id="{90A98997-5D82-4697-978D-57930675A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ṧlidê">
            <a:extLst>
              <a:ext uri="{FF2B5EF4-FFF2-40B4-BE49-F238E27FC236}">
                <a16:creationId xmlns:a16="http://schemas.microsoft.com/office/drawing/2014/main" id="{B00E1511-8AC4-4213-847A-6CE69B44C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šḷidè">
            <a:extLst>
              <a:ext uri="{FF2B5EF4-FFF2-40B4-BE49-F238E27FC236}">
                <a16:creationId xmlns:a16="http://schemas.microsoft.com/office/drawing/2014/main" id="{6F60ED2F-C267-4E2E-8DC2-6C710B7B9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30" name="îSļíḑ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C067BE7-A4A4-4E21-8D50-7A162B7F05C1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713610"/>
            <a:ext cx="10858500" cy="3837181"/>
            <a:chOff x="660400" y="1713610"/>
            <a:chExt cx="10858500" cy="3837181"/>
          </a:xfrm>
        </p:grpSpPr>
        <p:grpSp>
          <p:nvGrpSpPr>
            <p:cNvPr id="31" name="íṣḻîḋé">
              <a:extLst>
                <a:ext uri="{FF2B5EF4-FFF2-40B4-BE49-F238E27FC236}">
                  <a16:creationId xmlns:a16="http://schemas.microsoft.com/office/drawing/2014/main" id="{CEC0BEB2-E782-4698-8C38-BFC32AC133A3}"/>
                </a:ext>
              </a:extLst>
            </p:cNvPr>
            <p:cNvGrpSpPr/>
            <p:nvPr/>
          </p:nvGrpSpPr>
          <p:grpSpPr>
            <a:xfrm>
              <a:off x="4529122" y="2071672"/>
              <a:ext cx="3121056" cy="3121056"/>
              <a:chOff x="4529122" y="2071672"/>
              <a:chExt cx="3121056" cy="3121056"/>
            </a:xfrm>
          </p:grpSpPr>
          <p:sp>
            <p:nvSpPr>
              <p:cNvPr id="44" name="íṡļîďè">
                <a:extLst>
                  <a:ext uri="{FF2B5EF4-FFF2-40B4-BE49-F238E27FC236}">
                    <a16:creationId xmlns:a16="http://schemas.microsoft.com/office/drawing/2014/main" id="{A374B760-8750-4D85-81A9-5E9F932EDCDD}"/>
                  </a:ext>
                </a:extLst>
              </p:cNvPr>
              <p:cNvSpPr/>
              <p:nvPr/>
            </p:nvSpPr>
            <p:spPr>
              <a:xfrm>
                <a:off x="4529122" y="2071672"/>
                <a:ext cx="3121056" cy="3121056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ïşļïďe">
                <a:extLst>
                  <a:ext uri="{FF2B5EF4-FFF2-40B4-BE49-F238E27FC236}">
                    <a16:creationId xmlns:a16="http://schemas.microsoft.com/office/drawing/2014/main" id="{0B31E705-1EF6-4653-BD59-30132F0D385D}"/>
                  </a:ext>
                </a:extLst>
              </p:cNvPr>
              <p:cNvSpPr/>
              <p:nvPr/>
            </p:nvSpPr>
            <p:spPr>
              <a:xfrm rot="13500000">
                <a:off x="5271079" y="2741615"/>
                <a:ext cx="324456" cy="264402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íSlîďè">
                <a:extLst>
                  <a:ext uri="{FF2B5EF4-FFF2-40B4-BE49-F238E27FC236}">
                    <a16:creationId xmlns:a16="http://schemas.microsoft.com/office/drawing/2014/main" id="{D4E3EDE0-0A48-4EA6-AAD6-0390BA608131}"/>
                  </a:ext>
                </a:extLst>
              </p:cNvPr>
              <p:cNvSpPr/>
              <p:nvPr/>
            </p:nvSpPr>
            <p:spPr>
              <a:xfrm rot="8100000" flipH="1">
                <a:off x="6583765" y="2741615"/>
                <a:ext cx="324456" cy="264402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îşľîdé">
                <a:extLst>
                  <a:ext uri="{FF2B5EF4-FFF2-40B4-BE49-F238E27FC236}">
                    <a16:creationId xmlns:a16="http://schemas.microsoft.com/office/drawing/2014/main" id="{71C5649E-0D3B-4296-A631-5ED978C4A744}"/>
                  </a:ext>
                </a:extLst>
              </p:cNvPr>
              <p:cNvSpPr/>
              <p:nvPr/>
            </p:nvSpPr>
            <p:spPr>
              <a:xfrm rot="8100000" flipV="1">
                <a:off x="5271079" y="4258384"/>
                <a:ext cx="324456" cy="264402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ïṥḷîďê">
                <a:extLst>
                  <a:ext uri="{FF2B5EF4-FFF2-40B4-BE49-F238E27FC236}">
                    <a16:creationId xmlns:a16="http://schemas.microsoft.com/office/drawing/2014/main" id="{BB4EA493-71B8-4FA6-A4BF-99C833CBD9B7}"/>
                  </a:ext>
                </a:extLst>
              </p:cNvPr>
              <p:cNvSpPr/>
              <p:nvPr/>
            </p:nvSpPr>
            <p:spPr>
              <a:xfrm rot="13500000" flipH="1" flipV="1">
                <a:off x="6583765" y="4258384"/>
                <a:ext cx="324456" cy="264402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îšļîḓé">
                <a:extLst>
                  <a:ext uri="{FF2B5EF4-FFF2-40B4-BE49-F238E27FC236}">
                    <a16:creationId xmlns:a16="http://schemas.microsoft.com/office/drawing/2014/main" id="{F1CFB5AA-2CD6-4CD3-B873-A130A7D096B1}"/>
                  </a:ext>
                </a:extLst>
              </p:cNvPr>
              <p:cNvSpPr/>
              <p:nvPr/>
            </p:nvSpPr>
            <p:spPr>
              <a:xfrm>
                <a:off x="5401939" y="2944489"/>
                <a:ext cx="1375422" cy="1375422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íŝḻíde">
                <a:extLst>
                  <a:ext uri="{FF2B5EF4-FFF2-40B4-BE49-F238E27FC236}">
                    <a16:creationId xmlns:a16="http://schemas.microsoft.com/office/drawing/2014/main" id="{EC81129B-1A70-4103-95E7-7EE9A69BDD4C}"/>
                  </a:ext>
                </a:extLst>
              </p:cNvPr>
              <p:cNvSpPr/>
              <p:nvPr/>
            </p:nvSpPr>
            <p:spPr>
              <a:xfrm>
                <a:off x="6793785" y="2090803"/>
                <a:ext cx="680001" cy="6800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r>
                  <a:rPr lang="en-US" altLang="zh-CN" sz="2400" b="1" dirty="0">
                    <a:solidFill>
                      <a:schemeClr val="bg1"/>
                    </a:solidFill>
                  </a:rPr>
                  <a:t>W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ïṣ1íďé">
                <a:extLst>
                  <a:ext uri="{FF2B5EF4-FFF2-40B4-BE49-F238E27FC236}">
                    <a16:creationId xmlns:a16="http://schemas.microsoft.com/office/drawing/2014/main" id="{24058BA3-93FD-4A6D-B9BF-F4171DF0F134}"/>
                  </a:ext>
                </a:extLst>
              </p:cNvPr>
              <p:cNvSpPr/>
              <p:nvPr/>
            </p:nvSpPr>
            <p:spPr>
              <a:xfrm>
                <a:off x="4705514" y="2090803"/>
                <a:ext cx="680001" cy="6800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r>
                  <a:rPr lang="en-US" altLang="zh-CN" sz="2400" b="1" dirty="0">
                    <a:solidFill>
                      <a:schemeClr val="bg1"/>
                    </a:solidFill>
                  </a:rPr>
                  <a:t>S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îṧḷîďe">
                <a:extLst>
                  <a:ext uri="{FF2B5EF4-FFF2-40B4-BE49-F238E27FC236}">
                    <a16:creationId xmlns:a16="http://schemas.microsoft.com/office/drawing/2014/main" id="{9335D8B1-163A-4519-BA1C-1644F93F3995}"/>
                  </a:ext>
                </a:extLst>
              </p:cNvPr>
              <p:cNvSpPr/>
              <p:nvPr/>
            </p:nvSpPr>
            <p:spPr>
              <a:xfrm>
                <a:off x="6793785" y="4493596"/>
                <a:ext cx="680001" cy="6800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r>
                  <a:rPr lang="en-US" altLang="zh-CN" sz="2400" b="1" dirty="0">
                    <a:solidFill>
                      <a:schemeClr val="bg1"/>
                    </a:solidFill>
                  </a:rPr>
                  <a:t>O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iŝlïḓè">
                <a:extLst>
                  <a:ext uri="{FF2B5EF4-FFF2-40B4-BE49-F238E27FC236}">
                    <a16:creationId xmlns:a16="http://schemas.microsoft.com/office/drawing/2014/main" id="{1CF24ED8-1DA1-4462-A79E-96D5DBD76204}"/>
                  </a:ext>
                </a:extLst>
              </p:cNvPr>
              <p:cNvSpPr/>
              <p:nvPr/>
            </p:nvSpPr>
            <p:spPr>
              <a:xfrm>
                <a:off x="4705514" y="4493596"/>
                <a:ext cx="680001" cy="6800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r>
                  <a:rPr lang="en-US" altLang="zh-CN" sz="2400" b="1" dirty="0">
                    <a:solidFill>
                      <a:schemeClr val="bg1"/>
                    </a:solidFill>
                  </a:rPr>
                  <a:t>T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îś1îḋe">
                <a:extLst>
                  <a:ext uri="{FF2B5EF4-FFF2-40B4-BE49-F238E27FC236}">
                    <a16:creationId xmlns:a16="http://schemas.microsoft.com/office/drawing/2014/main" id="{CE7351B7-BFCB-43A5-AAE1-5F356AA0BE65}"/>
                  </a:ext>
                </a:extLst>
              </p:cNvPr>
              <p:cNvSpPr/>
              <p:nvPr/>
            </p:nvSpPr>
            <p:spPr>
              <a:xfrm>
                <a:off x="5816600" y="3299789"/>
                <a:ext cx="546100" cy="664818"/>
              </a:xfrm>
              <a:custGeom>
                <a:avLst/>
                <a:gdLst>
                  <a:gd name="connsiteX0" fmla="*/ 283464 w 438150"/>
                  <a:gd name="connsiteY0" fmla="*/ 0 h 533400"/>
                  <a:gd name="connsiteX1" fmla="*/ 285750 w 438150"/>
                  <a:gd name="connsiteY1" fmla="*/ 95 h 533400"/>
                  <a:gd name="connsiteX2" fmla="*/ 285750 w 438150"/>
                  <a:gd name="connsiteY2" fmla="*/ 123825 h 533400"/>
                  <a:gd name="connsiteX3" fmla="*/ 285845 w 438150"/>
                  <a:gd name="connsiteY3" fmla="*/ 125540 h 533400"/>
                  <a:gd name="connsiteX4" fmla="*/ 314325 w 438150"/>
                  <a:gd name="connsiteY4" fmla="*/ 152400 h 533400"/>
                  <a:gd name="connsiteX5" fmla="*/ 314325 w 438150"/>
                  <a:gd name="connsiteY5" fmla="*/ 152400 h 533400"/>
                  <a:gd name="connsiteX6" fmla="*/ 438055 w 438150"/>
                  <a:gd name="connsiteY6" fmla="*/ 152400 h 533400"/>
                  <a:gd name="connsiteX7" fmla="*/ 438150 w 438150"/>
                  <a:gd name="connsiteY7" fmla="*/ 154686 h 533400"/>
                  <a:gd name="connsiteX8" fmla="*/ 438150 w 438150"/>
                  <a:gd name="connsiteY8" fmla="*/ 504825 h 533400"/>
                  <a:gd name="connsiteX9" fmla="*/ 409575 w 438150"/>
                  <a:gd name="connsiteY9" fmla="*/ 533400 h 533400"/>
                  <a:gd name="connsiteX10" fmla="*/ 28575 w 438150"/>
                  <a:gd name="connsiteY10" fmla="*/ 533400 h 533400"/>
                  <a:gd name="connsiteX11" fmla="*/ 0 w 438150"/>
                  <a:gd name="connsiteY11" fmla="*/ 504825 h 533400"/>
                  <a:gd name="connsiteX12" fmla="*/ 0 w 438150"/>
                  <a:gd name="connsiteY12" fmla="*/ 28575 h 533400"/>
                  <a:gd name="connsiteX13" fmla="*/ 28575 w 438150"/>
                  <a:gd name="connsiteY13" fmla="*/ 0 h 533400"/>
                  <a:gd name="connsiteX14" fmla="*/ 283464 w 438150"/>
                  <a:gd name="connsiteY14" fmla="*/ 0 h 533400"/>
                  <a:gd name="connsiteX15" fmla="*/ 247650 w 438150"/>
                  <a:gd name="connsiteY15" fmla="*/ 200025 h 533400"/>
                  <a:gd name="connsiteX16" fmla="*/ 152400 w 438150"/>
                  <a:gd name="connsiteY16" fmla="*/ 200025 h 533400"/>
                  <a:gd name="connsiteX17" fmla="*/ 152400 w 438150"/>
                  <a:gd name="connsiteY17" fmla="*/ 409575 h 533400"/>
                  <a:gd name="connsiteX18" fmla="*/ 171450 w 438150"/>
                  <a:gd name="connsiteY18" fmla="*/ 409575 h 533400"/>
                  <a:gd name="connsiteX19" fmla="*/ 171450 w 438150"/>
                  <a:gd name="connsiteY19" fmla="*/ 314325 h 533400"/>
                  <a:gd name="connsiteX20" fmla="*/ 247650 w 438150"/>
                  <a:gd name="connsiteY20" fmla="*/ 314325 h 533400"/>
                  <a:gd name="connsiteX21" fmla="*/ 249746 w 438150"/>
                  <a:gd name="connsiteY21" fmla="*/ 314325 h 533400"/>
                  <a:gd name="connsiteX22" fmla="*/ 304800 w 438150"/>
                  <a:gd name="connsiteY22" fmla="*/ 257175 h 533400"/>
                  <a:gd name="connsiteX23" fmla="*/ 247650 w 438150"/>
                  <a:gd name="connsiteY23" fmla="*/ 200025 h 533400"/>
                  <a:gd name="connsiteX24" fmla="*/ 247650 w 438150"/>
                  <a:gd name="connsiteY24" fmla="*/ 200025 h 533400"/>
                  <a:gd name="connsiteX25" fmla="*/ 247650 w 438150"/>
                  <a:gd name="connsiteY25" fmla="*/ 219075 h 533400"/>
                  <a:gd name="connsiteX26" fmla="*/ 285750 w 438150"/>
                  <a:gd name="connsiteY26" fmla="*/ 257175 h 533400"/>
                  <a:gd name="connsiteX27" fmla="*/ 247650 w 438150"/>
                  <a:gd name="connsiteY27" fmla="*/ 295275 h 533400"/>
                  <a:gd name="connsiteX28" fmla="*/ 247650 w 438150"/>
                  <a:gd name="connsiteY28" fmla="*/ 295275 h 533400"/>
                  <a:gd name="connsiteX29" fmla="*/ 171450 w 438150"/>
                  <a:gd name="connsiteY29" fmla="*/ 295275 h 533400"/>
                  <a:gd name="connsiteX30" fmla="*/ 171450 w 438150"/>
                  <a:gd name="connsiteY30" fmla="*/ 219075 h 533400"/>
                  <a:gd name="connsiteX31" fmla="*/ 247650 w 438150"/>
                  <a:gd name="connsiteY31" fmla="*/ 219075 h 533400"/>
                  <a:gd name="connsiteX32" fmla="*/ 428625 w 438150"/>
                  <a:gd name="connsiteY32" fmla="*/ 133350 h 533400"/>
                  <a:gd name="connsiteX33" fmla="*/ 314325 w 438150"/>
                  <a:gd name="connsiteY33" fmla="*/ 133350 h 533400"/>
                  <a:gd name="connsiteX34" fmla="*/ 313182 w 438150"/>
                  <a:gd name="connsiteY34" fmla="*/ 133255 h 533400"/>
                  <a:gd name="connsiteX35" fmla="*/ 304800 w 438150"/>
                  <a:gd name="connsiteY35" fmla="*/ 123825 h 533400"/>
                  <a:gd name="connsiteX36" fmla="*/ 304800 w 438150"/>
                  <a:gd name="connsiteY36" fmla="*/ 123825 h 533400"/>
                  <a:gd name="connsiteX37" fmla="*/ 304800 w 438150"/>
                  <a:gd name="connsiteY37" fmla="*/ 9525 h 533400"/>
                  <a:gd name="connsiteX38" fmla="*/ 428625 w 438150"/>
                  <a:gd name="connsiteY38" fmla="*/ 13335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464" y="0"/>
                    </a:moveTo>
                    <a:cubicBezTo>
                      <a:pt x="284226" y="0"/>
                      <a:pt x="284988" y="0"/>
                      <a:pt x="285750" y="95"/>
                    </a:cubicBezTo>
                    <a:lnTo>
                      <a:pt x="285750" y="123825"/>
                    </a:lnTo>
                    <a:lnTo>
                      <a:pt x="285845" y="125540"/>
                    </a:lnTo>
                    <a:cubicBezTo>
                      <a:pt x="286703" y="140494"/>
                      <a:pt x="299085" y="152400"/>
                      <a:pt x="314325" y="152400"/>
                    </a:cubicBezTo>
                    <a:lnTo>
                      <a:pt x="314325" y="152400"/>
                    </a:lnTo>
                    <a:lnTo>
                      <a:pt x="438055" y="152400"/>
                    </a:lnTo>
                    <a:cubicBezTo>
                      <a:pt x="438150" y="153162"/>
                      <a:pt x="438150" y="153924"/>
                      <a:pt x="438150" y="154686"/>
                    </a:cubicBezTo>
                    <a:lnTo>
                      <a:pt x="438150" y="504825"/>
                    </a:lnTo>
                    <a:cubicBezTo>
                      <a:pt x="438150" y="520637"/>
                      <a:pt x="425387" y="533400"/>
                      <a:pt x="409575" y="533400"/>
                    </a:cubicBezTo>
                    <a:lnTo>
                      <a:pt x="28575" y="533400"/>
                    </a:lnTo>
                    <a:cubicBezTo>
                      <a:pt x="12764" y="533400"/>
                      <a:pt x="0" y="520637"/>
                      <a:pt x="0" y="504825"/>
                    </a:cubicBezTo>
                    <a:lnTo>
                      <a:pt x="0" y="28575"/>
                    </a:lnTo>
                    <a:cubicBezTo>
                      <a:pt x="0" y="12763"/>
                      <a:pt x="12764" y="0"/>
                      <a:pt x="28575" y="0"/>
                    </a:cubicBezTo>
                    <a:lnTo>
                      <a:pt x="283464" y="0"/>
                    </a:lnTo>
                    <a:close/>
                    <a:moveTo>
                      <a:pt x="247650" y="200025"/>
                    </a:moveTo>
                    <a:lnTo>
                      <a:pt x="152400" y="200025"/>
                    </a:lnTo>
                    <a:lnTo>
                      <a:pt x="152400" y="409575"/>
                    </a:lnTo>
                    <a:lnTo>
                      <a:pt x="171450" y="409575"/>
                    </a:lnTo>
                    <a:lnTo>
                      <a:pt x="171450" y="314325"/>
                    </a:lnTo>
                    <a:lnTo>
                      <a:pt x="247650" y="314325"/>
                    </a:lnTo>
                    <a:lnTo>
                      <a:pt x="249746" y="314325"/>
                    </a:lnTo>
                    <a:cubicBezTo>
                      <a:pt x="280321" y="313182"/>
                      <a:pt x="304800" y="288036"/>
                      <a:pt x="304800" y="257175"/>
                    </a:cubicBezTo>
                    <a:cubicBezTo>
                      <a:pt x="304800" y="225647"/>
                      <a:pt x="279178" y="200025"/>
                      <a:pt x="247650" y="200025"/>
                    </a:cubicBezTo>
                    <a:lnTo>
                      <a:pt x="247650" y="200025"/>
                    </a:lnTo>
                    <a:close/>
                    <a:moveTo>
                      <a:pt x="247650" y="219075"/>
                    </a:moveTo>
                    <a:cubicBezTo>
                      <a:pt x="268700" y="219075"/>
                      <a:pt x="285750" y="236125"/>
                      <a:pt x="285750" y="257175"/>
                    </a:cubicBezTo>
                    <a:cubicBezTo>
                      <a:pt x="285750" y="278225"/>
                      <a:pt x="268700" y="295275"/>
                      <a:pt x="247650" y="295275"/>
                    </a:cubicBezTo>
                    <a:lnTo>
                      <a:pt x="247650" y="295275"/>
                    </a:lnTo>
                    <a:lnTo>
                      <a:pt x="171450" y="295275"/>
                    </a:lnTo>
                    <a:lnTo>
                      <a:pt x="171450" y="219075"/>
                    </a:lnTo>
                    <a:lnTo>
                      <a:pt x="247650" y="219075"/>
                    </a:lnTo>
                    <a:close/>
                    <a:moveTo>
                      <a:pt x="428625" y="133350"/>
                    </a:moveTo>
                    <a:lnTo>
                      <a:pt x="314325" y="133350"/>
                    </a:lnTo>
                    <a:lnTo>
                      <a:pt x="313182" y="133255"/>
                    </a:lnTo>
                    <a:cubicBezTo>
                      <a:pt x="308515" y="132779"/>
                      <a:pt x="304800" y="128683"/>
                      <a:pt x="304800" y="123825"/>
                    </a:cubicBezTo>
                    <a:lnTo>
                      <a:pt x="304800" y="123825"/>
                    </a:lnTo>
                    <a:lnTo>
                      <a:pt x="304800" y="9525"/>
                    </a:lnTo>
                    <a:lnTo>
                      <a:pt x="428625" y="13335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" name="îṧlíḋe">
              <a:extLst>
                <a:ext uri="{FF2B5EF4-FFF2-40B4-BE49-F238E27FC236}">
                  <a16:creationId xmlns:a16="http://schemas.microsoft.com/office/drawing/2014/main" id="{EAD818ED-DCF9-4746-9C82-C126F9DBB52D}"/>
                </a:ext>
              </a:extLst>
            </p:cNvPr>
            <p:cNvGrpSpPr/>
            <p:nvPr/>
          </p:nvGrpSpPr>
          <p:grpSpPr>
            <a:xfrm>
              <a:off x="7874943" y="1713610"/>
              <a:ext cx="3643957" cy="1568541"/>
              <a:chOff x="7874943" y="1768563"/>
              <a:chExt cx="3643957" cy="1568541"/>
            </a:xfrm>
          </p:grpSpPr>
          <p:sp>
            <p:nvSpPr>
              <p:cNvPr id="42" name="íśḻiḓè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7874943" y="2156159"/>
                <a:ext cx="3643957" cy="1180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3" name="îŝļíd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7874943" y="1768563"/>
                <a:ext cx="364395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33" name="iS1íḍe">
              <a:extLst>
                <a:ext uri="{FF2B5EF4-FFF2-40B4-BE49-F238E27FC236}">
                  <a16:creationId xmlns:a16="http://schemas.microsoft.com/office/drawing/2014/main" id="{9A19D9D0-8D49-4646-A250-DBF0F99A333D}"/>
                </a:ext>
              </a:extLst>
            </p:cNvPr>
            <p:cNvGrpSpPr/>
            <p:nvPr/>
          </p:nvGrpSpPr>
          <p:grpSpPr>
            <a:xfrm>
              <a:off x="660400" y="1713610"/>
              <a:ext cx="3643957" cy="1568541"/>
              <a:chOff x="660400" y="1768563"/>
              <a:chExt cx="3643957" cy="1568541"/>
            </a:xfrm>
          </p:grpSpPr>
          <p:sp>
            <p:nvSpPr>
              <p:cNvPr id="40" name="íṡḻîďé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60400" y="2156159"/>
                <a:ext cx="3643957" cy="1180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1" name="isľiḑ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60400" y="1768563"/>
                <a:ext cx="364395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34" name="ísļîḍé">
              <a:extLst>
                <a:ext uri="{FF2B5EF4-FFF2-40B4-BE49-F238E27FC236}">
                  <a16:creationId xmlns:a16="http://schemas.microsoft.com/office/drawing/2014/main" id="{8930925B-03C5-4654-8149-28DF77307DA6}"/>
                </a:ext>
              </a:extLst>
            </p:cNvPr>
            <p:cNvGrpSpPr/>
            <p:nvPr/>
          </p:nvGrpSpPr>
          <p:grpSpPr>
            <a:xfrm>
              <a:off x="7874943" y="3982250"/>
              <a:ext cx="3643957" cy="1568541"/>
              <a:chOff x="7874943" y="4171356"/>
              <a:chExt cx="3643957" cy="1568541"/>
            </a:xfrm>
          </p:grpSpPr>
          <p:sp>
            <p:nvSpPr>
              <p:cNvPr id="38" name="íSḻîḍ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7874943" y="4558952"/>
                <a:ext cx="3643957" cy="1180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9" name="ïśliḑ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7874943" y="4171356"/>
                <a:ext cx="364395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  <p:grpSp>
          <p:nvGrpSpPr>
            <p:cNvPr id="35" name="ïṡľidê">
              <a:extLst>
                <a:ext uri="{FF2B5EF4-FFF2-40B4-BE49-F238E27FC236}">
                  <a16:creationId xmlns:a16="http://schemas.microsoft.com/office/drawing/2014/main" id="{40CD2EC9-8F34-402F-B599-3BB4422885AD}"/>
                </a:ext>
              </a:extLst>
            </p:cNvPr>
            <p:cNvGrpSpPr/>
            <p:nvPr/>
          </p:nvGrpSpPr>
          <p:grpSpPr>
            <a:xfrm>
              <a:off x="660400" y="3982250"/>
              <a:ext cx="3643957" cy="1568541"/>
              <a:chOff x="660400" y="4171356"/>
              <a:chExt cx="3643957" cy="1568541"/>
            </a:xfrm>
          </p:grpSpPr>
          <p:sp>
            <p:nvSpPr>
              <p:cNvPr id="36" name="íṧľídé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60400" y="4558952"/>
                <a:ext cx="3643957" cy="1180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100" dirty="0"/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7" name="iṡ1íďê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60400" y="4171356"/>
                <a:ext cx="364395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dirty="0"/>
                  <a:t>Text her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35561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ļ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1ïḓé">
            <a:extLst>
              <a:ext uri="{FF2B5EF4-FFF2-40B4-BE49-F238E27FC236}">
                <a16:creationId xmlns:a16="http://schemas.microsoft.com/office/drawing/2014/main" id="{928261F2-3281-4458-87FA-D75C91D89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sļide">
            <a:extLst>
              <a:ext uri="{FF2B5EF4-FFF2-40B4-BE49-F238E27FC236}">
                <a16:creationId xmlns:a16="http://schemas.microsoft.com/office/drawing/2014/main" id="{11DE82AD-5B1A-44EF-95D7-6E5B9BC46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$1îḋé">
            <a:extLst>
              <a:ext uri="{FF2B5EF4-FFF2-40B4-BE49-F238E27FC236}">
                <a16:creationId xmlns:a16="http://schemas.microsoft.com/office/drawing/2014/main" id="{9CEAE04A-1EB3-4FF9-8F1E-FA5034191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pSp>
        <p:nvGrpSpPr>
          <p:cNvPr id="79" name="iSḻíḑ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F3F459-479B-457C-B246-F6251EBE40FA}"/>
              </a:ext>
            </a:extLst>
          </p:cNvPr>
          <p:cNvGrpSpPr>
            <a:grpSpLocks noChangeAspect="1"/>
          </p:cNvGrpSpPr>
          <p:nvPr/>
        </p:nvGrpSpPr>
        <p:grpSpPr>
          <a:xfrm>
            <a:off x="1684562" y="1222824"/>
            <a:ext cx="8822877" cy="4923976"/>
            <a:chOff x="1684562" y="1222824"/>
            <a:chExt cx="8822877" cy="4923976"/>
          </a:xfrm>
        </p:grpSpPr>
        <p:grpSp>
          <p:nvGrpSpPr>
            <p:cNvPr id="80" name="iṡlíḍe">
              <a:extLst>
                <a:ext uri="{FF2B5EF4-FFF2-40B4-BE49-F238E27FC236}">
                  <a16:creationId xmlns:a16="http://schemas.microsoft.com/office/drawing/2014/main" id="{5632BEF4-95E4-4031-A712-2F3C483ED45B}"/>
                </a:ext>
              </a:extLst>
            </p:cNvPr>
            <p:cNvGrpSpPr/>
            <p:nvPr/>
          </p:nvGrpSpPr>
          <p:grpSpPr>
            <a:xfrm>
              <a:off x="8240697" y="1222824"/>
              <a:ext cx="2266742" cy="4923976"/>
              <a:chOff x="9180333" y="1222824"/>
              <a:chExt cx="2266742" cy="4923976"/>
            </a:xfrm>
          </p:grpSpPr>
          <p:sp>
            <p:nvSpPr>
              <p:cNvPr id="93" name="îṩlidè">
                <a:extLst>
                  <a:ext uri="{FF2B5EF4-FFF2-40B4-BE49-F238E27FC236}">
                    <a16:creationId xmlns:a16="http://schemas.microsoft.com/office/drawing/2014/main" id="{9E78ACDC-D7C5-42EC-A8ED-EB7101964FB0}"/>
                  </a:ext>
                </a:extLst>
              </p:cNvPr>
              <p:cNvSpPr/>
              <p:nvPr/>
            </p:nvSpPr>
            <p:spPr>
              <a:xfrm flipH="1">
                <a:off x="10783882" y="3823950"/>
                <a:ext cx="107755" cy="148302"/>
              </a:xfrm>
              <a:custGeom>
                <a:avLst/>
                <a:gdLst/>
                <a:ahLst/>
                <a:cxnLst/>
                <a:rect l="l" t="t" r="r" b="b"/>
                <a:pathLst>
                  <a:path w="82" h="113" extrusionOk="0">
                    <a:moveTo>
                      <a:pt x="81" y="107"/>
                    </a:moveTo>
                    <a:cubicBezTo>
                      <a:pt x="81" y="109"/>
                      <a:pt x="80" y="110"/>
                      <a:pt x="79" y="111"/>
                    </a:cubicBezTo>
                    <a:cubicBezTo>
                      <a:pt x="78" y="112"/>
                      <a:pt x="77" y="113"/>
                      <a:pt x="75" y="113"/>
                    </a:cubicBezTo>
                    <a:cubicBezTo>
                      <a:pt x="74" y="113"/>
                      <a:pt x="74" y="113"/>
                      <a:pt x="73" y="113"/>
                    </a:cubicBezTo>
                    <a:cubicBezTo>
                      <a:pt x="72" y="113"/>
                      <a:pt x="71" y="113"/>
                      <a:pt x="70" y="113"/>
                    </a:cubicBezTo>
                    <a:cubicBezTo>
                      <a:pt x="70" y="113"/>
                      <a:pt x="69" y="112"/>
                      <a:pt x="68" y="112"/>
                    </a:cubicBezTo>
                    <a:cubicBezTo>
                      <a:pt x="68" y="112"/>
                      <a:pt x="67" y="111"/>
                      <a:pt x="67" y="110"/>
                    </a:cubicBezTo>
                    <a:cubicBezTo>
                      <a:pt x="66" y="109"/>
                      <a:pt x="65" y="108"/>
                      <a:pt x="65" y="106"/>
                    </a:cubicBezTo>
                    <a:cubicBezTo>
                      <a:pt x="65" y="104"/>
                      <a:pt x="65" y="103"/>
                      <a:pt x="64" y="101"/>
                    </a:cubicBezTo>
                    <a:cubicBezTo>
                      <a:pt x="64" y="99"/>
                      <a:pt x="64" y="97"/>
                      <a:pt x="64" y="95"/>
                    </a:cubicBezTo>
                    <a:cubicBezTo>
                      <a:pt x="63" y="93"/>
                      <a:pt x="63" y="91"/>
                      <a:pt x="63" y="89"/>
                    </a:cubicBezTo>
                    <a:cubicBezTo>
                      <a:pt x="62" y="88"/>
                      <a:pt x="60" y="88"/>
                      <a:pt x="59" y="87"/>
                    </a:cubicBezTo>
                    <a:cubicBezTo>
                      <a:pt x="58" y="87"/>
                      <a:pt x="56" y="87"/>
                      <a:pt x="55" y="87"/>
                    </a:cubicBezTo>
                    <a:cubicBezTo>
                      <a:pt x="52" y="87"/>
                      <a:pt x="49" y="87"/>
                      <a:pt x="46" y="87"/>
                    </a:cubicBezTo>
                    <a:cubicBezTo>
                      <a:pt x="43" y="88"/>
                      <a:pt x="40" y="88"/>
                      <a:pt x="37" y="89"/>
                    </a:cubicBezTo>
                    <a:cubicBezTo>
                      <a:pt x="34" y="89"/>
                      <a:pt x="32" y="90"/>
                      <a:pt x="29" y="91"/>
                    </a:cubicBezTo>
                    <a:cubicBezTo>
                      <a:pt x="27" y="92"/>
                      <a:pt x="24" y="93"/>
                      <a:pt x="22" y="94"/>
                    </a:cubicBezTo>
                    <a:cubicBezTo>
                      <a:pt x="20" y="96"/>
                      <a:pt x="19" y="98"/>
                      <a:pt x="19" y="100"/>
                    </a:cubicBezTo>
                    <a:cubicBezTo>
                      <a:pt x="18" y="102"/>
                      <a:pt x="18" y="104"/>
                      <a:pt x="18" y="106"/>
                    </a:cubicBezTo>
                    <a:cubicBezTo>
                      <a:pt x="18" y="107"/>
                      <a:pt x="17" y="108"/>
                      <a:pt x="17" y="109"/>
                    </a:cubicBezTo>
                    <a:cubicBezTo>
                      <a:pt x="17" y="110"/>
                      <a:pt x="16" y="110"/>
                      <a:pt x="16" y="111"/>
                    </a:cubicBezTo>
                    <a:cubicBezTo>
                      <a:pt x="15" y="112"/>
                      <a:pt x="14" y="112"/>
                      <a:pt x="13" y="113"/>
                    </a:cubicBezTo>
                    <a:cubicBezTo>
                      <a:pt x="13" y="113"/>
                      <a:pt x="12" y="113"/>
                      <a:pt x="11" y="113"/>
                    </a:cubicBezTo>
                    <a:cubicBezTo>
                      <a:pt x="9" y="113"/>
                      <a:pt x="7" y="112"/>
                      <a:pt x="6" y="111"/>
                    </a:cubicBezTo>
                    <a:cubicBezTo>
                      <a:pt x="5" y="110"/>
                      <a:pt x="4" y="109"/>
                      <a:pt x="3" y="107"/>
                    </a:cubicBezTo>
                    <a:cubicBezTo>
                      <a:pt x="1" y="104"/>
                      <a:pt x="0" y="101"/>
                      <a:pt x="0" y="98"/>
                    </a:cubicBezTo>
                    <a:cubicBezTo>
                      <a:pt x="0" y="94"/>
                      <a:pt x="1" y="91"/>
                      <a:pt x="2" y="88"/>
                    </a:cubicBezTo>
                    <a:cubicBezTo>
                      <a:pt x="3" y="84"/>
                      <a:pt x="4" y="81"/>
                      <a:pt x="6" y="78"/>
                    </a:cubicBezTo>
                    <a:cubicBezTo>
                      <a:pt x="7" y="75"/>
                      <a:pt x="9" y="71"/>
                      <a:pt x="11" y="67"/>
                    </a:cubicBezTo>
                    <a:cubicBezTo>
                      <a:pt x="12" y="64"/>
                      <a:pt x="14" y="60"/>
                      <a:pt x="16" y="57"/>
                    </a:cubicBezTo>
                    <a:cubicBezTo>
                      <a:pt x="17" y="51"/>
                      <a:pt x="19" y="46"/>
                      <a:pt x="21" y="40"/>
                    </a:cubicBezTo>
                    <a:cubicBezTo>
                      <a:pt x="23" y="35"/>
                      <a:pt x="25" y="30"/>
                      <a:pt x="27" y="24"/>
                    </a:cubicBezTo>
                    <a:cubicBezTo>
                      <a:pt x="28" y="22"/>
                      <a:pt x="29" y="20"/>
                      <a:pt x="30" y="17"/>
                    </a:cubicBezTo>
                    <a:cubicBezTo>
                      <a:pt x="31" y="14"/>
                      <a:pt x="33" y="12"/>
                      <a:pt x="34" y="10"/>
                    </a:cubicBezTo>
                    <a:cubicBezTo>
                      <a:pt x="35" y="7"/>
                      <a:pt x="37" y="5"/>
                      <a:pt x="39" y="4"/>
                    </a:cubicBezTo>
                    <a:cubicBezTo>
                      <a:pt x="41" y="2"/>
                      <a:pt x="43" y="1"/>
                      <a:pt x="46" y="0"/>
                    </a:cubicBezTo>
                    <a:cubicBezTo>
                      <a:pt x="48" y="0"/>
                      <a:pt x="51" y="0"/>
                      <a:pt x="53" y="1"/>
                    </a:cubicBezTo>
                    <a:cubicBezTo>
                      <a:pt x="55" y="3"/>
                      <a:pt x="57" y="4"/>
                      <a:pt x="58" y="5"/>
                    </a:cubicBezTo>
                    <a:cubicBezTo>
                      <a:pt x="60" y="7"/>
                      <a:pt x="62" y="9"/>
                      <a:pt x="63" y="11"/>
                    </a:cubicBezTo>
                    <a:cubicBezTo>
                      <a:pt x="64" y="13"/>
                      <a:pt x="65" y="15"/>
                      <a:pt x="66" y="17"/>
                    </a:cubicBezTo>
                    <a:cubicBezTo>
                      <a:pt x="67" y="19"/>
                      <a:pt x="67" y="22"/>
                      <a:pt x="68" y="24"/>
                    </a:cubicBezTo>
                    <a:cubicBezTo>
                      <a:pt x="68" y="26"/>
                      <a:pt x="69" y="29"/>
                      <a:pt x="69" y="31"/>
                    </a:cubicBezTo>
                    <a:cubicBezTo>
                      <a:pt x="71" y="40"/>
                      <a:pt x="73" y="50"/>
                      <a:pt x="75" y="59"/>
                    </a:cubicBezTo>
                    <a:cubicBezTo>
                      <a:pt x="77" y="68"/>
                      <a:pt x="78" y="78"/>
                      <a:pt x="80" y="87"/>
                    </a:cubicBezTo>
                    <a:cubicBezTo>
                      <a:pt x="80" y="89"/>
                      <a:pt x="80" y="90"/>
                      <a:pt x="80" y="92"/>
                    </a:cubicBezTo>
                    <a:cubicBezTo>
                      <a:pt x="81" y="93"/>
                      <a:pt x="81" y="95"/>
                      <a:pt x="81" y="97"/>
                    </a:cubicBezTo>
                    <a:cubicBezTo>
                      <a:pt x="81" y="98"/>
                      <a:pt x="82" y="100"/>
                      <a:pt x="82" y="102"/>
                    </a:cubicBezTo>
                    <a:cubicBezTo>
                      <a:pt x="82" y="103"/>
                      <a:pt x="82" y="105"/>
                      <a:pt x="81" y="107"/>
                    </a:cubicBezTo>
                    <a:close/>
                    <a:moveTo>
                      <a:pt x="56" y="61"/>
                    </a:moveTo>
                    <a:cubicBezTo>
                      <a:pt x="56" y="58"/>
                      <a:pt x="55" y="55"/>
                      <a:pt x="55" y="52"/>
                    </a:cubicBezTo>
                    <a:cubicBezTo>
                      <a:pt x="54" y="48"/>
                      <a:pt x="54" y="45"/>
                      <a:pt x="53" y="42"/>
                    </a:cubicBezTo>
                    <a:cubicBezTo>
                      <a:pt x="52" y="39"/>
                      <a:pt x="51" y="36"/>
                      <a:pt x="51" y="33"/>
                    </a:cubicBezTo>
                    <a:cubicBezTo>
                      <a:pt x="50" y="30"/>
                      <a:pt x="49" y="26"/>
                      <a:pt x="48" y="23"/>
                    </a:cubicBezTo>
                    <a:cubicBezTo>
                      <a:pt x="45" y="26"/>
                      <a:pt x="43" y="29"/>
                      <a:pt x="41" y="32"/>
                    </a:cubicBezTo>
                    <a:cubicBezTo>
                      <a:pt x="40" y="35"/>
                      <a:pt x="38" y="39"/>
                      <a:pt x="37" y="42"/>
                    </a:cubicBezTo>
                    <a:cubicBezTo>
                      <a:pt x="35" y="45"/>
                      <a:pt x="34" y="49"/>
                      <a:pt x="33" y="52"/>
                    </a:cubicBezTo>
                    <a:cubicBezTo>
                      <a:pt x="32" y="56"/>
                      <a:pt x="31" y="59"/>
                      <a:pt x="31" y="63"/>
                    </a:cubicBezTo>
                    <a:cubicBezTo>
                      <a:pt x="31" y="64"/>
                      <a:pt x="31" y="64"/>
                      <a:pt x="31" y="64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6"/>
                      <a:pt x="31" y="66"/>
                      <a:pt x="31" y="66"/>
                    </a:cubicBezTo>
                    <a:cubicBezTo>
                      <a:pt x="31" y="67"/>
                      <a:pt x="30" y="67"/>
                      <a:pt x="30" y="68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1" y="69"/>
                      <a:pt x="32" y="69"/>
                      <a:pt x="33" y="69"/>
                    </a:cubicBezTo>
                    <a:cubicBezTo>
                      <a:pt x="34" y="69"/>
                      <a:pt x="35" y="69"/>
                      <a:pt x="36" y="69"/>
                    </a:cubicBezTo>
                    <a:cubicBezTo>
                      <a:pt x="37" y="69"/>
                      <a:pt x="38" y="69"/>
                      <a:pt x="39" y="69"/>
                    </a:cubicBezTo>
                    <a:cubicBezTo>
                      <a:pt x="40" y="69"/>
                      <a:pt x="41" y="69"/>
                      <a:pt x="42" y="69"/>
                    </a:cubicBezTo>
                    <a:cubicBezTo>
                      <a:pt x="44" y="69"/>
                      <a:pt x="45" y="69"/>
                      <a:pt x="46" y="69"/>
                    </a:cubicBezTo>
                    <a:cubicBezTo>
                      <a:pt x="48" y="69"/>
                      <a:pt x="49" y="68"/>
                      <a:pt x="51" y="68"/>
                    </a:cubicBezTo>
                    <a:cubicBezTo>
                      <a:pt x="52" y="67"/>
                      <a:pt x="53" y="66"/>
                      <a:pt x="54" y="65"/>
                    </a:cubicBezTo>
                    <a:cubicBezTo>
                      <a:pt x="55" y="64"/>
                      <a:pt x="55" y="63"/>
                      <a:pt x="5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4" name="ïṩ1ïḓe">
                <a:extLst>
                  <a:ext uri="{FF2B5EF4-FFF2-40B4-BE49-F238E27FC236}">
                    <a16:creationId xmlns:a16="http://schemas.microsoft.com/office/drawing/2014/main" id="{D8B8C4BC-85E2-414E-BFA9-0BC6BA6A4B11}"/>
                  </a:ext>
                </a:extLst>
              </p:cNvPr>
              <p:cNvSpPr/>
              <p:nvPr/>
            </p:nvSpPr>
            <p:spPr>
              <a:xfrm flipH="1">
                <a:off x="10539489" y="4051125"/>
                <a:ext cx="172185" cy="224397"/>
              </a:xfrm>
              <a:custGeom>
                <a:avLst/>
                <a:gdLst/>
                <a:ahLst/>
                <a:cxnLst/>
                <a:rect l="l" t="t" r="r" b="b"/>
                <a:pathLst>
                  <a:path w="131" h="171" extrusionOk="0">
                    <a:moveTo>
                      <a:pt x="129" y="75"/>
                    </a:moveTo>
                    <a:cubicBezTo>
                      <a:pt x="131" y="80"/>
                      <a:pt x="131" y="85"/>
                      <a:pt x="131" y="89"/>
                    </a:cubicBezTo>
                    <a:cubicBezTo>
                      <a:pt x="130" y="94"/>
                      <a:pt x="129" y="99"/>
                      <a:pt x="127" y="103"/>
                    </a:cubicBezTo>
                    <a:cubicBezTo>
                      <a:pt x="126" y="108"/>
                      <a:pt x="124" y="112"/>
                      <a:pt x="121" y="117"/>
                    </a:cubicBezTo>
                    <a:cubicBezTo>
                      <a:pt x="118" y="121"/>
                      <a:pt x="115" y="125"/>
                      <a:pt x="113" y="128"/>
                    </a:cubicBezTo>
                    <a:cubicBezTo>
                      <a:pt x="109" y="133"/>
                      <a:pt x="106" y="137"/>
                      <a:pt x="102" y="141"/>
                    </a:cubicBezTo>
                    <a:cubicBezTo>
                      <a:pt x="98" y="145"/>
                      <a:pt x="94" y="149"/>
                      <a:pt x="90" y="153"/>
                    </a:cubicBezTo>
                    <a:cubicBezTo>
                      <a:pt x="86" y="156"/>
                      <a:pt x="82" y="159"/>
                      <a:pt x="78" y="163"/>
                    </a:cubicBezTo>
                    <a:cubicBezTo>
                      <a:pt x="74" y="166"/>
                      <a:pt x="70" y="168"/>
                      <a:pt x="65" y="170"/>
                    </a:cubicBezTo>
                    <a:cubicBezTo>
                      <a:pt x="60" y="171"/>
                      <a:pt x="56" y="170"/>
                      <a:pt x="52" y="168"/>
                    </a:cubicBezTo>
                    <a:cubicBezTo>
                      <a:pt x="48" y="167"/>
                      <a:pt x="44" y="164"/>
                      <a:pt x="41" y="160"/>
                    </a:cubicBezTo>
                    <a:cubicBezTo>
                      <a:pt x="38" y="157"/>
                      <a:pt x="35" y="153"/>
                      <a:pt x="33" y="148"/>
                    </a:cubicBezTo>
                    <a:cubicBezTo>
                      <a:pt x="31" y="144"/>
                      <a:pt x="29" y="140"/>
                      <a:pt x="27" y="136"/>
                    </a:cubicBezTo>
                    <a:cubicBezTo>
                      <a:pt x="25" y="132"/>
                      <a:pt x="24" y="127"/>
                      <a:pt x="23" y="122"/>
                    </a:cubicBezTo>
                    <a:cubicBezTo>
                      <a:pt x="21" y="118"/>
                      <a:pt x="20" y="113"/>
                      <a:pt x="19" y="109"/>
                    </a:cubicBezTo>
                    <a:cubicBezTo>
                      <a:pt x="18" y="104"/>
                      <a:pt x="17" y="99"/>
                      <a:pt x="16" y="94"/>
                    </a:cubicBezTo>
                    <a:cubicBezTo>
                      <a:pt x="15" y="90"/>
                      <a:pt x="13" y="85"/>
                      <a:pt x="12" y="80"/>
                    </a:cubicBezTo>
                    <a:cubicBezTo>
                      <a:pt x="11" y="77"/>
                      <a:pt x="10" y="75"/>
                      <a:pt x="9" y="72"/>
                    </a:cubicBezTo>
                    <a:cubicBezTo>
                      <a:pt x="8" y="70"/>
                      <a:pt x="7" y="67"/>
                      <a:pt x="6" y="65"/>
                    </a:cubicBezTo>
                    <a:cubicBezTo>
                      <a:pt x="5" y="62"/>
                      <a:pt x="4" y="59"/>
                      <a:pt x="3" y="57"/>
                    </a:cubicBezTo>
                    <a:cubicBezTo>
                      <a:pt x="2" y="54"/>
                      <a:pt x="1" y="51"/>
                      <a:pt x="0" y="49"/>
                    </a:cubicBezTo>
                    <a:cubicBezTo>
                      <a:pt x="0" y="43"/>
                      <a:pt x="0" y="39"/>
                      <a:pt x="2" y="34"/>
                    </a:cubicBezTo>
                    <a:cubicBezTo>
                      <a:pt x="4" y="30"/>
                      <a:pt x="7" y="26"/>
                      <a:pt x="10" y="23"/>
                    </a:cubicBezTo>
                    <a:cubicBezTo>
                      <a:pt x="13" y="19"/>
                      <a:pt x="17" y="16"/>
                      <a:pt x="21" y="14"/>
                    </a:cubicBezTo>
                    <a:cubicBezTo>
                      <a:pt x="25" y="11"/>
                      <a:pt x="29" y="9"/>
                      <a:pt x="33" y="7"/>
                    </a:cubicBezTo>
                    <a:cubicBezTo>
                      <a:pt x="38" y="5"/>
                      <a:pt x="42" y="3"/>
                      <a:pt x="47" y="2"/>
                    </a:cubicBezTo>
                    <a:cubicBezTo>
                      <a:pt x="52" y="1"/>
                      <a:pt x="56" y="0"/>
                      <a:pt x="61" y="0"/>
                    </a:cubicBezTo>
                    <a:cubicBezTo>
                      <a:pt x="63" y="0"/>
                      <a:pt x="66" y="0"/>
                      <a:pt x="68" y="1"/>
                    </a:cubicBezTo>
                    <a:cubicBezTo>
                      <a:pt x="70" y="1"/>
                      <a:pt x="73" y="2"/>
                      <a:pt x="75" y="3"/>
                    </a:cubicBezTo>
                    <a:cubicBezTo>
                      <a:pt x="77" y="4"/>
                      <a:pt x="79" y="5"/>
                      <a:pt x="80" y="7"/>
                    </a:cubicBezTo>
                    <a:cubicBezTo>
                      <a:pt x="82" y="9"/>
                      <a:pt x="83" y="11"/>
                      <a:pt x="84" y="13"/>
                    </a:cubicBezTo>
                    <a:cubicBezTo>
                      <a:pt x="85" y="15"/>
                      <a:pt x="86" y="18"/>
                      <a:pt x="87" y="21"/>
                    </a:cubicBezTo>
                    <a:cubicBezTo>
                      <a:pt x="88" y="23"/>
                      <a:pt x="88" y="26"/>
                      <a:pt x="88" y="29"/>
                    </a:cubicBezTo>
                    <a:cubicBezTo>
                      <a:pt x="88" y="32"/>
                      <a:pt x="87" y="34"/>
                      <a:pt x="87" y="37"/>
                    </a:cubicBezTo>
                    <a:cubicBezTo>
                      <a:pt x="86" y="39"/>
                      <a:pt x="86" y="42"/>
                      <a:pt x="85" y="45"/>
                    </a:cubicBezTo>
                    <a:cubicBezTo>
                      <a:pt x="90" y="44"/>
                      <a:pt x="95" y="44"/>
                      <a:pt x="99" y="46"/>
                    </a:cubicBezTo>
                    <a:cubicBezTo>
                      <a:pt x="104" y="47"/>
                      <a:pt x="108" y="50"/>
                      <a:pt x="112" y="53"/>
                    </a:cubicBezTo>
                    <a:cubicBezTo>
                      <a:pt x="116" y="56"/>
                      <a:pt x="119" y="59"/>
                      <a:pt x="122" y="63"/>
                    </a:cubicBezTo>
                    <a:cubicBezTo>
                      <a:pt x="126" y="66"/>
                      <a:pt x="128" y="70"/>
                      <a:pt x="129" y="75"/>
                    </a:cubicBezTo>
                    <a:close/>
                    <a:moveTo>
                      <a:pt x="99" y="81"/>
                    </a:moveTo>
                    <a:cubicBezTo>
                      <a:pt x="98" y="78"/>
                      <a:pt x="96" y="76"/>
                      <a:pt x="94" y="74"/>
                    </a:cubicBezTo>
                    <a:cubicBezTo>
                      <a:pt x="92" y="72"/>
                      <a:pt x="89" y="70"/>
                      <a:pt x="87" y="69"/>
                    </a:cubicBezTo>
                    <a:cubicBezTo>
                      <a:pt x="85" y="69"/>
                      <a:pt x="84" y="69"/>
                      <a:pt x="84" y="69"/>
                    </a:cubicBezTo>
                    <a:cubicBezTo>
                      <a:pt x="84" y="69"/>
                      <a:pt x="83" y="69"/>
                      <a:pt x="83" y="69"/>
                    </a:cubicBezTo>
                    <a:cubicBezTo>
                      <a:pt x="80" y="70"/>
                      <a:pt x="77" y="71"/>
                      <a:pt x="75" y="73"/>
                    </a:cubicBezTo>
                    <a:cubicBezTo>
                      <a:pt x="72" y="74"/>
                      <a:pt x="69" y="76"/>
                      <a:pt x="67" y="78"/>
                    </a:cubicBezTo>
                    <a:cubicBezTo>
                      <a:pt x="64" y="80"/>
                      <a:pt x="62" y="82"/>
                      <a:pt x="60" y="84"/>
                    </a:cubicBezTo>
                    <a:cubicBezTo>
                      <a:pt x="58" y="87"/>
                      <a:pt x="56" y="89"/>
                      <a:pt x="54" y="92"/>
                    </a:cubicBezTo>
                    <a:cubicBezTo>
                      <a:pt x="53" y="95"/>
                      <a:pt x="51" y="97"/>
                      <a:pt x="50" y="100"/>
                    </a:cubicBezTo>
                    <a:cubicBezTo>
                      <a:pt x="49" y="103"/>
                      <a:pt x="49" y="106"/>
                      <a:pt x="49" y="109"/>
                    </a:cubicBezTo>
                    <a:cubicBezTo>
                      <a:pt x="48" y="112"/>
                      <a:pt x="49" y="115"/>
                      <a:pt x="49" y="118"/>
                    </a:cubicBezTo>
                    <a:cubicBezTo>
                      <a:pt x="50" y="121"/>
                      <a:pt x="50" y="124"/>
                      <a:pt x="52" y="127"/>
                    </a:cubicBezTo>
                    <a:cubicBezTo>
                      <a:pt x="52" y="129"/>
                      <a:pt x="53" y="130"/>
                      <a:pt x="54" y="132"/>
                    </a:cubicBezTo>
                    <a:cubicBezTo>
                      <a:pt x="55" y="133"/>
                      <a:pt x="57" y="134"/>
                      <a:pt x="58" y="135"/>
                    </a:cubicBezTo>
                    <a:cubicBezTo>
                      <a:pt x="60" y="136"/>
                      <a:pt x="61" y="136"/>
                      <a:pt x="63" y="137"/>
                    </a:cubicBezTo>
                    <a:cubicBezTo>
                      <a:pt x="65" y="137"/>
                      <a:pt x="67" y="136"/>
                      <a:pt x="69" y="135"/>
                    </a:cubicBezTo>
                    <a:cubicBezTo>
                      <a:pt x="74" y="133"/>
                      <a:pt x="78" y="130"/>
                      <a:pt x="82" y="126"/>
                    </a:cubicBezTo>
                    <a:cubicBezTo>
                      <a:pt x="86" y="122"/>
                      <a:pt x="90" y="118"/>
                      <a:pt x="93" y="113"/>
                    </a:cubicBezTo>
                    <a:cubicBezTo>
                      <a:pt x="94" y="110"/>
                      <a:pt x="96" y="108"/>
                      <a:pt x="97" y="105"/>
                    </a:cubicBezTo>
                    <a:cubicBezTo>
                      <a:pt x="98" y="103"/>
                      <a:pt x="99" y="100"/>
                      <a:pt x="99" y="97"/>
                    </a:cubicBezTo>
                    <a:cubicBezTo>
                      <a:pt x="100" y="95"/>
                      <a:pt x="100" y="92"/>
                      <a:pt x="100" y="89"/>
                    </a:cubicBezTo>
                    <a:cubicBezTo>
                      <a:pt x="100" y="87"/>
                      <a:pt x="100" y="84"/>
                      <a:pt x="99" y="81"/>
                    </a:cubicBezTo>
                    <a:close/>
                    <a:moveTo>
                      <a:pt x="62" y="34"/>
                    </a:moveTo>
                    <a:cubicBezTo>
                      <a:pt x="61" y="32"/>
                      <a:pt x="60" y="31"/>
                      <a:pt x="59" y="30"/>
                    </a:cubicBezTo>
                    <a:cubicBezTo>
                      <a:pt x="57" y="28"/>
                      <a:pt x="55" y="28"/>
                      <a:pt x="54" y="27"/>
                    </a:cubicBezTo>
                    <a:cubicBezTo>
                      <a:pt x="52" y="27"/>
                      <a:pt x="50" y="27"/>
                      <a:pt x="48" y="28"/>
                    </a:cubicBezTo>
                    <a:cubicBezTo>
                      <a:pt x="46" y="28"/>
                      <a:pt x="44" y="29"/>
                      <a:pt x="42" y="30"/>
                    </a:cubicBezTo>
                    <a:cubicBezTo>
                      <a:pt x="40" y="31"/>
                      <a:pt x="38" y="32"/>
                      <a:pt x="36" y="33"/>
                    </a:cubicBezTo>
                    <a:cubicBezTo>
                      <a:pt x="34" y="35"/>
                      <a:pt x="33" y="36"/>
                      <a:pt x="32" y="38"/>
                    </a:cubicBezTo>
                    <a:cubicBezTo>
                      <a:pt x="30" y="40"/>
                      <a:pt x="29" y="42"/>
                      <a:pt x="29" y="45"/>
                    </a:cubicBezTo>
                    <a:cubicBezTo>
                      <a:pt x="28" y="47"/>
                      <a:pt x="28" y="50"/>
                      <a:pt x="29" y="52"/>
                    </a:cubicBezTo>
                    <a:cubicBezTo>
                      <a:pt x="29" y="54"/>
                      <a:pt x="30" y="56"/>
                      <a:pt x="31" y="58"/>
                    </a:cubicBezTo>
                    <a:cubicBezTo>
                      <a:pt x="31" y="60"/>
                      <a:pt x="32" y="63"/>
                      <a:pt x="32" y="65"/>
                    </a:cubicBezTo>
                    <a:cubicBezTo>
                      <a:pt x="33" y="67"/>
                      <a:pt x="34" y="68"/>
                      <a:pt x="35" y="70"/>
                    </a:cubicBezTo>
                    <a:cubicBezTo>
                      <a:pt x="35" y="72"/>
                      <a:pt x="36" y="73"/>
                      <a:pt x="37" y="75"/>
                    </a:cubicBezTo>
                    <a:cubicBezTo>
                      <a:pt x="41" y="73"/>
                      <a:pt x="44" y="70"/>
                      <a:pt x="47" y="67"/>
                    </a:cubicBezTo>
                    <a:cubicBezTo>
                      <a:pt x="50" y="64"/>
                      <a:pt x="53" y="60"/>
                      <a:pt x="55" y="57"/>
                    </a:cubicBezTo>
                    <a:cubicBezTo>
                      <a:pt x="56" y="55"/>
                      <a:pt x="57" y="54"/>
                      <a:pt x="58" y="52"/>
                    </a:cubicBezTo>
                    <a:cubicBezTo>
                      <a:pt x="59" y="50"/>
                      <a:pt x="60" y="48"/>
                      <a:pt x="61" y="46"/>
                    </a:cubicBezTo>
                    <a:cubicBezTo>
                      <a:pt x="62" y="44"/>
                      <a:pt x="62" y="42"/>
                      <a:pt x="63" y="40"/>
                    </a:cubicBezTo>
                    <a:cubicBezTo>
                      <a:pt x="63" y="38"/>
                      <a:pt x="63" y="36"/>
                      <a:pt x="62" y="3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5" name="išlïḓê">
                <a:extLst>
                  <a:ext uri="{FF2B5EF4-FFF2-40B4-BE49-F238E27FC236}">
                    <a16:creationId xmlns:a16="http://schemas.microsoft.com/office/drawing/2014/main" id="{5D80F23E-0AEC-4B80-B611-607B391A2999}"/>
                  </a:ext>
                </a:extLst>
              </p:cNvPr>
              <p:cNvSpPr/>
              <p:nvPr/>
            </p:nvSpPr>
            <p:spPr>
              <a:xfrm flipH="1">
                <a:off x="10253439" y="3922263"/>
                <a:ext cx="79983" cy="85538"/>
              </a:xfrm>
              <a:custGeom>
                <a:avLst/>
                <a:gdLst/>
                <a:ahLst/>
                <a:cxnLst/>
                <a:rect l="l" t="t" r="r" b="b"/>
                <a:pathLst>
                  <a:path w="61" h="65" extrusionOk="0">
                    <a:moveTo>
                      <a:pt x="41" y="5"/>
                    </a:moveTo>
                    <a:cubicBezTo>
                      <a:pt x="44" y="7"/>
                      <a:pt x="46" y="8"/>
                      <a:pt x="47" y="10"/>
                    </a:cubicBezTo>
                    <a:cubicBezTo>
                      <a:pt x="49" y="12"/>
                      <a:pt x="51" y="14"/>
                      <a:pt x="52" y="17"/>
                    </a:cubicBezTo>
                    <a:cubicBezTo>
                      <a:pt x="54" y="19"/>
                      <a:pt x="55" y="21"/>
                      <a:pt x="56" y="24"/>
                    </a:cubicBezTo>
                    <a:cubicBezTo>
                      <a:pt x="57" y="26"/>
                      <a:pt x="58" y="29"/>
                      <a:pt x="59" y="31"/>
                    </a:cubicBezTo>
                    <a:cubicBezTo>
                      <a:pt x="60" y="34"/>
                      <a:pt x="60" y="36"/>
                      <a:pt x="61" y="39"/>
                    </a:cubicBezTo>
                    <a:cubicBezTo>
                      <a:pt x="61" y="42"/>
                      <a:pt x="61" y="44"/>
                      <a:pt x="61" y="47"/>
                    </a:cubicBezTo>
                    <a:cubicBezTo>
                      <a:pt x="61" y="49"/>
                      <a:pt x="60" y="52"/>
                      <a:pt x="59" y="54"/>
                    </a:cubicBezTo>
                    <a:cubicBezTo>
                      <a:pt x="59" y="57"/>
                      <a:pt x="57" y="59"/>
                      <a:pt x="56" y="61"/>
                    </a:cubicBezTo>
                    <a:cubicBezTo>
                      <a:pt x="55" y="62"/>
                      <a:pt x="54" y="63"/>
                      <a:pt x="53" y="64"/>
                    </a:cubicBezTo>
                    <a:cubicBezTo>
                      <a:pt x="52" y="64"/>
                      <a:pt x="51" y="65"/>
                      <a:pt x="50" y="65"/>
                    </a:cubicBezTo>
                    <a:cubicBezTo>
                      <a:pt x="48" y="65"/>
                      <a:pt x="47" y="65"/>
                      <a:pt x="46" y="65"/>
                    </a:cubicBezTo>
                    <a:cubicBezTo>
                      <a:pt x="45" y="64"/>
                      <a:pt x="44" y="64"/>
                      <a:pt x="43" y="63"/>
                    </a:cubicBezTo>
                    <a:cubicBezTo>
                      <a:pt x="42" y="63"/>
                      <a:pt x="41" y="62"/>
                      <a:pt x="41" y="62"/>
                    </a:cubicBezTo>
                    <a:cubicBezTo>
                      <a:pt x="40" y="61"/>
                      <a:pt x="39" y="61"/>
                      <a:pt x="39" y="60"/>
                    </a:cubicBezTo>
                    <a:cubicBezTo>
                      <a:pt x="38" y="60"/>
                      <a:pt x="37" y="59"/>
                      <a:pt x="37" y="59"/>
                    </a:cubicBezTo>
                    <a:cubicBezTo>
                      <a:pt x="36" y="58"/>
                      <a:pt x="35" y="58"/>
                      <a:pt x="35" y="57"/>
                    </a:cubicBezTo>
                    <a:cubicBezTo>
                      <a:pt x="34" y="57"/>
                      <a:pt x="33" y="56"/>
                      <a:pt x="33" y="56"/>
                    </a:cubicBezTo>
                    <a:cubicBezTo>
                      <a:pt x="32" y="55"/>
                      <a:pt x="31" y="55"/>
                      <a:pt x="30" y="54"/>
                    </a:cubicBezTo>
                    <a:cubicBezTo>
                      <a:pt x="29" y="53"/>
                      <a:pt x="28" y="53"/>
                      <a:pt x="27" y="52"/>
                    </a:cubicBezTo>
                    <a:cubicBezTo>
                      <a:pt x="26" y="51"/>
                      <a:pt x="25" y="50"/>
                      <a:pt x="24" y="49"/>
                    </a:cubicBezTo>
                    <a:cubicBezTo>
                      <a:pt x="23" y="49"/>
                      <a:pt x="21" y="48"/>
                      <a:pt x="20" y="47"/>
                    </a:cubicBezTo>
                    <a:cubicBezTo>
                      <a:pt x="19" y="46"/>
                      <a:pt x="18" y="45"/>
                      <a:pt x="17" y="45"/>
                    </a:cubicBezTo>
                    <a:cubicBezTo>
                      <a:pt x="16" y="43"/>
                      <a:pt x="14" y="42"/>
                      <a:pt x="13" y="41"/>
                    </a:cubicBezTo>
                    <a:cubicBezTo>
                      <a:pt x="11" y="40"/>
                      <a:pt x="10" y="38"/>
                      <a:pt x="8" y="37"/>
                    </a:cubicBezTo>
                    <a:cubicBezTo>
                      <a:pt x="7" y="36"/>
                      <a:pt x="5" y="35"/>
                      <a:pt x="4" y="33"/>
                    </a:cubicBezTo>
                    <a:cubicBezTo>
                      <a:pt x="2" y="32"/>
                      <a:pt x="1" y="30"/>
                      <a:pt x="0" y="29"/>
                    </a:cubicBezTo>
                    <a:cubicBezTo>
                      <a:pt x="0" y="27"/>
                      <a:pt x="1" y="26"/>
                      <a:pt x="1" y="25"/>
                    </a:cubicBezTo>
                    <a:cubicBezTo>
                      <a:pt x="2" y="23"/>
                      <a:pt x="2" y="22"/>
                      <a:pt x="3" y="21"/>
                    </a:cubicBezTo>
                    <a:cubicBezTo>
                      <a:pt x="3" y="19"/>
                      <a:pt x="4" y="18"/>
                      <a:pt x="5" y="16"/>
                    </a:cubicBezTo>
                    <a:cubicBezTo>
                      <a:pt x="5" y="15"/>
                      <a:pt x="6" y="13"/>
                      <a:pt x="7" y="12"/>
                    </a:cubicBezTo>
                    <a:cubicBezTo>
                      <a:pt x="8" y="10"/>
                      <a:pt x="9" y="8"/>
                      <a:pt x="11" y="6"/>
                    </a:cubicBezTo>
                    <a:cubicBezTo>
                      <a:pt x="12" y="5"/>
                      <a:pt x="14" y="4"/>
                      <a:pt x="16" y="3"/>
                    </a:cubicBezTo>
                    <a:cubicBezTo>
                      <a:pt x="18" y="2"/>
                      <a:pt x="20" y="1"/>
                      <a:pt x="22" y="1"/>
                    </a:cubicBezTo>
                    <a:cubicBezTo>
                      <a:pt x="25" y="0"/>
                      <a:pt x="27" y="0"/>
                      <a:pt x="29" y="0"/>
                    </a:cubicBezTo>
                    <a:cubicBezTo>
                      <a:pt x="31" y="1"/>
                      <a:pt x="33" y="1"/>
                      <a:pt x="35" y="2"/>
                    </a:cubicBezTo>
                    <a:cubicBezTo>
                      <a:pt x="38" y="3"/>
                      <a:pt x="40" y="4"/>
                      <a:pt x="41" y="5"/>
                    </a:cubicBezTo>
                    <a:close/>
                    <a:moveTo>
                      <a:pt x="34" y="13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8" y="9"/>
                      <a:pt x="26" y="9"/>
                      <a:pt x="25" y="9"/>
                    </a:cubicBezTo>
                    <a:cubicBezTo>
                      <a:pt x="24" y="9"/>
                      <a:pt x="23" y="9"/>
                      <a:pt x="23" y="10"/>
                    </a:cubicBezTo>
                    <a:cubicBezTo>
                      <a:pt x="22" y="10"/>
                      <a:pt x="21" y="11"/>
                      <a:pt x="21" y="11"/>
                    </a:cubicBezTo>
                    <a:cubicBezTo>
                      <a:pt x="20" y="12"/>
                      <a:pt x="20" y="12"/>
                      <a:pt x="19" y="13"/>
                    </a:cubicBezTo>
                    <a:cubicBezTo>
                      <a:pt x="19" y="14"/>
                      <a:pt x="18" y="14"/>
                      <a:pt x="18" y="15"/>
                    </a:cubicBezTo>
                    <a:cubicBezTo>
                      <a:pt x="17" y="16"/>
                      <a:pt x="17" y="17"/>
                      <a:pt x="16" y="17"/>
                    </a:cubicBezTo>
                    <a:cubicBezTo>
                      <a:pt x="16" y="18"/>
                      <a:pt x="16" y="19"/>
                      <a:pt x="15" y="20"/>
                    </a:cubicBezTo>
                    <a:cubicBezTo>
                      <a:pt x="15" y="20"/>
                      <a:pt x="14" y="21"/>
                      <a:pt x="14" y="22"/>
                    </a:cubicBezTo>
                    <a:cubicBezTo>
                      <a:pt x="14" y="22"/>
                      <a:pt x="13" y="23"/>
                      <a:pt x="13" y="24"/>
                    </a:cubicBezTo>
                    <a:cubicBezTo>
                      <a:pt x="13" y="26"/>
                      <a:pt x="14" y="28"/>
                      <a:pt x="16" y="29"/>
                    </a:cubicBezTo>
                    <a:cubicBezTo>
                      <a:pt x="17" y="31"/>
                      <a:pt x="18" y="32"/>
                      <a:pt x="20" y="34"/>
                    </a:cubicBezTo>
                    <a:cubicBezTo>
                      <a:pt x="22" y="35"/>
                      <a:pt x="23" y="36"/>
                      <a:pt x="25" y="37"/>
                    </a:cubicBezTo>
                    <a:cubicBezTo>
                      <a:pt x="27" y="39"/>
                      <a:pt x="28" y="40"/>
                      <a:pt x="30" y="41"/>
                    </a:cubicBezTo>
                    <a:cubicBezTo>
                      <a:pt x="32" y="43"/>
                      <a:pt x="35" y="45"/>
                      <a:pt x="38" y="46"/>
                    </a:cubicBezTo>
                    <a:cubicBezTo>
                      <a:pt x="40" y="48"/>
                      <a:pt x="43" y="50"/>
                      <a:pt x="46" y="51"/>
                    </a:cubicBezTo>
                    <a:cubicBezTo>
                      <a:pt x="47" y="49"/>
                      <a:pt x="48" y="48"/>
                      <a:pt x="48" y="46"/>
                    </a:cubicBezTo>
                    <a:cubicBezTo>
                      <a:pt x="48" y="44"/>
                      <a:pt x="48" y="42"/>
                      <a:pt x="48" y="41"/>
                    </a:cubicBezTo>
                    <a:cubicBezTo>
                      <a:pt x="48" y="39"/>
                      <a:pt x="47" y="37"/>
                      <a:pt x="47" y="35"/>
                    </a:cubicBezTo>
                    <a:cubicBezTo>
                      <a:pt x="46" y="34"/>
                      <a:pt x="46" y="32"/>
                      <a:pt x="45" y="30"/>
                    </a:cubicBezTo>
                    <a:cubicBezTo>
                      <a:pt x="45" y="29"/>
                      <a:pt x="44" y="27"/>
                      <a:pt x="43" y="25"/>
                    </a:cubicBezTo>
                    <a:cubicBezTo>
                      <a:pt x="43" y="24"/>
                      <a:pt x="42" y="22"/>
                      <a:pt x="41" y="21"/>
                    </a:cubicBezTo>
                    <a:cubicBezTo>
                      <a:pt x="40" y="19"/>
                      <a:pt x="39" y="18"/>
                      <a:pt x="38" y="16"/>
                    </a:cubicBezTo>
                    <a:cubicBezTo>
                      <a:pt x="37" y="15"/>
                      <a:pt x="35" y="14"/>
                      <a:pt x="34" y="1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6" name="ïṧliḍe">
                <a:extLst>
                  <a:ext uri="{FF2B5EF4-FFF2-40B4-BE49-F238E27FC236}">
                    <a16:creationId xmlns:a16="http://schemas.microsoft.com/office/drawing/2014/main" id="{FD04DB08-2919-46C2-B072-1CBD947DD8E5}"/>
                  </a:ext>
                </a:extLst>
              </p:cNvPr>
              <p:cNvSpPr/>
              <p:nvPr/>
            </p:nvSpPr>
            <p:spPr>
              <a:xfrm flipH="1">
                <a:off x="10876084" y="3742300"/>
                <a:ext cx="81094" cy="115532"/>
              </a:xfrm>
              <a:custGeom>
                <a:avLst/>
                <a:gdLst/>
                <a:ahLst/>
                <a:cxnLst/>
                <a:rect l="l" t="t" r="r" b="b"/>
                <a:pathLst>
                  <a:path w="62" h="88" extrusionOk="0">
                    <a:moveTo>
                      <a:pt x="62" y="27"/>
                    </a:moveTo>
                    <a:cubicBezTo>
                      <a:pt x="62" y="28"/>
                      <a:pt x="62" y="29"/>
                      <a:pt x="61" y="30"/>
                    </a:cubicBezTo>
                    <a:cubicBezTo>
                      <a:pt x="61" y="30"/>
                      <a:pt x="60" y="31"/>
                      <a:pt x="60" y="31"/>
                    </a:cubicBezTo>
                    <a:cubicBezTo>
                      <a:pt x="59" y="32"/>
                      <a:pt x="58" y="32"/>
                      <a:pt x="57" y="32"/>
                    </a:cubicBezTo>
                    <a:cubicBezTo>
                      <a:pt x="57" y="32"/>
                      <a:pt x="56" y="32"/>
                      <a:pt x="55" y="32"/>
                    </a:cubicBezTo>
                    <a:cubicBezTo>
                      <a:pt x="54" y="32"/>
                      <a:pt x="52" y="32"/>
                      <a:pt x="51" y="31"/>
                    </a:cubicBezTo>
                    <a:cubicBezTo>
                      <a:pt x="50" y="30"/>
                      <a:pt x="49" y="29"/>
                      <a:pt x="49" y="27"/>
                    </a:cubicBezTo>
                    <a:cubicBezTo>
                      <a:pt x="48" y="26"/>
                      <a:pt x="48" y="24"/>
                      <a:pt x="47" y="23"/>
                    </a:cubicBezTo>
                    <a:cubicBezTo>
                      <a:pt x="46" y="21"/>
                      <a:pt x="46" y="20"/>
                      <a:pt x="46" y="18"/>
                    </a:cubicBezTo>
                    <a:cubicBezTo>
                      <a:pt x="45" y="17"/>
                      <a:pt x="44" y="16"/>
                      <a:pt x="43" y="15"/>
                    </a:cubicBezTo>
                    <a:cubicBezTo>
                      <a:pt x="42" y="14"/>
                      <a:pt x="41" y="14"/>
                      <a:pt x="39" y="14"/>
                    </a:cubicBezTo>
                    <a:cubicBezTo>
                      <a:pt x="37" y="14"/>
                      <a:pt x="35" y="14"/>
                      <a:pt x="34" y="15"/>
                    </a:cubicBezTo>
                    <a:cubicBezTo>
                      <a:pt x="32" y="16"/>
                      <a:pt x="30" y="17"/>
                      <a:pt x="29" y="18"/>
                    </a:cubicBezTo>
                    <a:cubicBezTo>
                      <a:pt x="27" y="19"/>
                      <a:pt x="26" y="21"/>
                      <a:pt x="25" y="22"/>
                    </a:cubicBezTo>
                    <a:cubicBezTo>
                      <a:pt x="24" y="24"/>
                      <a:pt x="23" y="26"/>
                      <a:pt x="22" y="27"/>
                    </a:cubicBezTo>
                    <a:cubicBezTo>
                      <a:pt x="20" y="31"/>
                      <a:pt x="18" y="35"/>
                      <a:pt x="17" y="38"/>
                    </a:cubicBezTo>
                    <a:cubicBezTo>
                      <a:pt x="16" y="42"/>
                      <a:pt x="15" y="46"/>
                      <a:pt x="15" y="50"/>
                    </a:cubicBezTo>
                    <a:cubicBezTo>
                      <a:pt x="15" y="53"/>
                      <a:pt x="15" y="55"/>
                      <a:pt x="16" y="58"/>
                    </a:cubicBezTo>
                    <a:cubicBezTo>
                      <a:pt x="16" y="61"/>
                      <a:pt x="17" y="63"/>
                      <a:pt x="19" y="66"/>
                    </a:cubicBezTo>
                    <a:cubicBezTo>
                      <a:pt x="20" y="68"/>
                      <a:pt x="22" y="70"/>
                      <a:pt x="25" y="71"/>
                    </a:cubicBezTo>
                    <a:cubicBezTo>
                      <a:pt x="27" y="72"/>
                      <a:pt x="30" y="73"/>
                      <a:pt x="33" y="73"/>
                    </a:cubicBezTo>
                    <a:cubicBezTo>
                      <a:pt x="35" y="73"/>
                      <a:pt x="36" y="73"/>
                      <a:pt x="38" y="72"/>
                    </a:cubicBezTo>
                    <a:cubicBezTo>
                      <a:pt x="39" y="72"/>
                      <a:pt x="41" y="71"/>
                      <a:pt x="42" y="70"/>
                    </a:cubicBezTo>
                    <a:cubicBezTo>
                      <a:pt x="43" y="70"/>
                      <a:pt x="45" y="69"/>
                      <a:pt x="46" y="68"/>
                    </a:cubicBezTo>
                    <a:cubicBezTo>
                      <a:pt x="47" y="67"/>
                      <a:pt x="48" y="66"/>
                      <a:pt x="49" y="66"/>
                    </a:cubicBezTo>
                    <a:cubicBezTo>
                      <a:pt x="49" y="65"/>
                      <a:pt x="50" y="65"/>
                      <a:pt x="51" y="64"/>
                    </a:cubicBezTo>
                    <a:cubicBezTo>
                      <a:pt x="51" y="63"/>
                      <a:pt x="52" y="63"/>
                      <a:pt x="53" y="63"/>
                    </a:cubicBezTo>
                    <a:cubicBezTo>
                      <a:pt x="54" y="63"/>
                      <a:pt x="54" y="63"/>
                      <a:pt x="55" y="64"/>
                    </a:cubicBezTo>
                    <a:cubicBezTo>
                      <a:pt x="55" y="64"/>
                      <a:pt x="56" y="65"/>
                      <a:pt x="56" y="65"/>
                    </a:cubicBezTo>
                    <a:cubicBezTo>
                      <a:pt x="56" y="66"/>
                      <a:pt x="56" y="67"/>
                      <a:pt x="56" y="68"/>
                    </a:cubicBezTo>
                    <a:cubicBezTo>
                      <a:pt x="56" y="68"/>
                      <a:pt x="56" y="69"/>
                      <a:pt x="56" y="70"/>
                    </a:cubicBezTo>
                    <a:cubicBezTo>
                      <a:pt x="56" y="72"/>
                      <a:pt x="55" y="74"/>
                      <a:pt x="53" y="76"/>
                    </a:cubicBezTo>
                    <a:cubicBezTo>
                      <a:pt x="52" y="78"/>
                      <a:pt x="50" y="80"/>
                      <a:pt x="48" y="82"/>
                    </a:cubicBezTo>
                    <a:cubicBezTo>
                      <a:pt x="46" y="83"/>
                      <a:pt x="44" y="85"/>
                      <a:pt x="42" y="86"/>
                    </a:cubicBezTo>
                    <a:cubicBezTo>
                      <a:pt x="40" y="87"/>
                      <a:pt x="37" y="87"/>
                      <a:pt x="35" y="87"/>
                    </a:cubicBezTo>
                    <a:cubicBezTo>
                      <a:pt x="32" y="88"/>
                      <a:pt x="30" y="88"/>
                      <a:pt x="27" y="87"/>
                    </a:cubicBezTo>
                    <a:cubicBezTo>
                      <a:pt x="25" y="86"/>
                      <a:pt x="22" y="85"/>
                      <a:pt x="20" y="84"/>
                    </a:cubicBezTo>
                    <a:cubicBezTo>
                      <a:pt x="18" y="83"/>
                      <a:pt x="16" y="82"/>
                      <a:pt x="14" y="80"/>
                    </a:cubicBezTo>
                    <a:cubicBezTo>
                      <a:pt x="12" y="78"/>
                      <a:pt x="11" y="77"/>
                      <a:pt x="9" y="75"/>
                    </a:cubicBezTo>
                    <a:cubicBezTo>
                      <a:pt x="6" y="71"/>
                      <a:pt x="4" y="66"/>
                      <a:pt x="2" y="61"/>
                    </a:cubicBezTo>
                    <a:cubicBezTo>
                      <a:pt x="0" y="56"/>
                      <a:pt x="0" y="51"/>
                      <a:pt x="0" y="46"/>
                    </a:cubicBezTo>
                    <a:cubicBezTo>
                      <a:pt x="1" y="41"/>
                      <a:pt x="2" y="36"/>
                      <a:pt x="4" y="31"/>
                    </a:cubicBezTo>
                    <a:cubicBezTo>
                      <a:pt x="6" y="26"/>
                      <a:pt x="8" y="21"/>
                      <a:pt x="11" y="17"/>
                    </a:cubicBezTo>
                    <a:cubicBezTo>
                      <a:pt x="13" y="15"/>
                      <a:pt x="14" y="13"/>
                      <a:pt x="16" y="11"/>
                    </a:cubicBezTo>
                    <a:cubicBezTo>
                      <a:pt x="18" y="9"/>
                      <a:pt x="20" y="7"/>
                      <a:pt x="22" y="5"/>
                    </a:cubicBezTo>
                    <a:cubicBezTo>
                      <a:pt x="24" y="3"/>
                      <a:pt x="26" y="2"/>
                      <a:pt x="28" y="1"/>
                    </a:cubicBezTo>
                    <a:cubicBezTo>
                      <a:pt x="31" y="0"/>
                      <a:pt x="33" y="0"/>
                      <a:pt x="36" y="0"/>
                    </a:cubicBezTo>
                    <a:cubicBezTo>
                      <a:pt x="40" y="0"/>
                      <a:pt x="43" y="1"/>
                      <a:pt x="46" y="2"/>
                    </a:cubicBezTo>
                    <a:cubicBezTo>
                      <a:pt x="49" y="4"/>
                      <a:pt x="52" y="6"/>
                      <a:pt x="54" y="9"/>
                    </a:cubicBezTo>
                    <a:cubicBezTo>
                      <a:pt x="56" y="11"/>
                      <a:pt x="58" y="14"/>
                      <a:pt x="60" y="17"/>
                    </a:cubicBezTo>
                    <a:cubicBezTo>
                      <a:pt x="61" y="20"/>
                      <a:pt x="62" y="24"/>
                      <a:pt x="62" y="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7" name="íš1iḓè">
                <a:extLst>
                  <a:ext uri="{FF2B5EF4-FFF2-40B4-BE49-F238E27FC236}">
                    <a16:creationId xmlns:a16="http://schemas.microsoft.com/office/drawing/2014/main" id="{C35180D5-E5F6-431A-B093-F322FE329CE5}"/>
                  </a:ext>
                </a:extLst>
              </p:cNvPr>
              <p:cNvSpPr/>
              <p:nvPr/>
            </p:nvSpPr>
            <p:spPr>
              <a:xfrm flipH="1">
                <a:off x="10462283" y="3294615"/>
                <a:ext cx="97201" cy="139415"/>
              </a:xfrm>
              <a:custGeom>
                <a:avLst/>
                <a:gdLst/>
                <a:ahLst/>
                <a:cxnLst/>
                <a:rect l="l" t="t" r="r" b="b"/>
                <a:pathLst>
                  <a:path w="74" h="106" extrusionOk="0">
                    <a:moveTo>
                      <a:pt x="74" y="64"/>
                    </a:moveTo>
                    <a:cubicBezTo>
                      <a:pt x="74" y="65"/>
                      <a:pt x="74" y="66"/>
                      <a:pt x="74" y="67"/>
                    </a:cubicBezTo>
                    <a:cubicBezTo>
                      <a:pt x="74" y="68"/>
                      <a:pt x="74" y="70"/>
                      <a:pt x="74" y="71"/>
                    </a:cubicBezTo>
                    <a:cubicBezTo>
                      <a:pt x="72" y="75"/>
                      <a:pt x="69" y="78"/>
                      <a:pt x="66" y="82"/>
                    </a:cubicBezTo>
                    <a:cubicBezTo>
                      <a:pt x="63" y="85"/>
                      <a:pt x="60" y="88"/>
                      <a:pt x="57" y="91"/>
                    </a:cubicBezTo>
                    <a:cubicBezTo>
                      <a:pt x="54" y="94"/>
                      <a:pt x="51" y="97"/>
                      <a:pt x="47" y="99"/>
                    </a:cubicBezTo>
                    <a:cubicBezTo>
                      <a:pt x="44" y="102"/>
                      <a:pt x="40" y="104"/>
                      <a:pt x="36" y="105"/>
                    </a:cubicBezTo>
                    <a:cubicBezTo>
                      <a:pt x="35" y="106"/>
                      <a:pt x="33" y="106"/>
                      <a:pt x="32" y="106"/>
                    </a:cubicBezTo>
                    <a:cubicBezTo>
                      <a:pt x="30" y="106"/>
                      <a:pt x="29" y="106"/>
                      <a:pt x="28" y="105"/>
                    </a:cubicBezTo>
                    <a:cubicBezTo>
                      <a:pt x="26" y="104"/>
                      <a:pt x="25" y="103"/>
                      <a:pt x="24" y="102"/>
                    </a:cubicBezTo>
                    <a:cubicBezTo>
                      <a:pt x="23" y="101"/>
                      <a:pt x="22" y="100"/>
                      <a:pt x="21" y="99"/>
                    </a:cubicBezTo>
                    <a:cubicBezTo>
                      <a:pt x="19" y="96"/>
                      <a:pt x="18" y="94"/>
                      <a:pt x="17" y="92"/>
                    </a:cubicBezTo>
                    <a:cubicBezTo>
                      <a:pt x="16" y="89"/>
                      <a:pt x="15" y="86"/>
                      <a:pt x="14" y="84"/>
                    </a:cubicBezTo>
                    <a:cubicBezTo>
                      <a:pt x="13" y="81"/>
                      <a:pt x="12" y="79"/>
                      <a:pt x="11" y="76"/>
                    </a:cubicBezTo>
                    <a:cubicBezTo>
                      <a:pt x="10" y="73"/>
                      <a:pt x="9" y="71"/>
                      <a:pt x="8" y="68"/>
                    </a:cubicBezTo>
                    <a:cubicBezTo>
                      <a:pt x="7" y="64"/>
                      <a:pt x="6" y="60"/>
                      <a:pt x="5" y="56"/>
                    </a:cubicBezTo>
                    <a:cubicBezTo>
                      <a:pt x="4" y="52"/>
                      <a:pt x="3" y="48"/>
                      <a:pt x="2" y="44"/>
                    </a:cubicBezTo>
                    <a:cubicBezTo>
                      <a:pt x="2" y="40"/>
                      <a:pt x="1" y="36"/>
                      <a:pt x="1" y="32"/>
                    </a:cubicBezTo>
                    <a:cubicBezTo>
                      <a:pt x="0" y="28"/>
                      <a:pt x="1" y="24"/>
                      <a:pt x="2" y="19"/>
                    </a:cubicBezTo>
                    <a:cubicBezTo>
                      <a:pt x="4" y="17"/>
                      <a:pt x="7" y="15"/>
                      <a:pt x="10" y="14"/>
                    </a:cubicBezTo>
                    <a:cubicBezTo>
                      <a:pt x="13" y="12"/>
                      <a:pt x="16" y="10"/>
                      <a:pt x="19" y="9"/>
                    </a:cubicBezTo>
                    <a:cubicBezTo>
                      <a:pt x="22" y="7"/>
                      <a:pt x="25" y="6"/>
                      <a:pt x="29" y="4"/>
                    </a:cubicBezTo>
                    <a:cubicBezTo>
                      <a:pt x="32" y="3"/>
                      <a:pt x="36" y="2"/>
                      <a:pt x="40" y="1"/>
                    </a:cubicBezTo>
                    <a:cubicBezTo>
                      <a:pt x="41" y="0"/>
                      <a:pt x="42" y="0"/>
                      <a:pt x="43" y="0"/>
                    </a:cubicBezTo>
                    <a:cubicBezTo>
                      <a:pt x="44" y="0"/>
                      <a:pt x="45" y="1"/>
                      <a:pt x="47" y="1"/>
                    </a:cubicBezTo>
                    <a:cubicBezTo>
                      <a:pt x="48" y="2"/>
                      <a:pt x="48" y="2"/>
                      <a:pt x="49" y="3"/>
                    </a:cubicBezTo>
                    <a:cubicBezTo>
                      <a:pt x="50" y="4"/>
                      <a:pt x="50" y="5"/>
                      <a:pt x="51" y="7"/>
                    </a:cubicBezTo>
                    <a:cubicBezTo>
                      <a:pt x="51" y="7"/>
                      <a:pt x="51" y="8"/>
                      <a:pt x="51" y="9"/>
                    </a:cubicBezTo>
                    <a:cubicBezTo>
                      <a:pt x="52" y="9"/>
                      <a:pt x="52" y="10"/>
                      <a:pt x="52" y="11"/>
                    </a:cubicBezTo>
                    <a:cubicBezTo>
                      <a:pt x="52" y="12"/>
                      <a:pt x="51" y="12"/>
                      <a:pt x="51" y="13"/>
                    </a:cubicBezTo>
                    <a:cubicBezTo>
                      <a:pt x="51" y="13"/>
                      <a:pt x="50" y="14"/>
                      <a:pt x="49" y="14"/>
                    </a:cubicBezTo>
                    <a:cubicBezTo>
                      <a:pt x="44" y="15"/>
                      <a:pt x="38" y="17"/>
                      <a:pt x="33" y="19"/>
                    </a:cubicBezTo>
                    <a:cubicBezTo>
                      <a:pt x="28" y="21"/>
                      <a:pt x="22" y="23"/>
                      <a:pt x="17" y="26"/>
                    </a:cubicBezTo>
                    <a:cubicBezTo>
                      <a:pt x="17" y="28"/>
                      <a:pt x="17" y="30"/>
                      <a:pt x="17" y="32"/>
                    </a:cubicBezTo>
                    <a:cubicBezTo>
                      <a:pt x="17" y="34"/>
                      <a:pt x="17" y="37"/>
                      <a:pt x="18" y="38"/>
                    </a:cubicBezTo>
                    <a:cubicBezTo>
                      <a:pt x="18" y="39"/>
                      <a:pt x="18" y="39"/>
                      <a:pt x="19" y="40"/>
                    </a:cubicBezTo>
                    <a:cubicBezTo>
                      <a:pt x="19" y="41"/>
                      <a:pt x="19" y="41"/>
                      <a:pt x="19" y="42"/>
                    </a:cubicBezTo>
                    <a:cubicBezTo>
                      <a:pt x="22" y="41"/>
                      <a:pt x="25" y="39"/>
                      <a:pt x="27" y="38"/>
                    </a:cubicBezTo>
                    <a:cubicBezTo>
                      <a:pt x="29" y="37"/>
                      <a:pt x="32" y="36"/>
                      <a:pt x="34" y="35"/>
                    </a:cubicBezTo>
                    <a:cubicBezTo>
                      <a:pt x="37" y="33"/>
                      <a:pt x="39" y="32"/>
                      <a:pt x="42" y="31"/>
                    </a:cubicBezTo>
                    <a:cubicBezTo>
                      <a:pt x="45" y="30"/>
                      <a:pt x="47" y="29"/>
                      <a:pt x="50" y="28"/>
                    </a:cubicBezTo>
                    <a:cubicBezTo>
                      <a:pt x="51" y="27"/>
                      <a:pt x="52" y="27"/>
                      <a:pt x="53" y="27"/>
                    </a:cubicBezTo>
                    <a:cubicBezTo>
                      <a:pt x="55" y="27"/>
                      <a:pt x="56" y="27"/>
                      <a:pt x="57" y="28"/>
                    </a:cubicBezTo>
                    <a:cubicBezTo>
                      <a:pt x="58" y="28"/>
                      <a:pt x="59" y="29"/>
                      <a:pt x="60" y="30"/>
                    </a:cubicBezTo>
                    <a:cubicBezTo>
                      <a:pt x="61" y="31"/>
                      <a:pt x="61" y="32"/>
                      <a:pt x="62" y="33"/>
                    </a:cubicBezTo>
                    <a:cubicBezTo>
                      <a:pt x="62" y="34"/>
                      <a:pt x="62" y="36"/>
                      <a:pt x="61" y="37"/>
                    </a:cubicBezTo>
                    <a:cubicBezTo>
                      <a:pt x="61" y="38"/>
                      <a:pt x="60" y="39"/>
                      <a:pt x="59" y="40"/>
                    </a:cubicBezTo>
                    <a:cubicBezTo>
                      <a:pt x="58" y="40"/>
                      <a:pt x="57" y="41"/>
                      <a:pt x="56" y="42"/>
                    </a:cubicBezTo>
                    <a:cubicBezTo>
                      <a:pt x="55" y="42"/>
                      <a:pt x="54" y="43"/>
                      <a:pt x="53" y="43"/>
                    </a:cubicBezTo>
                    <a:cubicBezTo>
                      <a:pt x="49" y="45"/>
                      <a:pt x="46" y="47"/>
                      <a:pt x="43" y="49"/>
                    </a:cubicBezTo>
                    <a:cubicBezTo>
                      <a:pt x="39" y="50"/>
                      <a:pt x="36" y="52"/>
                      <a:pt x="33" y="54"/>
                    </a:cubicBezTo>
                    <a:cubicBezTo>
                      <a:pt x="31" y="55"/>
                      <a:pt x="30" y="57"/>
                      <a:pt x="29" y="58"/>
                    </a:cubicBezTo>
                    <a:cubicBezTo>
                      <a:pt x="28" y="60"/>
                      <a:pt x="27" y="62"/>
                      <a:pt x="26" y="63"/>
                    </a:cubicBezTo>
                    <a:cubicBezTo>
                      <a:pt x="25" y="65"/>
                      <a:pt x="25" y="67"/>
                      <a:pt x="25" y="69"/>
                    </a:cubicBezTo>
                    <a:cubicBezTo>
                      <a:pt x="25" y="71"/>
                      <a:pt x="25" y="73"/>
                      <a:pt x="26" y="74"/>
                    </a:cubicBezTo>
                    <a:cubicBezTo>
                      <a:pt x="27" y="77"/>
                      <a:pt x="28" y="79"/>
                      <a:pt x="29" y="81"/>
                    </a:cubicBezTo>
                    <a:cubicBezTo>
                      <a:pt x="31" y="83"/>
                      <a:pt x="32" y="85"/>
                      <a:pt x="34" y="87"/>
                    </a:cubicBezTo>
                    <a:cubicBezTo>
                      <a:pt x="35" y="87"/>
                      <a:pt x="37" y="86"/>
                      <a:pt x="39" y="85"/>
                    </a:cubicBezTo>
                    <a:cubicBezTo>
                      <a:pt x="40" y="84"/>
                      <a:pt x="41" y="83"/>
                      <a:pt x="43" y="81"/>
                    </a:cubicBezTo>
                    <a:cubicBezTo>
                      <a:pt x="44" y="80"/>
                      <a:pt x="45" y="79"/>
                      <a:pt x="47" y="78"/>
                    </a:cubicBezTo>
                    <a:cubicBezTo>
                      <a:pt x="48" y="76"/>
                      <a:pt x="49" y="75"/>
                      <a:pt x="51" y="73"/>
                    </a:cubicBezTo>
                    <a:cubicBezTo>
                      <a:pt x="53" y="71"/>
                      <a:pt x="55" y="68"/>
                      <a:pt x="58" y="65"/>
                    </a:cubicBezTo>
                    <a:cubicBezTo>
                      <a:pt x="60" y="63"/>
                      <a:pt x="63" y="61"/>
                      <a:pt x="67" y="59"/>
                    </a:cubicBezTo>
                    <a:cubicBezTo>
                      <a:pt x="68" y="58"/>
                      <a:pt x="69" y="58"/>
                      <a:pt x="69" y="58"/>
                    </a:cubicBezTo>
                    <a:cubicBezTo>
                      <a:pt x="70" y="58"/>
                      <a:pt x="71" y="59"/>
                      <a:pt x="72" y="59"/>
                    </a:cubicBezTo>
                    <a:cubicBezTo>
                      <a:pt x="72" y="60"/>
                      <a:pt x="73" y="61"/>
                      <a:pt x="73" y="61"/>
                    </a:cubicBezTo>
                    <a:cubicBezTo>
                      <a:pt x="74" y="62"/>
                      <a:pt x="74" y="63"/>
                      <a:pt x="74" y="6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8" name="isļíḓé">
                <a:extLst>
                  <a:ext uri="{FF2B5EF4-FFF2-40B4-BE49-F238E27FC236}">
                    <a16:creationId xmlns:a16="http://schemas.microsoft.com/office/drawing/2014/main" id="{9563BFB0-260D-478E-B092-9D39B5F4FB40}"/>
                  </a:ext>
                </a:extLst>
              </p:cNvPr>
              <p:cNvSpPr/>
              <p:nvPr/>
            </p:nvSpPr>
            <p:spPr>
              <a:xfrm flipH="1">
                <a:off x="10573926" y="3806731"/>
                <a:ext cx="163854" cy="131639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00" extrusionOk="0">
                    <a:moveTo>
                      <a:pt x="102" y="76"/>
                    </a:moveTo>
                    <a:cubicBezTo>
                      <a:pt x="101" y="77"/>
                      <a:pt x="100" y="78"/>
                      <a:pt x="98" y="79"/>
                    </a:cubicBezTo>
                    <a:cubicBezTo>
                      <a:pt x="97" y="79"/>
                      <a:pt x="96" y="79"/>
                      <a:pt x="94" y="79"/>
                    </a:cubicBezTo>
                    <a:cubicBezTo>
                      <a:pt x="93" y="79"/>
                      <a:pt x="91" y="79"/>
                      <a:pt x="90" y="79"/>
                    </a:cubicBezTo>
                    <a:cubicBezTo>
                      <a:pt x="89" y="78"/>
                      <a:pt x="87" y="78"/>
                      <a:pt x="86" y="77"/>
                    </a:cubicBezTo>
                    <a:cubicBezTo>
                      <a:pt x="82" y="76"/>
                      <a:pt x="78" y="74"/>
                      <a:pt x="74" y="72"/>
                    </a:cubicBezTo>
                    <a:cubicBezTo>
                      <a:pt x="71" y="70"/>
                      <a:pt x="67" y="68"/>
                      <a:pt x="63" y="66"/>
                    </a:cubicBezTo>
                    <a:cubicBezTo>
                      <a:pt x="61" y="66"/>
                      <a:pt x="60" y="65"/>
                      <a:pt x="58" y="64"/>
                    </a:cubicBezTo>
                    <a:cubicBezTo>
                      <a:pt x="57" y="63"/>
                      <a:pt x="55" y="63"/>
                      <a:pt x="53" y="62"/>
                    </a:cubicBezTo>
                    <a:cubicBezTo>
                      <a:pt x="52" y="61"/>
                      <a:pt x="50" y="61"/>
                      <a:pt x="48" y="61"/>
                    </a:cubicBezTo>
                    <a:cubicBezTo>
                      <a:pt x="46" y="60"/>
                      <a:pt x="45" y="60"/>
                      <a:pt x="43" y="60"/>
                    </a:cubicBezTo>
                    <a:cubicBezTo>
                      <a:pt x="42" y="62"/>
                      <a:pt x="40" y="64"/>
                      <a:pt x="39" y="65"/>
                    </a:cubicBezTo>
                    <a:cubicBezTo>
                      <a:pt x="38" y="67"/>
                      <a:pt x="37" y="69"/>
                      <a:pt x="35" y="71"/>
                    </a:cubicBezTo>
                    <a:cubicBezTo>
                      <a:pt x="34" y="73"/>
                      <a:pt x="33" y="75"/>
                      <a:pt x="31" y="77"/>
                    </a:cubicBezTo>
                    <a:cubicBezTo>
                      <a:pt x="30" y="80"/>
                      <a:pt x="28" y="82"/>
                      <a:pt x="27" y="84"/>
                    </a:cubicBezTo>
                    <a:cubicBezTo>
                      <a:pt x="25" y="86"/>
                      <a:pt x="23" y="88"/>
                      <a:pt x="22" y="90"/>
                    </a:cubicBezTo>
                    <a:cubicBezTo>
                      <a:pt x="20" y="92"/>
                      <a:pt x="18" y="94"/>
                      <a:pt x="16" y="96"/>
                    </a:cubicBezTo>
                    <a:cubicBezTo>
                      <a:pt x="14" y="98"/>
                      <a:pt x="11" y="99"/>
                      <a:pt x="9" y="100"/>
                    </a:cubicBezTo>
                    <a:cubicBezTo>
                      <a:pt x="6" y="100"/>
                      <a:pt x="4" y="100"/>
                      <a:pt x="3" y="99"/>
                    </a:cubicBezTo>
                    <a:cubicBezTo>
                      <a:pt x="2" y="98"/>
                      <a:pt x="1" y="97"/>
                      <a:pt x="1" y="96"/>
                    </a:cubicBezTo>
                    <a:cubicBezTo>
                      <a:pt x="0" y="95"/>
                      <a:pt x="0" y="94"/>
                      <a:pt x="0" y="92"/>
                    </a:cubicBezTo>
                    <a:cubicBezTo>
                      <a:pt x="1" y="90"/>
                      <a:pt x="1" y="88"/>
                      <a:pt x="2" y="86"/>
                    </a:cubicBezTo>
                    <a:cubicBezTo>
                      <a:pt x="3" y="84"/>
                      <a:pt x="4" y="81"/>
                      <a:pt x="5" y="79"/>
                    </a:cubicBezTo>
                    <a:cubicBezTo>
                      <a:pt x="6" y="77"/>
                      <a:pt x="7" y="75"/>
                      <a:pt x="8" y="73"/>
                    </a:cubicBezTo>
                    <a:cubicBezTo>
                      <a:pt x="10" y="71"/>
                      <a:pt x="11" y="69"/>
                      <a:pt x="12" y="67"/>
                    </a:cubicBezTo>
                    <a:cubicBezTo>
                      <a:pt x="15" y="62"/>
                      <a:pt x="17" y="58"/>
                      <a:pt x="20" y="53"/>
                    </a:cubicBezTo>
                    <a:cubicBezTo>
                      <a:pt x="23" y="49"/>
                      <a:pt x="26" y="45"/>
                      <a:pt x="29" y="40"/>
                    </a:cubicBezTo>
                    <a:cubicBezTo>
                      <a:pt x="33" y="34"/>
                      <a:pt x="38" y="29"/>
                      <a:pt x="44" y="24"/>
                    </a:cubicBezTo>
                    <a:cubicBezTo>
                      <a:pt x="49" y="18"/>
                      <a:pt x="55" y="13"/>
                      <a:pt x="61" y="8"/>
                    </a:cubicBezTo>
                    <a:cubicBezTo>
                      <a:pt x="62" y="7"/>
                      <a:pt x="64" y="6"/>
                      <a:pt x="65" y="5"/>
                    </a:cubicBezTo>
                    <a:cubicBezTo>
                      <a:pt x="67" y="4"/>
                      <a:pt x="68" y="3"/>
                      <a:pt x="70" y="2"/>
                    </a:cubicBezTo>
                    <a:cubicBezTo>
                      <a:pt x="71" y="1"/>
                      <a:pt x="73" y="1"/>
                      <a:pt x="74" y="1"/>
                    </a:cubicBezTo>
                    <a:cubicBezTo>
                      <a:pt x="76" y="0"/>
                      <a:pt x="77" y="0"/>
                      <a:pt x="79" y="1"/>
                    </a:cubicBezTo>
                    <a:cubicBezTo>
                      <a:pt x="82" y="1"/>
                      <a:pt x="85" y="2"/>
                      <a:pt x="88" y="3"/>
                    </a:cubicBezTo>
                    <a:cubicBezTo>
                      <a:pt x="91" y="4"/>
                      <a:pt x="94" y="6"/>
                      <a:pt x="97" y="7"/>
                    </a:cubicBezTo>
                    <a:cubicBezTo>
                      <a:pt x="101" y="8"/>
                      <a:pt x="104" y="10"/>
                      <a:pt x="107" y="11"/>
                    </a:cubicBezTo>
                    <a:cubicBezTo>
                      <a:pt x="110" y="13"/>
                      <a:pt x="113" y="15"/>
                      <a:pt x="116" y="16"/>
                    </a:cubicBezTo>
                    <a:cubicBezTo>
                      <a:pt x="117" y="18"/>
                      <a:pt x="119" y="19"/>
                      <a:pt x="120" y="21"/>
                    </a:cubicBezTo>
                    <a:cubicBezTo>
                      <a:pt x="122" y="22"/>
                      <a:pt x="123" y="24"/>
                      <a:pt x="124" y="26"/>
                    </a:cubicBezTo>
                    <a:cubicBezTo>
                      <a:pt x="124" y="28"/>
                      <a:pt x="125" y="30"/>
                      <a:pt x="125" y="32"/>
                    </a:cubicBezTo>
                    <a:cubicBezTo>
                      <a:pt x="124" y="34"/>
                      <a:pt x="124" y="36"/>
                      <a:pt x="122" y="38"/>
                    </a:cubicBezTo>
                    <a:cubicBezTo>
                      <a:pt x="121" y="40"/>
                      <a:pt x="120" y="41"/>
                      <a:pt x="118" y="41"/>
                    </a:cubicBezTo>
                    <a:cubicBezTo>
                      <a:pt x="116" y="42"/>
                      <a:pt x="114" y="41"/>
                      <a:pt x="112" y="41"/>
                    </a:cubicBezTo>
                    <a:cubicBezTo>
                      <a:pt x="108" y="39"/>
                      <a:pt x="105" y="38"/>
                      <a:pt x="103" y="37"/>
                    </a:cubicBezTo>
                    <a:cubicBezTo>
                      <a:pt x="101" y="35"/>
                      <a:pt x="98" y="33"/>
                      <a:pt x="96" y="32"/>
                    </a:cubicBezTo>
                    <a:cubicBezTo>
                      <a:pt x="94" y="31"/>
                      <a:pt x="93" y="29"/>
                      <a:pt x="91" y="28"/>
                    </a:cubicBezTo>
                    <a:cubicBezTo>
                      <a:pt x="89" y="27"/>
                      <a:pt x="87" y="26"/>
                      <a:pt x="86" y="25"/>
                    </a:cubicBezTo>
                    <a:cubicBezTo>
                      <a:pt x="85" y="24"/>
                      <a:pt x="84" y="24"/>
                      <a:pt x="83" y="23"/>
                    </a:cubicBezTo>
                    <a:cubicBezTo>
                      <a:pt x="83" y="23"/>
                      <a:pt x="82" y="23"/>
                      <a:pt x="81" y="23"/>
                    </a:cubicBezTo>
                    <a:cubicBezTo>
                      <a:pt x="78" y="24"/>
                      <a:pt x="75" y="26"/>
                      <a:pt x="72" y="28"/>
                    </a:cubicBezTo>
                    <a:cubicBezTo>
                      <a:pt x="70" y="31"/>
                      <a:pt x="68" y="33"/>
                      <a:pt x="65" y="36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6" y="41"/>
                      <a:pt x="69" y="43"/>
                      <a:pt x="71" y="44"/>
                    </a:cubicBezTo>
                    <a:cubicBezTo>
                      <a:pt x="74" y="46"/>
                      <a:pt x="77" y="47"/>
                      <a:pt x="80" y="49"/>
                    </a:cubicBezTo>
                    <a:cubicBezTo>
                      <a:pt x="82" y="50"/>
                      <a:pt x="85" y="52"/>
                      <a:pt x="88" y="53"/>
                    </a:cubicBezTo>
                    <a:cubicBezTo>
                      <a:pt x="91" y="54"/>
                      <a:pt x="93" y="56"/>
                      <a:pt x="96" y="58"/>
                    </a:cubicBezTo>
                    <a:cubicBezTo>
                      <a:pt x="97" y="59"/>
                      <a:pt x="98" y="60"/>
                      <a:pt x="99" y="61"/>
                    </a:cubicBezTo>
                    <a:cubicBezTo>
                      <a:pt x="100" y="62"/>
                      <a:pt x="101" y="63"/>
                      <a:pt x="102" y="65"/>
                    </a:cubicBezTo>
                    <a:cubicBezTo>
                      <a:pt x="102" y="66"/>
                      <a:pt x="103" y="68"/>
                      <a:pt x="103" y="69"/>
                    </a:cubicBezTo>
                    <a:cubicBezTo>
                      <a:pt x="103" y="71"/>
                      <a:pt x="103" y="72"/>
                      <a:pt x="103" y="74"/>
                    </a:cubicBezTo>
                    <a:cubicBezTo>
                      <a:pt x="103" y="74"/>
                      <a:pt x="102" y="75"/>
                      <a:pt x="102" y="75"/>
                    </a:cubicBezTo>
                    <a:cubicBezTo>
                      <a:pt x="102" y="75"/>
                      <a:pt x="102" y="76"/>
                      <a:pt x="102" y="7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9" name="ïṥ1ïďê">
                <a:extLst>
                  <a:ext uri="{FF2B5EF4-FFF2-40B4-BE49-F238E27FC236}">
                    <a16:creationId xmlns:a16="http://schemas.microsoft.com/office/drawing/2014/main" id="{B7E99879-F895-461C-883D-319E32927083}"/>
                  </a:ext>
                </a:extLst>
              </p:cNvPr>
              <p:cNvSpPr/>
              <p:nvPr/>
            </p:nvSpPr>
            <p:spPr>
              <a:xfrm flipH="1">
                <a:off x="10227333" y="3650653"/>
                <a:ext cx="112754" cy="129973"/>
              </a:xfrm>
              <a:custGeom>
                <a:avLst/>
                <a:gdLst/>
                <a:ahLst/>
                <a:cxnLst/>
                <a:rect l="l" t="t" r="r" b="b"/>
                <a:pathLst>
                  <a:path w="86" h="99" extrusionOk="0">
                    <a:moveTo>
                      <a:pt x="77" y="64"/>
                    </a:moveTo>
                    <a:cubicBezTo>
                      <a:pt x="76" y="65"/>
                      <a:pt x="76" y="67"/>
                      <a:pt x="75" y="68"/>
                    </a:cubicBezTo>
                    <a:cubicBezTo>
                      <a:pt x="74" y="69"/>
                      <a:pt x="74" y="70"/>
                      <a:pt x="73" y="71"/>
                    </a:cubicBezTo>
                    <a:cubicBezTo>
                      <a:pt x="70" y="75"/>
                      <a:pt x="67" y="79"/>
                      <a:pt x="63" y="83"/>
                    </a:cubicBezTo>
                    <a:cubicBezTo>
                      <a:pt x="59" y="87"/>
                      <a:pt x="55" y="90"/>
                      <a:pt x="51" y="93"/>
                    </a:cubicBezTo>
                    <a:cubicBezTo>
                      <a:pt x="48" y="94"/>
                      <a:pt x="46" y="95"/>
                      <a:pt x="44" y="96"/>
                    </a:cubicBezTo>
                    <a:cubicBezTo>
                      <a:pt x="41" y="97"/>
                      <a:pt x="39" y="98"/>
                      <a:pt x="36" y="99"/>
                    </a:cubicBezTo>
                    <a:cubicBezTo>
                      <a:pt x="34" y="99"/>
                      <a:pt x="31" y="99"/>
                      <a:pt x="28" y="99"/>
                    </a:cubicBezTo>
                    <a:cubicBezTo>
                      <a:pt x="26" y="99"/>
                      <a:pt x="23" y="99"/>
                      <a:pt x="21" y="98"/>
                    </a:cubicBezTo>
                    <a:cubicBezTo>
                      <a:pt x="18" y="97"/>
                      <a:pt x="15" y="95"/>
                      <a:pt x="13" y="93"/>
                    </a:cubicBezTo>
                    <a:cubicBezTo>
                      <a:pt x="10" y="91"/>
                      <a:pt x="9" y="89"/>
                      <a:pt x="7" y="86"/>
                    </a:cubicBezTo>
                    <a:cubicBezTo>
                      <a:pt x="5" y="84"/>
                      <a:pt x="4" y="81"/>
                      <a:pt x="3" y="78"/>
                    </a:cubicBezTo>
                    <a:cubicBezTo>
                      <a:pt x="2" y="75"/>
                      <a:pt x="1" y="72"/>
                      <a:pt x="1" y="70"/>
                    </a:cubicBezTo>
                    <a:cubicBezTo>
                      <a:pt x="0" y="64"/>
                      <a:pt x="0" y="58"/>
                      <a:pt x="0" y="52"/>
                    </a:cubicBezTo>
                    <a:cubicBezTo>
                      <a:pt x="0" y="45"/>
                      <a:pt x="2" y="39"/>
                      <a:pt x="5" y="34"/>
                    </a:cubicBezTo>
                    <a:cubicBezTo>
                      <a:pt x="7" y="28"/>
                      <a:pt x="11" y="24"/>
                      <a:pt x="15" y="19"/>
                    </a:cubicBezTo>
                    <a:cubicBezTo>
                      <a:pt x="19" y="15"/>
                      <a:pt x="23" y="12"/>
                      <a:pt x="28" y="8"/>
                    </a:cubicBezTo>
                    <a:cubicBezTo>
                      <a:pt x="30" y="7"/>
                      <a:pt x="33" y="5"/>
                      <a:pt x="35" y="4"/>
                    </a:cubicBezTo>
                    <a:cubicBezTo>
                      <a:pt x="38" y="3"/>
                      <a:pt x="41" y="2"/>
                      <a:pt x="44" y="1"/>
                    </a:cubicBezTo>
                    <a:cubicBezTo>
                      <a:pt x="46" y="0"/>
                      <a:pt x="49" y="0"/>
                      <a:pt x="52" y="0"/>
                    </a:cubicBezTo>
                    <a:cubicBezTo>
                      <a:pt x="55" y="0"/>
                      <a:pt x="58" y="0"/>
                      <a:pt x="60" y="1"/>
                    </a:cubicBezTo>
                    <a:cubicBezTo>
                      <a:pt x="65" y="3"/>
                      <a:pt x="69" y="5"/>
                      <a:pt x="73" y="8"/>
                    </a:cubicBezTo>
                    <a:cubicBezTo>
                      <a:pt x="77" y="11"/>
                      <a:pt x="80" y="14"/>
                      <a:pt x="82" y="18"/>
                    </a:cubicBezTo>
                    <a:cubicBezTo>
                      <a:pt x="83" y="19"/>
                      <a:pt x="83" y="19"/>
                      <a:pt x="84" y="20"/>
                    </a:cubicBezTo>
                    <a:cubicBezTo>
                      <a:pt x="84" y="21"/>
                      <a:pt x="85" y="22"/>
                      <a:pt x="85" y="23"/>
                    </a:cubicBezTo>
                    <a:cubicBezTo>
                      <a:pt x="85" y="23"/>
                      <a:pt x="86" y="24"/>
                      <a:pt x="86" y="25"/>
                    </a:cubicBezTo>
                    <a:cubicBezTo>
                      <a:pt x="86" y="26"/>
                      <a:pt x="86" y="27"/>
                      <a:pt x="86" y="28"/>
                    </a:cubicBezTo>
                    <a:cubicBezTo>
                      <a:pt x="86" y="28"/>
                      <a:pt x="86" y="28"/>
                      <a:pt x="85" y="28"/>
                    </a:cubicBezTo>
                    <a:cubicBezTo>
                      <a:pt x="85" y="28"/>
                      <a:pt x="85" y="29"/>
                      <a:pt x="85" y="29"/>
                    </a:cubicBezTo>
                    <a:cubicBezTo>
                      <a:pt x="84" y="29"/>
                      <a:pt x="84" y="29"/>
                      <a:pt x="84" y="29"/>
                    </a:cubicBezTo>
                    <a:cubicBezTo>
                      <a:pt x="83" y="30"/>
                      <a:pt x="83" y="30"/>
                      <a:pt x="83" y="30"/>
                    </a:cubicBezTo>
                    <a:cubicBezTo>
                      <a:pt x="82" y="31"/>
                      <a:pt x="81" y="31"/>
                      <a:pt x="79" y="31"/>
                    </a:cubicBezTo>
                    <a:cubicBezTo>
                      <a:pt x="78" y="30"/>
                      <a:pt x="76" y="29"/>
                      <a:pt x="75" y="28"/>
                    </a:cubicBezTo>
                    <a:cubicBezTo>
                      <a:pt x="74" y="27"/>
                      <a:pt x="72" y="26"/>
                      <a:pt x="71" y="25"/>
                    </a:cubicBezTo>
                    <a:cubicBezTo>
                      <a:pt x="70" y="23"/>
                      <a:pt x="69" y="22"/>
                      <a:pt x="67" y="21"/>
                    </a:cubicBezTo>
                    <a:cubicBezTo>
                      <a:pt x="66" y="20"/>
                      <a:pt x="65" y="19"/>
                      <a:pt x="63" y="18"/>
                    </a:cubicBezTo>
                    <a:cubicBezTo>
                      <a:pt x="61" y="17"/>
                      <a:pt x="59" y="17"/>
                      <a:pt x="56" y="16"/>
                    </a:cubicBezTo>
                    <a:cubicBezTo>
                      <a:pt x="54" y="16"/>
                      <a:pt x="52" y="16"/>
                      <a:pt x="49" y="16"/>
                    </a:cubicBezTo>
                    <a:cubicBezTo>
                      <a:pt x="47" y="17"/>
                      <a:pt x="45" y="17"/>
                      <a:pt x="43" y="18"/>
                    </a:cubicBezTo>
                    <a:cubicBezTo>
                      <a:pt x="40" y="19"/>
                      <a:pt x="38" y="20"/>
                      <a:pt x="36" y="21"/>
                    </a:cubicBezTo>
                    <a:cubicBezTo>
                      <a:pt x="32" y="24"/>
                      <a:pt x="29" y="27"/>
                      <a:pt x="26" y="31"/>
                    </a:cubicBezTo>
                    <a:cubicBezTo>
                      <a:pt x="23" y="34"/>
                      <a:pt x="20" y="38"/>
                      <a:pt x="19" y="43"/>
                    </a:cubicBezTo>
                    <a:cubicBezTo>
                      <a:pt x="17" y="46"/>
                      <a:pt x="16" y="50"/>
                      <a:pt x="15" y="54"/>
                    </a:cubicBezTo>
                    <a:cubicBezTo>
                      <a:pt x="14" y="58"/>
                      <a:pt x="14" y="61"/>
                      <a:pt x="14" y="65"/>
                    </a:cubicBezTo>
                    <a:cubicBezTo>
                      <a:pt x="14" y="67"/>
                      <a:pt x="14" y="69"/>
                      <a:pt x="15" y="71"/>
                    </a:cubicBezTo>
                    <a:cubicBezTo>
                      <a:pt x="16" y="73"/>
                      <a:pt x="17" y="75"/>
                      <a:pt x="18" y="76"/>
                    </a:cubicBezTo>
                    <a:cubicBezTo>
                      <a:pt x="19" y="78"/>
                      <a:pt x="20" y="79"/>
                      <a:pt x="22" y="80"/>
                    </a:cubicBezTo>
                    <a:cubicBezTo>
                      <a:pt x="23" y="81"/>
                      <a:pt x="25" y="82"/>
                      <a:pt x="27" y="83"/>
                    </a:cubicBezTo>
                    <a:cubicBezTo>
                      <a:pt x="29" y="83"/>
                      <a:pt x="30" y="84"/>
                      <a:pt x="32" y="84"/>
                    </a:cubicBezTo>
                    <a:cubicBezTo>
                      <a:pt x="33" y="84"/>
                      <a:pt x="35" y="84"/>
                      <a:pt x="36" y="83"/>
                    </a:cubicBezTo>
                    <a:cubicBezTo>
                      <a:pt x="38" y="83"/>
                      <a:pt x="39" y="82"/>
                      <a:pt x="41" y="82"/>
                    </a:cubicBezTo>
                    <a:cubicBezTo>
                      <a:pt x="42" y="81"/>
                      <a:pt x="44" y="80"/>
                      <a:pt x="45" y="79"/>
                    </a:cubicBezTo>
                    <a:cubicBezTo>
                      <a:pt x="48" y="78"/>
                      <a:pt x="50" y="76"/>
                      <a:pt x="52" y="73"/>
                    </a:cubicBezTo>
                    <a:cubicBezTo>
                      <a:pt x="54" y="71"/>
                      <a:pt x="56" y="68"/>
                      <a:pt x="57" y="65"/>
                    </a:cubicBezTo>
                    <a:cubicBezTo>
                      <a:pt x="58" y="64"/>
                      <a:pt x="58" y="63"/>
                      <a:pt x="59" y="61"/>
                    </a:cubicBezTo>
                    <a:cubicBezTo>
                      <a:pt x="59" y="60"/>
                      <a:pt x="59" y="59"/>
                      <a:pt x="59" y="58"/>
                    </a:cubicBezTo>
                    <a:cubicBezTo>
                      <a:pt x="58" y="57"/>
                      <a:pt x="56" y="57"/>
                      <a:pt x="54" y="57"/>
                    </a:cubicBezTo>
                    <a:cubicBezTo>
                      <a:pt x="52" y="56"/>
                      <a:pt x="50" y="56"/>
                      <a:pt x="48" y="56"/>
                    </a:cubicBezTo>
                    <a:cubicBezTo>
                      <a:pt x="46" y="56"/>
                      <a:pt x="44" y="55"/>
                      <a:pt x="42" y="55"/>
                    </a:cubicBezTo>
                    <a:cubicBezTo>
                      <a:pt x="40" y="55"/>
                      <a:pt x="38" y="54"/>
                      <a:pt x="36" y="54"/>
                    </a:cubicBezTo>
                    <a:cubicBezTo>
                      <a:pt x="35" y="54"/>
                      <a:pt x="34" y="53"/>
                      <a:pt x="33" y="52"/>
                    </a:cubicBezTo>
                    <a:cubicBezTo>
                      <a:pt x="32" y="51"/>
                      <a:pt x="32" y="50"/>
                      <a:pt x="32" y="49"/>
                    </a:cubicBezTo>
                    <a:cubicBezTo>
                      <a:pt x="32" y="48"/>
                      <a:pt x="32" y="46"/>
                      <a:pt x="32" y="45"/>
                    </a:cubicBezTo>
                    <a:cubicBezTo>
                      <a:pt x="32" y="44"/>
                      <a:pt x="32" y="43"/>
                      <a:pt x="33" y="42"/>
                    </a:cubicBezTo>
                    <a:cubicBezTo>
                      <a:pt x="33" y="41"/>
                      <a:pt x="34" y="40"/>
                      <a:pt x="35" y="40"/>
                    </a:cubicBezTo>
                    <a:cubicBezTo>
                      <a:pt x="38" y="39"/>
                      <a:pt x="41" y="39"/>
                      <a:pt x="44" y="39"/>
                    </a:cubicBezTo>
                    <a:cubicBezTo>
                      <a:pt x="47" y="40"/>
                      <a:pt x="50" y="40"/>
                      <a:pt x="54" y="40"/>
                    </a:cubicBezTo>
                    <a:cubicBezTo>
                      <a:pt x="57" y="40"/>
                      <a:pt x="60" y="41"/>
                      <a:pt x="63" y="41"/>
                    </a:cubicBezTo>
                    <a:cubicBezTo>
                      <a:pt x="66" y="41"/>
                      <a:pt x="70" y="42"/>
                      <a:pt x="73" y="43"/>
                    </a:cubicBezTo>
                    <a:cubicBezTo>
                      <a:pt x="75" y="44"/>
                      <a:pt x="77" y="45"/>
                      <a:pt x="78" y="46"/>
                    </a:cubicBezTo>
                    <a:cubicBezTo>
                      <a:pt x="79" y="48"/>
                      <a:pt x="79" y="50"/>
                      <a:pt x="79" y="52"/>
                    </a:cubicBezTo>
                    <a:cubicBezTo>
                      <a:pt x="80" y="54"/>
                      <a:pt x="79" y="56"/>
                      <a:pt x="79" y="58"/>
                    </a:cubicBezTo>
                    <a:cubicBezTo>
                      <a:pt x="78" y="61"/>
                      <a:pt x="77" y="62"/>
                      <a:pt x="77" y="6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0" name="í$lïdê">
                <a:extLst>
                  <a:ext uri="{FF2B5EF4-FFF2-40B4-BE49-F238E27FC236}">
                    <a16:creationId xmlns:a16="http://schemas.microsoft.com/office/drawing/2014/main" id="{264757A0-7124-4088-88F1-0762A07AABDF}"/>
                  </a:ext>
                </a:extLst>
              </p:cNvPr>
              <p:cNvSpPr/>
              <p:nvPr/>
            </p:nvSpPr>
            <p:spPr>
              <a:xfrm flipH="1">
                <a:off x="10512273" y="3705641"/>
                <a:ext cx="99423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76" h="75" extrusionOk="0">
                    <a:moveTo>
                      <a:pt x="39" y="71"/>
                    </a:moveTo>
                    <a:cubicBezTo>
                      <a:pt x="38" y="71"/>
                      <a:pt x="37" y="72"/>
                      <a:pt x="36" y="73"/>
                    </a:cubicBezTo>
                    <a:cubicBezTo>
                      <a:pt x="35" y="73"/>
                      <a:pt x="35" y="74"/>
                      <a:pt x="34" y="74"/>
                    </a:cubicBezTo>
                    <a:cubicBezTo>
                      <a:pt x="33" y="75"/>
                      <a:pt x="32" y="75"/>
                      <a:pt x="31" y="75"/>
                    </a:cubicBezTo>
                    <a:cubicBezTo>
                      <a:pt x="30" y="75"/>
                      <a:pt x="29" y="75"/>
                      <a:pt x="28" y="75"/>
                    </a:cubicBezTo>
                    <a:cubicBezTo>
                      <a:pt x="28" y="74"/>
                      <a:pt x="27" y="74"/>
                      <a:pt x="27" y="73"/>
                    </a:cubicBezTo>
                    <a:cubicBezTo>
                      <a:pt x="26" y="73"/>
                      <a:pt x="26" y="72"/>
                      <a:pt x="26" y="71"/>
                    </a:cubicBezTo>
                    <a:cubicBezTo>
                      <a:pt x="26" y="71"/>
                      <a:pt x="26" y="70"/>
                      <a:pt x="26" y="69"/>
                    </a:cubicBezTo>
                    <a:cubicBezTo>
                      <a:pt x="26" y="68"/>
                      <a:pt x="26" y="68"/>
                      <a:pt x="27" y="67"/>
                    </a:cubicBezTo>
                    <a:cubicBezTo>
                      <a:pt x="27" y="66"/>
                      <a:pt x="28" y="65"/>
                      <a:pt x="28" y="64"/>
                    </a:cubicBezTo>
                    <a:cubicBezTo>
                      <a:pt x="29" y="63"/>
                      <a:pt x="30" y="63"/>
                      <a:pt x="30" y="62"/>
                    </a:cubicBezTo>
                    <a:cubicBezTo>
                      <a:pt x="31" y="61"/>
                      <a:pt x="32" y="60"/>
                      <a:pt x="32" y="59"/>
                    </a:cubicBezTo>
                    <a:cubicBezTo>
                      <a:pt x="33" y="59"/>
                      <a:pt x="34" y="58"/>
                      <a:pt x="35" y="57"/>
                    </a:cubicBezTo>
                    <a:cubicBezTo>
                      <a:pt x="36" y="56"/>
                      <a:pt x="37" y="55"/>
                      <a:pt x="38" y="53"/>
                    </a:cubicBezTo>
                    <a:cubicBezTo>
                      <a:pt x="38" y="52"/>
                      <a:pt x="39" y="51"/>
                      <a:pt x="40" y="49"/>
                    </a:cubicBezTo>
                    <a:cubicBezTo>
                      <a:pt x="39" y="49"/>
                      <a:pt x="38" y="48"/>
                      <a:pt x="38" y="47"/>
                    </a:cubicBezTo>
                    <a:cubicBezTo>
                      <a:pt x="37" y="46"/>
                      <a:pt x="36" y="46"/>
                      <a:pt x="35" y="45"/>
                    </a:cubicBezTo>
                    <a:cubicBezTo>
                      <a:pt x="34" y="44"/>
                      <a:pt x="33" y="44"/>
                      <a:pt x="32" y="43"/>
                    </a:cubicBezTo>
                    <a:cubicBezTo>
                      <a:pt x="31" y="42"/>
                      <a:pt x="30" y="41"/>
                      <a:pt x="29" y="40"/>
                    </a:cubicBezTo>
                    <a:cubicBezTo>
                      <a:pt x="28" y="40"/>
                      <a:pt x="27" y="39"/>
                      <a:pt x="26" y="38"/>
                    </a:cubicBezTo>
                    <a:cubicBezTo>
                      <a:pt x="25" y="37"/>
                      <a:pt x="24" y="37"/>
                      <a:pt x="23" y="36"/>
                    </a:cubicBezTo>
                    <a:cubicBezTo>
                      <a:pt x="21" y="38"/>
                      <a:pt x="20" y="40"/>
                      <a:pt x="18" y="43"/>
                    </a:cubicBezTo>
                    <a:cubicBezTo>
                      <a:pt x="16" y="45"/>
                      <a:pt x="14" y="47"/>
                      <a:pt x="12" y="49"/>
                    </a:cubicBezTo>
                    <a:cubicBezTo>
                      <a:pt x="11" y="50"/>
                      <a:pt x="11" y="51"/>
                      <a:pt x="10" y="52"/>
                    </a:cubicBezTo>
                    <a:cubicBezTo>
                      <a:pt x="9" y="52"/>
                      <a:pt x="8" y="53"/>
                      <a:pt x="7" y="53"/>
                    </a:cubicBezTo>
                    <a:cubicBezTo>
                      <a:pt x="6" y="54"/>
                      <a:pt x="5" y="55"/>
                      <a:pt x="4" y="55"/>
                    </a:cubicBezTo>
                    <a:cubicBezTo>
                      <a:pt x="3" y="55"/>
                      <a:pt x="2" y="54"/>
                      <a:pt x="2" y="54"/>
                    </a:cubicBezTo>
                    <a:cubicBezTo>
                      <a:pt x="1" y="53"/>
                      <a:pt x="0" y="52"/>
                      <a:pt x="0" y="51"/>
                    </a:cubicBezTo>
                    <a:cubicBezTo>
                      <a:pt x="0" y="50"/>
                      <a:pt x="0" y="48"/>
                      <a:pt x="0" y="47"/>
                    </a:cubicBezTo>
                    <a:cubicBezTo>
                      <a:pt x="0" y="46"/>
                      <a:pt x="0" y="45"/>
                      <a:pt x="1" y="44"/>
                    </a:cubicBezTo>
                    <a:cubicBezTo>
                      <a:pt x="1" y="43"/>
                      <a:pt x="2" y="42"/>
                      <a:pt x="2" y="41"/>
                    </a:cubicBezTo>
                    <a:cubicBezTo>
                      <a:pt x="3" y="40"/>
                      <a:pt x="4" y="39"/>
                      <a:pt x="5" y="38"/>
                    </a:cubicBezTo>
                    <a:cubicBezTo>
                      <a:pt x="6" y="37"/>
                      <a:pt x="7" y="36"/>
                      <a:pt x="8" y="35"/>
                    </a:cubicBezTo>
                    <a:cubicBezTo>
                      <a:pt x="9" y="33"/>
                      <a:pt x="11" y="31"/>
                      <a:pt x="13" y="29"/>
                    </a:cubicBezTo>
                    <a:cubicBezTo>
                      <a:pt x="15" y="27"/>
                      <a:pt x="17" y="25"/>
                      <a:pt x="19" y="24"/>
                    </a:cubicBezTo>
                    <a:cubicBezTo>
                      <a:pt x="21" y="22"/>
                      <a:pt x="23" y="20"/>
                      <a:pt x="26" y="18"/>
                    </a:cubicBezTo>
                    <a:cubicBezTo>
                      <a:pt x="28" y="16"/>
                      <a:pt x="30" y="14"/>
                      <a:pt x="32" y="12"/>
                    </a:cubicBezTo>
                    <a:cubicBezTo>
                      <a:pt x="33" y="12"/>
                      <a:pt x="33" y="11"/>
                      <a:pt x="34" y="10"/>
                    </a:cubicBezTo>
                    <a:cubicBezTo>
                      <a:pt x="35" y="10"/>
                      <a:pt x="36" y="9"/>
                      <a:pt x="36" y="8"/>
                    </a:cubicBezTo>
                    <a:cubicBezTo>
                      <a:pt x="37" y="7"/>
                      <a:pt x="38" y="7"/>
                      <a:pt x="39" y="6"/>
                    </a:cubicBezTo>
                    <a:cubicBezTo>
                      <a:pt x="40" y="5"/>
                      <a:pt x="40" y="5"/>
                      <a:pt x="41" y="4"/>
                    </a:cubicBezTo>
                    <a:cubicBezTo>
                      <a:pt x="42" y="3"/>
                      <a:pt x="43" y="3"/>
                      <a:pt x="43" y="2"/>
                    </a:cubicBezTo>
                    <a:cubicBezTo>
                      <a:pt x="44" y="2"/>
                      <a:pt x="45" y="1"/>
                      <a:pt x="46" y="1"/>
                    </a:cubicBezTo>
                    <a:cubicBezTo>
                      <a:pt x="46" y="0"/>
                      <a:pt x="47" y="0"/>
                      <a:pt x="48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2" y="1"/>
                      <a:pt x="53" y="2"/>
                      <a:pt x="53" y="3"/>
                    </a:cubicBezTo>
                    <a:cubicBezTo>
                      <a:pt x="54" y="4"/>
                      <a:pt x="54" y="5"/>
                      <a:pt x="54" y="6"/>
                    </a:cubicBezTo>
                    <a:cubicBezTo>
                      <a:pt x="54" y="8"/>
                      <a:pt x="54" y="9"/>
                      <a:pt x="53" y="10"/>
                    </a:cubicBezTo>
                    <a:cubicBezTo>
                      <a:pt x="53" y="12"/>
                      <a:pt x="52" y="13"/>
                      <a:pt x="51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48" y="16"/>
                      <a:pt x="47" y="17"/>
                      <a:pt x="46" y="18"/>
                    </a:cubicBezTo>
                    <a:cubicBezTo>
                      <a:pt x="45" y="19"/>
                      <a:pt x="44" y="19"/>
                      <a:pt x="43" y="20"/>
                    </a:cubicBezTo>
                    <a:cubicBezTo>
                      <a:pt x="41" y="21"/>
                      <a:pt x="40" y="22"/>
                      <a:pt x="39" y="23"/>
                    </a:cubicBezTo>
                    <a:cubicBezTo>
                      <a:pt x="38" y="23"/>
                      <a:pt x="37" y="24"/>
                      <a:pt x="36" y="25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7"/>
                      <a:pt x="34" y="27"/>
                    </a:cubicBezTo>
                    <a:cubicBezTo>
                      <a:pt x="37" y="29"/>
                      <a:pt x="39" y="31"/>
                      <a:pt x="41" y="33"/>
                    </a:cubicBezTo>
                    <a:cubicBezTo>
                      <a:pt x="44" y="35"/>
                      <a:pt x="46" y="37"/>
                      <a:pt x="49" y="39"/>
                    </a:cubicBezTo>
                    <a:cubicBezTo>
                      <a:pt x="49" y="39"/>
                      <a:pt x="49" y="39"/>
                      <a:pt x="50" y="39"/>
                    </a:cubicBezTo>
                    <a:cubicBezTo>
                      <a:pt x="50" y="39"/>
                      <a:pt x="50" y="39"/>
                      <a:pt x="51" y="39"/>
                    </a:cubicBezTo>
                    <a:cubicBezTo>
                      <a:pt x="51" y="39"/>
                      <a:pt x="51" y="38"/>
                      <a:pt x="52" y="38"/>
                    </a:cubicBezTo>
                    <a:cubicBezTo>
                      <a:pt x="52" y="38"/>
                      <a:pt x="52" y="38"/>
                      <a:pt x="52" y="37"/>
                    </a:cubicBezTo>
                    <a:cubicBezTo>
                      <a:pt x="54" y="36"/>
                      <a:pt x="55" y="35"/>
                      <a:pt x="56" y="34"/>
                    </a:cubicBezTo>
                    <a:cubicBezTo>
                      <a:pt x="57" y="32"/>
                      <a:pt x="58" y="31"/>
                      <a:pt x="59" y="30"/>
                    </a:cubicBezTo>
                    <a:cubicBezTo>
                      <a:pt x="60" y="28"/>
                      <a:pt x="61" y="27"/>
                      <a:pt x="62" y="26"/>
                    </a:cubicBezTo>
                    <a:cubicBezTo>
                      <a:pt x="63" y="25"/>
                      <a:pt x="65" y="23"/>
                      <a:pt x="66" y="22"/>
                    </a:cubicBezTo>
                    <a:cubicBezTo>
                      <a:pt x="66" y="22"/>
                      <a:pt x="67" y="21"/>
                      <a:pt x="67" y="21"/>
                    </a:cubicBezTo>
                    <a:cubicBezTo>
                      <a:pt x="68" y="20"/>
                      <a:pt x="69" y="20"/>
                      <a:pt x="69" y="19"/>
                    </a:cubicBezTo>
                    <a:cubicBezTo>
                      <a:pt x="70" y="19"/>
                      <a:pt x="71" y="19"/>
                      <a:pt x="72" y="19"/>
                    </a:cubicBezTo>
                    <a:cubicBezTo>
                      <a:pt x="72" y="19"/>
                      <a:pt x="73" y="19"/>
                      <a:pt x="74" y="19"/>
                    </a:cubicBezTo>
                    <a:cubicBezTo>
                      <a:pt x="74" y="20"/>
                      <a:pt x="75" y="21"/>
                      <a:pt x="75" y="22"/>
                    </a:cubicBezTo>
                    <a:cubicBezTo>
                      <a:pt x="75" y="23"/>
                      <a:pt x="76" y="24"/>
                      <a:pt x="75" y="26"/>
                    </a:cubicBezTo>
                    <a:cubicBezTo>
                      <a:pt x="75" y="27"/>
                      <a:pt x="75" y="28"/>
                      <a:pt x="75" y="29"/>
                    </a:cubicBezTo>
                    <a:cubicBezTo>
                      <a:pt x="74" y="30"/>
                      <a:pt x="74" y="31"/>
                      <a:pt x="73" y="32"/>
                    </a:cubicBezTo>
                    <a:cubicBezTo>
                      <a:pt x="72" y="34"/>
                      <a:pt x="71" y="36"/>
                      <a:pt x="70" y="38"/>
                    </a:cubicBezTo>
                    <a:cubicBezTo>
                      <a:pt x="68" y="40"/>
                      <a:pt x="67" y="41"/>
                      <a:pt x="65" y="43"/>
                    </a:cubicBezTo>
                    <a:cubicBezTo>
                      <a:pt x="64" y="44"/>
                      <a:pt x="64" y="45"/>
                      <a:pt x="63" y="45"/>
                    </a:cubicBezTo>
                    <a:cubicBezTo>
                      <a:pt x="62" y="46"/>
                      <a:pt x="61" y="47"/>
                      <a:pt x="61" y="47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55" y="53"/>
                      <a:pt x="53" y="55"/>
                      <a:pt x="51" y="57"/>
                    </a:cubicBezTo>
                    <a:cubicBezTo>
                      <a:pt x="50" y="58"/>
                      <a:pt x="49" y="60"/>
                      <a:pt x="47" y="62"/>
                    </a:cubicBezTo>
                    <a:cubicBezTo>
                      <a:pt x="46" y="63"/>
                      <a:pt x="44" y="65"/>
                      <a:pt x="43" y="67"/>
                    </a:cubicBezTo>
                    <a:cubicBezTo>
                      <a:pt x="42" y="68"/>
                      <a:pt x="40" y="70"/>
                      <a:pt x="39" y="7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1" name="ï$ļîḍé">
                <a:extLst>
                  <a:ext uri="{FF2B5EF4-FFF2-40B4-BE49-F238E27FC236}">
                    <a16:creationId xmlns:a16="http://schemas.microsoft.com/office/drawing/2014/main" id="{1B95195A-2E66-4A51-B4F9-FA4E056FBBCE}"/>
                  </a:ext>
                </a:extLst>
              </p:cNvPr>
              <p:cNvSpPr/>
              <p:nvPr/>
            </p:nvSpPr>
            <p:spPr>
              <a:xfrm flipH="1">
                <a:off x="10707787" y="4001135"/>
                <a:ext cx="139415" cy="216621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65" extrusionOk="0">
                    <a:moveTo>
                      <a:pt x="98" y="127"/>
                    </a:moveTo>
                    <a:cubicBezTo>
                      <a:pt x="99" y="130"/>
                      <a:pt x="100" y="133"/>
                      <a:pt x="102" y="136"/>
                    </a:cubicBezTo>
                    <a:cubicBezTo>
                      <a:pt x="103" y="139"/>
                      <a:pt x="104" y="142"/>
                      <a:pt x="105" y="145"/>
                    </a:cubicBezTo>
                    <a:cubicBezTo>
                      <a:pt x="106" y="148"/>
                      <a:pt x="106" y="151"/>
                      <a:pt x="106" y="154"/>
                    </a:cubicBezTo>
                    <a:cubicBezTo>
                      <a:pt x="106" y="157"/>
                      <a:pt x="104" y="160"/>
                      <a:pt x="102" y="163"/>
                    </a:cubicBezTo>
                    <a:cubicBezTo>
                      <a:pt x="100" y="165"/>
                      <a:pt x="98" y="165"/>
                      <a:pt x="96" y="165"/>
                    </a:cubicBezTo>
                    <a:cubicBezTo>
                      <a:pt x="94" y="164"/>
                      <a:pt x="92" y="164"/>
                      <a:pt x="90" y="163"/>
                    </a:cubicBezTo>
                    <a:cubicBezTo>
                      <a:pt x="88" y="161"/>
                      <a:pt x="87" y="159"/>
                      <a:pt x="85" y="158"/>
                    </a:cubicBezTo>
                    <a:cubicBezTo>
                      <a:pt x="83" y="156"/>
                      <a:pt x="82" y="155"/>
                      <a:pt x="80" y="153"/>
                    </a:cubicBezTo>
                    <a:cubicBezTo>
                      <a:pt x="77" y="149"/>
                      <a:pt x="74" y="145"/>
                      <a:pt x="71" y="141"/>
                    </a:cubicBezTo>
                    <a:cubicBezTo>
                      <a:pt x="67" y="137"/>
                      <a:pt x="64" y="133"/>
                      <a:pt x="62" y="128"/>
                    </a:cubicBezTo>
                    <a:cubicBezTo>
                      <a:pt x="57" y="120"/>
                      <a:pt x="52" y="112"/>
                      <a:pt x="48" y="105"/>
                    </a:cubicBezTo>
                    <a:cubicBezTo>
                      <a:pt x="43" y="97"/>
                      <a:pt x="39" y="89"/>
                      <a:pt x="34" y="81"/>
                    </a:cubicBezTo>
                    <a:cubicBezTo>
                      <a:pt x="30" y="73"/>
                      <a:pt x="25" y="66"/>
                      <a:pt x="21" y="58"/>
                    </a:cubicBezTo>
                    <a:cubicBezTo>
                      <a:pt x="17" y="50"/>
                      <a:pt x="12" y="42"/>
                      <a:pt x="8" y="34"/>
                    </a:cubicBezTo>
                    <a:cubicBezTo>
                      <a:pt x="7" y="32"/>
                      <a:pt x="5" y="30"/>
                      <a:pt x="4" y="27"/>
                    </a:cubicBezTo>
                    <a:cubicBezTo>
                      <a:pt x="3" y="25"/>
                      <a:pt x="2" y="22"/>
                      <a:pt x="1" y="20"/>
                    </a:cubicBezTo>
                    <a:cubicBezTo>
                      <a:pt x="0" y="17"/>
                      <a:pt x="0" y="15"/>
                      <a:pt x="0" y="12"/>
                    </a:cubicBezTo>
                    <a:cubicBezTo>
                      <a:pt x="0" y="9"/>
                      <a:pt x="0" y="7"/>
                      <a:pt x="1" y="4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7" y="1"/>
                      <a:pt x="8" y="0"/>
                      <a:pt x="10" y="1"/>
                    </a:cubicBezTo>
                    <a:cubicBezTo>
                      <a:pt x="12" y="1"/>
                      <a:pt x="13" y="1"/>
                      <a:pt x="15" y="1"/>
                    </a:cubicBezTo>
                    <a:cubicBezTo>
                      <a:pt x="16" y="2"/>
                      <a:pt x="18" y="3"/>
                      <a:pt x="19" y="4"/>
                    </a:cubicBezTo>
                    <a:cubicBezTo>
                      <a:pt x="23" y="7"/>
                      <a:pt x="27" y="12"/>
                      <a:pt x="30" y="18"/>
                    </a:cubicBezTo>
                    <a:cubicBezTo>
                      <a:pt x="33" y="22"/>
                      <a:pt x="35" y="26"/>
                      <a:pt x="38" y="31"/>
                    </a:cubicBezTo>
                    <a:cubicBezTo>
                      <a:pt x="40" y="35"/>
                      <a:pt x="43" y="40"/>
                      <a:pt x="45" y="44"/>
                    </a:cubicBezTo>
                    <a:cubicBezTo>
                      <a:pt x="48" y="49"/>
                      <a:pt x="51" y="54"/>
                      <a:pt x="53" y="58"/>
                    </a:cubicBezTo>
                    <a:cubicBezTo>
                      <a:pt x="56" y="63"/>
                      <a:pt x="59" y="68"/>
                      <a:pt x="61" y="72"/>
                    </a:cubicBezTo>
                    <a:cubicBezTo>
                      <a:pt x="64" y="77"/>
                      <a:pt x="67" y="82"/>
                      <a:pt x="71" y="87"/>
                    </a:cubicBezTo>
                    <a:cubicBezTo>
                      <a:pt x="74" y="91"/>
                      <a:pt x="77" y="96"/>
                      <a:pt x="80" y="101"/>
                    </a:cubicBezTo>
                    <a:cubicBezTo>
                      <a:pt x="83" y="105"/>
                      <a:pt x="86" y="109"/>
                      <a:pt x="89" y="114"/>
                    </a:cubicBezTo>
                    <a:cubicBezTo>
                      <a:pt x="92" y="118"/>
                      <a:pt x="95" y="123"/>
                      <a:pt x="98" y="1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2" name="ïṩ1íḓe">
                <a:extLst>
                  <a:ext uri="{FF2B5EF4-FFF2-40B4-BE49-F238E27FC236}">
                    <a16:creationId xmlns:a16="http://schemas.microsoft.com/office/drawing/2014/main" id="{EDAEFBCB-5C2E-4E2F-911B-110569014D1C}"/>
                  </a:ext>
                </a:extLst>
              </p:cNvPr>
              <p:cNvSpPr/>
              <p:nvPr/>
            </p:nvSpPr>
            <p:spPr>
              <a:xfrm flipH="1">
                <a:off x="9722996" y="3659540"/>
                <a:ext cx="56099" cy="80539"/>
              </a:xfrm>
              <a:custGeom>
                <a:avLst/>
                <a:gdLst/>
                <a:ahLst/>
                <a:cxnLst/>
                <a:rect l="l" t="t" r="r" b="b"/>
                <a:pathLst>
                  <a:path w="43" h="61" extrusionOk="0">
                    <a:moveTo>
                      <a:pt x="43" y="9"/>
                    </a:moveTo>
                    <a:cubicBezTo>
                      <a:pt x="43" y="9"/>
                      <a:pt x="43" y="9"/>
                      <a:pt x="42" y="10"/>
                    </a:cubicBezTo>
                    <a:cubicBezTo>
                      <a:pt x="42" y="10"/>
                      <a:pt x="41" y="10"/>
                      <a:pt x="41" y="10"/>
                    </a:cubicBezTo>
                    <a:cubicBezTo>
                      <a:pt x="40" y="10"/>
                      <a:pt x="39" y="10"/>
                      <a:pt x="39" y="10"/>
                    </a:cubicBezTo>
                    <a:cubicBezTo>
                      <a:pt x="38" y="10"/>
                      <a:pt x="37" y="10"/>
                      <a:pt x="37" y="10"/>
                    </a:cubicBezTo>
                    <a:cubicBezTo>
                      <a:pt x="36" y="10"/>
                      <a:pt x="35" y="10"/>
                      <a:pt x="35" y="11"/>
                    </a:cubicBezTo>
                    <a:cubicBezTo>
                      <a:pt x="34" y="11"/>
                      <a:pt x="34" y="12"/>
                      <a:pt x="34" y="12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5" y="18"/>
                      <a:pt x="35" y="22"/>
                      <a:pt x="35" y="25"/>
                    </a:cubicBezTo>
                    <a:cubicBezTo>
                      <a:pt x="35" y="29"/>
                      <a:pt x="35" y="33"/>
                      <a:pt x="34" y="36"/>
                    </a:cubicBezTo>
                    <a:cubicBezTo>
                      <a:pt x="34" y="38"/>
                      <a:pt x="34" y="40"/>
                      <a:pt x="34" y="41"/>
                    </a:cubicBezTo>
                    <a:cubicBezTo>
                      <a:pt x="33" y="43"/>
                      <a:pt x="33" y="45"/>
                      <a:pt x="33" y="47"/>
                    </a:cubicBezTo>
                    <a:cubicBezTo>
                      <a:pt x="32" y="49"/>
                      <a:pt x="32" y="50"/>
                      <a:pt x="31" y="52"/>
                    </a:cubicBezTo>
                    <a:cubicBezTo>
                      <a:pt x="30" y="54"/>
                      <a:pt x="29" y="55"/>
                      <a:pt x="28" y="57"/>
                    </a:cubicBezTo>
                    <a:cubicBezTo>
                      <a:pt x="27" y="58"/>
                      <a:pt x="26" y="59"/>
                      <a:pt x="24" y="60"/>
                    </a:cubicBezTo>
                    <a:cubicBezTo>
                      <a:pt x="23" y="60"/>
                      <a:pt x="21" y="61"/>
                      <a:pt x="20" y="61"/>
                    </a:cubicBezTo>
                    <a:cubicBezTo>
                      <a:pt x="18" y="61"/>
                      <a:pt x="16" y="60"/>
                      <a:pt x="15" y="60"/>
                    </a:cubicBezTo>
                    <a:cubicBezTo>
                      <a:pt x="14" y="59"/>
                      <a:pt x="13" y="58"/>
                      <a:pt x="12" y="57"/>
                    </a:cubicBezTo>
                    <a:cubicBezTo>
                      <a:pt x="10" y="56"/>
                      <a:pt x="9" y="55"/>
                      <a:pt x="9" y="54"/>
                    </a:cubicBezTo>
                    <a:cubicBezTo>
                      <a:pt x="8" y="52"/>
                      <a:pt x="7" y="51"/>
                      <a:pt x="6" y="50"/>
                    </a:cubicBezTo>
                    <a:cubicBezTo>
                      <a:pt x="5" y="47"/>
                      <a:pt x="3" y="45"/>
                      <a:pt x="2" y="42"/>
                    </a:cubicBezTo>
                    <a:cubicBezTo>
                      <a:pt x="1" y="39"/>
                      <a:pt x="1" y="36"/>
                      <a:pt x="0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0" y="29"/>
                      <a:pt x="1" y="29"/>
                    </a:cubicBezTo>
                    <a:cubicBezTo>
                      <a:pt x="1" y="29"/>
                      <a:pt x="1" y="28"/>
                      <a:pt x="2" y="28"/>
                    </a:cubicBezTo>
                    <a:cubicBezTo>
                      <a:pt x="2" y="28"/>
                      <a:pt x="3" y="28"/>
                      <a:pt x="3" y="28"/>
                    </a:cubicBezTo>
                    <a:cubicBezTo>
                      <a:pt x="4" y="28"/>
                      <a:pt x="5" y="28"/>
                      <a:pt x="5" y="29"/>
                    </a:cubicBezTo>
                    <a:cubicBezTo>
                      <a:pt x="6" y="29"/>
                      <a:pt x="7" y="29"/>
                      <a:pt x="7" y="30"/>
                    </a:cubicBezTo>
                    <a:cubicBezTo>
                      <a:pt x="8" y="31"/>
                      <a:pt x="8" y="31"/>
                      <a:pt x="8" y="32"/>
                    </a:cubicBezTo>
                    <a:cubicBezTo>
                      <a:pt x="9" y="33"/>
                      <a:pt x="9" y="33"/>
                      <a:pt x="9" y="34"/>
                    </a:cubicBezTo>
                    <a:cubicBezTo>
                      <a:pt x="10" y="36"/>
                      <a:pt x="10" y="38"/>
                      <a:pt x="11" y="39"/>
                    </a:cubicBezTo>
                    <a:cubicBezTo>
                      <a:pt x="11" y="41"/>
                      <a:pt x="12" y="43"/>
                      <a:pt x="12" y="45"/>
                    </a:cubicBezTo>
                    <a:cubicBezTo>
                      <a:pt x="13" y="45"/>
                      <a:pt x="13" y="46"/>
                      <a:pt x="13" y="47"/>
                    </a:cubicBezTo>
                    <a:cubicBezTo>
                      <a:pt x="14" y="47"/>
                      <a:pt x="14" y="48"/>
                      <a:pt x="15" y="49"/>
                    </a:cubicBezTo>
                    <a:cubicBezTo>
                      <a:pt x="15" y="49"/>
                      <a:pt x="16" y="50"/>
                      <a:pt x="16" y="50"/>
                    </a:cubicBezTo>
                    <a:cubicBezTo>
                      <a:pt x="17" y="50"/>
                      <a:pt x="18" y="50"/>
                      <a:pt x="19" y="50"/>
                    </a:cubicBezTo>
                    <a:cubicBezTo>
                      <a:pt x="20" y="50"/>
                      <a:pt x="20" y="50"/>
                      <a:pt x="21" y="49"/>
                    </a:cubicBezTo>
                    <a:cubicBezTo>
                      <a:pt x="21" y="48"/>
                      <a:pt x="22" y="48"/>
                      <a:pt x="22" y="47"/>
                    </a:cubicBezTo>
                    <a:cubicBezTo>
                      <a:pt x="23" y="46"/>
                      <a:pt x="23" y="45"/>
                      <a:pt x="23" y="44"/>
                    </a:cubicBezTo>
                    <a:cubicBezTo>
                      <a:pt x="23" y="43"/>
                      <a:pt x="24" y="42"/>
                      <a:pt x="24" y="42"/>
                    </a:cubicBezTo>
                    <a:cubicBezTo>
                      <a:pt x="25" y="37"/>
                      <a:pt x="25" y="33"/>
                      <a:pt x="26" y="29"/>
                    </a:cubicBezTo>
                    <a:cubicBezTo>
                      <a:pt x="26" y="26"/>
                      <a:pt x="26" y="23"/>
                      <a:pt x="26" y="20"/>
                    </a:cubicBezTo>
                    <a:cubicBezTo>
                      <a:pt x="26" y="17"/>
                      <a:pt x="26" y="14"/>
                      <a:pt x="25" y="11"/>
                    </a:cubicBezTo>
                    <a:cubicBezTo>
                      <a:pt x="25" y="11"/>
                      <a:pt x="25" y="10"/>
                      <a:pt x="25" y="10"/>
                    </a:cubicBezTo>
                    <a:cubicBezTo>
                      <a:pt x="24" y="9"/>
                      <a:pt x="24" y="9"/>
                      <a:pt x="23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9"/>
                      <a:pt x="21" y="9"/>
                      <a:pt x="20" y="9"/>
                    </a:cubicBezTo>
                    <a:cubicBezTo>
                      <a:pt x="19" y="9"/>
                      <a:pt x="18" y="8"/>
                      <a:pt x="18" y="8"/>
                    </a:cubicBezTo>
                    <a:cubicBezTo>
                      <a:pt x="17" y="8"/>
                      <a:pt x="17" y="7"/>
                      <a:pt x="16" y="7"/>
                    </a:cubicBezTo>
                    <a:cubicBezTo>
                      <a:pt x="16" y="6"/>
                      <a:pt x="16" y="5"/>
                      <a:pt x="16" y="5"/>
                    </a:cubicBezTo>
                    <a:cubicBezTo>
                      <a:pt x="16" y="4"/>
                      <a:pt x="16" y="4"/>
                      <a:pt x="16" y="3"/>
                    </a:cubicBezTo>
                    <a:cubicBezTo>
                      <a:pt x="16" y="2"/>
                      <a:pt x="17" y="2"/>
                      <a:pt x="17" y="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9" y="1"/>
                      <a:pt x="20" y="0"/>
                      <a:pt x="20" y="1"/>
                    </a:cubicBezTo>
                    <a:cubicBezTo>
                      <a:pt x="23" y="0"/>
                      <a:pt x="26" y="0"/>
                      <a:pt x="29" y="1"/>
                    </a:cubicBezTo>
                    <a:cubicBezTo>
                      <a:pt x="32" y="1"/>
                      <a:pt x="35" y="1"/>
                      <a:pt x="38" y="2"/>
                    </a:cubicBezTo>
                    <a:cubicBezTo>
                      <a:pt x="39" y="2"/>
                      <a:pt x="40" y="3"/>
                      <a:pt x="41" y="3"/>
                    </a:cubicBezTo>
                    <a:cubicBezTo>
                      <a:pt x="42" y="4"/>
                      <a:pt x="42" y="5"/>
                      <a:pt x="43" y="6"/>
                    </a:cubicBezTo>
                    <a:cubicBezTo>
                      <a:pt x="43" y="6"/>
                      <a:pt x="43" y="7"/>
                      <a:pt x="43" y="7"/>
                    </a:cubicBezTo>
                    <a:cubicBezTo>
                      <a:pt x="43" y="8"/>
                      <a:pt x="43" y="8"/>
                      <a:pt x="43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3" name="iṧḷîḓé">
                <a:extLst>
                  <a:ext uri="{FF2B5EF4-FFF2-40B4-BE49-F238E27FC236}">
                    <a16:creationId xmlns:a16="http://schemas.microsoft.com/office/drawing/2014/main" id="{7CBD0433-ED3E-4465-BA12-D4E8760F19B2}"/>
                  </a:ext>
                </a:extLst>
              </p:cNvPr>
              <p:cNvSpPr/>
              <p:nvPr/>
            </p:nvSpPr>
            <p:spPr>
              <a:xfrm flipH="1">
                <a:off x="10120689" y="3304058"/>
                <a:ext cx="160522" cy="208845"/>
              </a:xfrm>
              <a:custGeom>
                <a:avLst/>
                <a:gdLst/>
                <a:ahLst/>
                <a:cxnLst/>
                <a:rect l="l" t="t" r="r" b="b"/>
                <a:pathLst>
                  <a:path w="122" h="159" extrusionOk="0">
                    <a:moveTo>
                      <a:pt x="122" y="117"/>
                    </a:moveTo>
                    <a:cubicBezTo>
                      <a:pt x="122" y="119"/>
                      <a:pt x="122" y="120"/>
                      <a:pt x="122" y="121"/>
                    </a:cubicBezTo>
                    <a:cubicBezTo>
                      <a:pt x="122" y="122"/>
                      <a:pt x="122" y="124"/>
                      <a:pt x="121" y="125"/>
                    </a:cubicBezTo>
                    <a:cubicBezTo>
                      <a:pt x="121" y="126"/>
                      <a:pt x="120" y="127"/>
                      <a:pt x="119" y="128"/>
                    </a:cubicBezTo>
                    <a:cubicBezTo>
                      <a:pt x="118" y="129"/>
                      <a:pt x="117" y="130"/>
                      <a:pt x="116" y="130"/>
                    </a:cubicBezTo>
                    <a:cubicBezTo>
                      <a:pt x="114" y="131"/>
                      <a:pt x="112" y="131"/>
                      <a:pt x="111" y="131"/>
                    </a:cubicBezTo>
                    <a:cubicBezTo>
                      <a:pt x="109" y="131"/>
                      <a:pt x="108" y="130"/>
                      <a:pt x="106" y="129"/>
                    </a:cubicBezTo>
                    <a:cubicBezTo>
                      <a:pt x="104" y="128"/>
                      <a:pt x="103" y="128"/>
                      <a:pt x="101" y="127"/>
                    </a:cubicBezTo>
                    <a:cubicBezTo>
                      <a:pt x="100" y="126"/>
                      <a:pt x="98" y="125"/>
                      <a:pt x="97" y="124"/>
                    </a:cubicBezTo>
                    <a:cubicBezTo>
                      <a:pt x="92" y="121"/>
                      <a:pt x="87" y="117"/>
                      <a:pt x="82" y="114"/>
                    </a:cubicBezTo>
                    <a:cubicBezTo>
                      <a:pt x="77" y="111"/>
                      <a:pt x="73" y="108"/>
                      <a:pt x="68" y="105"/>
                    </a:cubicBezTo>
                    <a:cubicBezTo>
                      <a:pt x="66" y="104"/>
                      <a:pt x="64" y="102"/>
                      <a:pt x="62" y="101"/>
                    </a:cubicBezTo>
                    <a:cubicBezTo>
                      <a:pt x="60" y="100"/>
                      <a:pt x="58" y="99"/>
                      <a:pt x="56" y="99"/>
                    </a:cubicBezTo>
                    <a:cubicBezTo>
                      <a:pt x="53" y="98"/>
                      <a:pt x="51" y="97"/>
                      <a:pt x="49" y="97"/>
                    </a:cubicBezTo>
                    <a:cubicBezTo>
                      <a:pt x="47" y="97"/>
                      <a:pt x="45" y="97"/>
                      <a:pt x="42" y="98"/>
                    </a:cubicBezTo>
                    <a:cubicBezTo>
                      <a:pt x="42" y="98"/>
                      <a:pt x="41" y="98"/>
                      <a:pt x="41" y="98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40" y="101"/>
                      <a:pt x="41" y="103"/>
                      <a:pt x="42" y="106"/>
                    </a:cubicBezTo>
                    <a:cubicBezTo>
                      <a:pt x="42" y="108"/>
                      <a:pt x="43" y="110"/>
                      <a:pt x="43" y="112"/>
                    </a:cubicBezTo>
                    <a:cubicBezTo>
                      <a:pt x="44" y="114"/>
                      <a:pt x="45" y="117"/>
                      <a:pt x="45" y="119"/>
                    </a:cubicBezTo>
                    <a:cubicBezTo>
                      <a:pt x="46" y="121"/>
                      <a:pt x="47" y="123"/>
                      <a:pt x="47" y="125"/>
                    </a:cubicBezTo>
                    <a:cubicBezTo>
                      <a:pt x="48" y="127"/>
                      <a:pt x="49" y="129"/>
                      <a:pt x="50" y="131"/>
                    </a:cubicBezTo>
                    <a:cubicBezTo>
                      <a:pt x="51" y="133"/>
                      <a:pt x="52" y="135"/>
                      <a:pt x="53" y="137"/>
                    </a:cubicBezTo>
                    <a:cubicBezTo>
                      <a:pt x="54" y="141"/>
                      <a:pt x="56" y="144"/>
                      <a:pt x="58" y="148"/>
                    </a:cubicBezTo>
                    <a:cubicBezTo>
                      <a:pt x="59" y="150"/>
                      <a:pt x="59" y="152"/>
                      <a:pt x="59" y="155"/>
                    </a:cubicBezTo>
                    <a:cubicBezTo>
                      <a:pt x="59" y="156"/>
                      <a:pt x="58" y="156"/>
                      <a:pt x="57" y="157"/>
                    </a:cubicBezTo>
                    <a:cubicBezTo>
                      <a:pt x="56" y="157"/>
                      <a:pt x="55" y="158"/>
                      <a:pt x="54" y="158"/>
                    </a:cubicBezTo>
                    <a:cubicBezTo>
                      <a:pt x="51" y="159"/>
                      <a:pt x="48" y="159"/>
                      <a:pt x="46" y="158"/>
                    </a:cubicBezTo>
                    <a:cubicBezTo>
                      <a:pt x="43" y="157"/>
                      <a:pt x="41" y="155"/>
                      <a:pt x="39" y="153"/>
                    </a:cubicBezTo>
                    <a:cubicBezTo>
                      <a:pt x="37" y="149"/>
                      <a:pt x="35" y="146"/>
                      <a:pt x="33" y="142"/>
                    </a:cubicBezTo>
                    <a:cubicBezTo>
                      <a:pt x="31" y="139"/>
                      <a:pt x="29" y="135"/>
                      <a:pt x="28" y="131"/>
                    </a:cubicBezTo>
                    <a:cubicBezTo>
                      <a:pt x="27" y="128"/>
                      <a:pt x="25" y="125"/>
                      <a:pt x="24" y="122"/>
                    </a:cubicBezTo>
                    <a:cubicBezTo>
                      <a:pt x="23" y="118"/>
                      <a:pt x="22" y="115"/>
                      <a:pt x="21" y="112"/>
                    </a:cubicBezTo>
                    <a:cubicBezTo>
                      <a:pt x="19" y="109"/>
                      <a:pt x="18" y="105"/>
                      <a:pt x="17" y="102"/>
                    </a:cubicBezTo>
                    <a:cubicBezTo>
                      <a:pt x="16" y="99"/>
                      <a:pt x="15" y="95"/>
                      <a:pt x="14" y="92"/>
                    </a:cubicBezTo>
                    <a:cubicBezTo>
                      <a:pt x="14" y="90"/>
                      <a:pt x="13" y="89"/>
                      <a:pt x="13" y="87"/>
                    </a:cubicBezTo>
                    <a:cubicBezTo>
                      <a:pt x="12" y="85"/>
                      <a:pt x="11" y="84"/>
                      <a:pt x="11" y="82"/>
                    </a:cubicBezTo>
                    <a:cubicBezTo>
                      <a:pt x="10" y="80"/>
                      <a:pt x="10" y="79"/>
                      <a:pt x="9" y="77"/>
                    </a:cubicBezTo>
                    <a:cubicBezTo>
                      <a:pt x="9" y="76"/>
                      <a:pt x="8" y="74"/>
                      <a:pt x="8" y="72"/>
                    </a:cubicBezTo>
                    <a:cubicBezTo>
                      <a:pt x="7" y="69"/>
                      <a:pt x="6" y="65"/>
                      <a:pt x="5" y="61"/>
                    </a:cubicBezTo>
                    <a:cubicBezTo>
                      <a:pt x="3" y="57"/>
                      <a:pt x="2" y="53"/>
                      <a:pt x="2" y="49"/>
                    </a:cubicBezTo>
                    <a:cubicBezTo>
                      <a:pt x="1" y="45"/>
                      <a:pt x="0" y="41"/>
                      <a:pt x="0" y="37"/>
                    </a:cubicBezTo>
                    <a:cubicBezTo>
                      <a:pt x="0" y="32"/>
                      <a:pt x="1" y="29"/>
                      <a:pt x="3" y="25"/>
                    </a:cubicBezTo>
                    <a:cubicBezTo>
                      <a:pt x="5" y="23"/>
                      <a:pt x="7" y="22"/>
                      <a:pt x="9" y="23"/>
                    </a:cubicBezTo>
                    <a:cubicBezTo>
                      <a:pt x="11" y="23"/>
                      <a:pt x="13" y="24"/>
                      <a:pt x="14" y="25"/>
                    </a:cubicBezTo>
                    <a:cubicBezTo>
                      <a:pt x="16" y="27"/>
                      <a:pt x="17" y="28"/>
                      <a:pt x="18" y="30"/>
                    </a:cubicBezTo>
                    <a:cubicBezTo>
                      <a:pt x="19" y="33"/>
                      <a:pt x="20" y="34"/>
                      <a:pt x="20" y="36"/>
                    </a:cubicBezTo>
                    <a:cubicBezTo>
                      <a:pt x="21" y="38"/>
                      <a:pt x="21" y="39"/>
                      <a:pt x="21" y="41"/>
                    </a:cubicBezTo>
                    <a:cubicBezTo>
                      <a:pt x="21" y="42"/>
                      <a:pt x="21" y="44"/>
                      <a:pt x="22" y="45"/>
                    </a:cubicBezTo>
                    <a:cubicBezTo>
                      <a:pt x="22" y="47"/>
                      <a:pt x="22" y="48"/>
                      <a:pt x="23" y="50"/>
                    </a:cubicBezTo>
                    <a:cubicBezTo>
                      <a:pt x="23" y="51"/>
                      <a:pt x="23" y="53"/>
                      <a:pt x="24" y="54"/>
                    </a:cubicBezTo>
                    <a:cubicBezTo>
                      <a:pt x="24" y="56"/>
                      <a:pt x="25" y="58"/>
                      <a:pt x="26" y="60"/>
                    </a:cubicBezTo>
                    <a:cubicBezTo>
                      <a:pt x="26" y="62"/>
                      <a:pt x="27" y="64"/>
                      <a:pt x="28" y="66"/>
                    </a:cubicBezTo>
                    <a:cubicBezTo>
                      <a:pt x="30" y="63"/>
                      <a:pt x="32" y="60"/>
                      <a:pt x="33" y="57"/>
                    </a:cubicBezTo>
                    <a:cubicBezTo>
                      <a:pt x="35" y="54"/>
                      <a:pt x="36" y="51"/>
                      <a:pt x="38" y="48"/>
                    </a:cubicBezTo>
                    <a:cubicBezTo>
                      <a:pt x="39" y="45"/>
                      <a:pt x="40" y="42"/>
                      <a:pt x="42" y="38"/>
                    </a:cubicBezTo>
                    <a:cubicBezTo>
                      <a:pt x="43" y="35"/>
                      <a:pt x="44" y="32"/>
                      <a:pt x="45" y="29"/>
                    </a:cubicBezTo>
                    <a:cubicBezTo>
                      <a:pt x="46" y="26"/>
                      <a:pt x="47" y="24"/>
                      <a:pt x="48" y="21"/>
                    </a:cubicBezTo>
                    <a:cubicBezTo>
                      <a:pt x="49" y="19"/>
                      <a:pt x="51" y="16"/>
                      <a:pt x="52" y="13"/>
                    </a:cubicBezTo>
                    <a:cubicBezTo>
                      <a:pt x="53" y="11"/>
                      <a:pt x="54" y="8"/>
                      <a:pt x="56" y="6"/>
                    </a:cubicBezTo>
                    <a:cubicBezTo>
                      <a:pt x="57" y="4"/>
                      <a:pt x="59" y="2"/>
                      <a:pt x="62" y="1"/>
                    </a:cubicBezTo>
                    <a:cubicBezTo>
                      <a:pt x="64" y="0"/>
                      <a:pt x="65" y="0"/>
                      <a:pt x="67" y="0"/>
                    </a:cubicBezTo>
                    <a:cubicBezTo>
                      <a:pt x="69" y="1"/>
                      <a:pt x="70" y="1"/>
                      <a:pt x="72" y="2"/>
                    </a:cubicBezTo>
                    <a:cubicBezTo>
                      <a:pt x="73" y="3"/>
                      <a:pt x="75" y="4"/>
                      <a:pt x="76" y="6"/>
                    </a:cubicBezTo>
                    <a:cubicBezTo>
                      <a:pt x="77" y="7"/>
                      <a:pt x="78" y="8"/>
                      <a:pt x="79" y="10"/>
                    </a:cubicBezTo>
                    <a:cubicBezTo>
                      <a:pt x="79" y="11"/>
                      <a:pt x="79" y="11"/>
                      <a:pt x="79" y="12"/>
                    </a:cubicBezTo>
                    <a:cubicBezTo>
                      <a:pt x="79" y="13"/>
                      <a:pt x="79" y="13"/>
                      <a:pt x="79" y="14"/>
                    </a:cubicBezTo>
                    <a:cubicBezTo>
                      <a:pt x="78" y="15"/>
                      <a:pt x="77" y="17"/>
                      <a:pt x="76" y="18"/>
                    </a:cubicBezTo>
                    <a:cubicBezTo>
                      <a:pt x="75" y="19"/>
                      <a:pt x="74" y="20"/>
                      <a:pt x="73" y="22"/>
                    </a:cubicBezTo>
                    <a:cubicBezTo>
                      <a:pt x="72" y="23"/>
                      <a:pt x="71" y="24"/>
                      <a:pt x="70" y="26"/>
                    </a:cubicBezTo>
                    <a:cubicBezTo>
                      <a:pt x="69" y="27"/>
                      <a:pt x="68" y="28"/>
                      <a:pt x="67" y="30"/>
                    </a:cubicBezTo>
                    <a:cubicBezTo>
                      <a:pt x="63" y="36"/>
                      <a:pt x="60" y="43"/>
                      <a:pt x="57" y="50"/>
                    </a:cubicBezTo>
                    <a:cubicBezTo>
                      <a:pt x="55" y="57"/>
                      <a:pt x="53" y="64"/>
                      <a:pt x="50" y="71"/>
                    </a:cubicBezTo>
                    <a:cubicBezTo>
                      <a:pt x="54" y="74"/>
                      <a:pt x="57" y="75"/>
                      <a:pt x="60" y="77"/>
                    </a:cubicBezTo>
                    <a:cubicBezTo>
                      <a:pt x="64" y="79"/>
                      <a:pt x="67" y="80"/>
                      <a:pt x="71" y="82"/>
                    </a:cubicBezTo>
                    <a:cubicBezTo>
                      <a:pt x="75" y="85"/>
                      <a:pt x="80" y="87"/>
                      <a:pt x="84" y="89"/>
                    </a:cubicBezTo>
                    <a:cubicBezTo>
                      <a:pt x="89" y="91"/>
                      <a:pt x="94" y="94"/>
                      <a:pt x="99" y="96"/>
                    </a:cubicBezTo>
                    <a:cubicBezTo>
                      <a:pt x="103" y="99"/>
                      <a:pt x="108" y="102"/>
                      <a:pt x="112" y="105"/>
                    </a:cubicBezTo>
                    <a:cubicBezTo>
                      <a:pt x="116" y="109"/>
                      <a:pt x="119" y="113"/>
                      <a:pt x="122" y="1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4" name="íṣlîďè">
                <a:extLst>
                  <a:ext uri="{FF2B5EF4-FFF2-40B4-BE49-F238E27FC236}">
                    <a16:creationId xmlns:a16="http://schemas.microsoft.com/office/drawing/2014/main" id="{CB2BE96A-73BB-4372-A9A7-88D5A8097D57}"/>
                  </a:ext>
                </a:extLst>
              </p:cNvPr>
              <p:cNvSpPr/>
              <p:nvPr/>
            </p:nvSpPr>
            <p:spPr>
              <a:xfrm flipH="1">
                <a:off x="9868521" y="3751742"/>
                <a:ext cx="69430" cy="103867"/>
              </a:xfrm>
              <a:custGeom>
                <a:avLst/>
                <a:gdLst/>
                <a:ahLst/>
                <a:cxnLst/>
                <a:rect l="l" t="t" r="r" b="b"/>
                <a:pathLst>
                  <a:path w="53" h="79" extrusionOk="0">
                    <a:moveTo>
                      <a:pt x="52" y="68"/>
                    </a:moveTo>
                    <a:cubicBezTo>
                      <a:pt x="52" y="69"/>
                      <a:pt x="52" y="69"/>
                      <a:pt x="51" y="69"/>
                    </a:cubicBezTo>
                    <a:cubicBezTo>
                      <a:pt x="51" y="70"/>
                      <a:pt x="50" y="70"/>
                      <a:pt x="50" y="70"/>
                    </a:cubicBezTo>
                    <a:cubicBezTo>
                      <a:pt x="47" y="72"/>
                      <a:pt x="44" y="73"/>
                      <a:pt x="41" y="74"/>
                    </a:cubicBezTo>
                    <a:cubicBezTo>
                      <a:pt x="38" y="75"/>
                      <a:pt x="35" y="76"/>
                      <a:pt x="32" y="77"/>
                    </a:cubicBezTo>
                    <a:cubicBezTo>
                      <a:pt x="29" y="77"/>
                      <a:pt x="26" y="78"/>
                      <a:pt x="23" y="78"/>
                    </a:cubicBezTo>
                    <a:cubicBezTo>
                      <a:pt x="20" y="79"/>
                      <a:pt x="17" y="79"/>
                      <a:pt x="14" y="79"/>
                    </a:cubicBezTo>
                    <a:cubicBezTo>
                      <a:pt x="12" y="79"/>
                      <a:pt x="11" y="78"/>
                      <a:pt x="10" y="78"/>
                    </a:cubicBezTo>
                    <a:cubicBezTo>
                      <a:pt x="8" y="77"/>
                      <a:pt x="7" y="76"/>
                      <a:pt x="6" y="75"/>
                    </a:cubicBezTo>
                    <a:cubicBezTo>
                      <a:pt x="5" y="74"/>
                      <a:pt x="5" y="73"/>
                      <a:pt x="4" y="71"/>
                    </a:cubicBezTo>
                    <a:cubicBezTo>
                      <a:pt x="3" y="70"/>
                      <a:pt x="3" y="69"/>
                      <a:pt x="2" y="67"/>
                    </a:cubicBezTo>
                    <a:cubicBezTo>
                      <a:pt x="1" y="65"/>
                      <a:pt x="1" y="62"/>
                      <a:pt x="0" y="59"/>
                    </a:cubicBezTo>
                    <a:cubicBezTo>
                      <a:pt x="0" y="56"/>
                      <a:pt x="0" y="53"/>
                      <a:pt x="0" y="50"/>
                    </a:cubicBezTo>
                    <a:cubicBezTo>
                      <a:pt x="0" y="46"/>
                      <a:pt x="1" y="41"/>
                      <a:pt x="1" y="37"/>
                    </a:cubicBezTo>
                    <a:cubicBezTo>
                      <a:pt x="2" y="33"/>
                      <a:pt x="3" y="28"/>
                      <a:pt x="4" y="24"/>
                    </a:cubicBezTo>
                    <a:cubicBezTo>
                      <a:pt x="4" y="22"/>
                      <a:pt x="5" y="19"/>
                      <a:pt x="5" y="17"/>
                    </a:cubicBezTo>
                    <a:cubicBezTo>
                      <a:pt x="6" y="15"/>
                      <a:pt x="6" y="13"/>
                      <a:pt x="7" y="11"/>
                    </a:cubicBezTo>
                    <a:cubicBezTo>
                      <a:pt x="7" y="9"/>
                      <a:pt x="8" y="7"/>
                      <a:pt x="9" y="5"/>
                    </a:cubicBezTo>
                    <a:cubicBezTo>
                      <a:pt x="10" y="3"/>
                      <a:pt x="12" y="1"/>
                      <a:pt x="13" y="0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1"/>
                    </a:cubicBezTo>
                    <a:cubicBezTo>
                      <a:pt x="17" y="2"/>
                      <a:pt x="18" y="2"/>
                      <a:pt x="18" y="3"/>
                    </a:cubicBezTo>
                    <a:cubicBezTo>
                      <a:pt x="18" y="4"/>
                      <a:pt x="18" y="4"/>
                      <a:pt x="18" y="5"/>
                    </a:cubicBezTo>
                    <a:cubicBezTo>
                      <a:pt x="18" y="8"/>
                      <a:pt x="18" y="10"/>
                      <a:pt x="17" y="13"/>
                    </a:cubicBezTo>
                    <a:cubicBezTo>
                      <a:pt x="17" y="15"/>
                      <a:pt x="17" y="18"/>
                      <a:pt x="17" y="20"/>
                    </a:cubicBezTo>
                    <a:cubicBezTo>
                      <a:pt x="16" y="22"/>
                      <a:pt x="16" y="24"/>
                      <a:pt x="16" y="26"/>
                    </a:cubicBezTo>
                    <a:cubicBezTo>
                      <a:pt x="16" y="28"/>
                      <a:pt x="15" y="30"/>
                      <a:pt x="15" y="32"/>
                    </a:cubicBezTo>
                    <a:cubicBezTo>
                      <a:pt x="15" y="34"/>
                      <a:pt x="15" y="36"/>
                      <a:pt x="14" y="38"/>
                    </a:cubicBezTo>
                    <a:cubicBezTo>
                      <a:pt x="14" y="40"/>
                      <a:pt x="14" y="42"/>
                      <a:pt x="14" y="44"/>
                    </a:cubicBezTo>
                    <a:cubicBezTo>
                      <a:pt x="14" y="46"/>
                      <a:pt x="14" y="48"/>
                      <a:pt x="14" y="50"/>
                    </a:cubicBezTo>
                    <a:cubicBezTo>
                      <a:pt x="14" y="52"/>
                      <a:pt x="14" y="54"/>
                      <a:pt x="14" y="55"/>
                    </a:cubicBezTo>
                    <a:cubicBezTo>
                      <a:pt x="14" y="57"/>
                      <a:pt x="14" y="59"/>
                      <a:pt x="15" y="61"/>
                    </a:cubicBezTo>
                    <a:cubicBezTo>
                      <a:pt x="15" y="63"/>
                      <a:pt x="16" y="64"/>
                      <a:pt x="17" y="66"/>
                    </a:cubicBezTo>
                    <a:cubicBezTo>
                      <a:pt x="20" y="66"/>
                      <a:pt x="22" y="65"/>
                      <a:pt x="25" y="65"/>
                    </a:cubicBezTo>
                    <a:cubicBezTo>
                      <a:pt x="27" y="64"/>
                      <a:pt x="30" y="64"/>
                      <a:pt x="32" y="63"/>
                    </a:cubicBezTo>
                    <a:cubicBezTo>
                      <a:pt x="35" y="63"/>
                      <a:pt x="37" y="62"/>
                      <a:pt x="38" y="62"/>
                    </a:cubicBezTo>
                    <a:cubicBezTo>
                      <a:pt x="40" y="61"/>
                      <a:pt x="42" y="61"/>
                      <a:pt x="44" y="61"/>
                    </a:cubicBezTo>
                    <a:cubicBezTo>
                      <a:pt x="46" y="61"/>
                      <a:pt x="48" y="61"/>
                      <a:pt x="49" y="62"/>
                    </a:cubicBezTo>
                    <a:cubicBezTo>
                      <a:pt x="51" y="64"/>
                      <a:pt x="52" y="65"/>
                      <a:pt x="52" y="66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3" y="67"/>
                      <a:pt x="53" y="68"/>
                      <a:pt x="52" y="6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5" name="îSḻíḑe">
                <a:extLst>
                  <a:ext uri="{FF2B5EF4-FFF2-40B4-BE49-F238E27FC236}">
                    <a16:creationId xmlns:a16="http://schemas.microsoft.com/office/drawing/2014/main" id="{BB593BA1-931B-4ABD-9CB2-F7A7021DEF9B}"/>
                  </a:ext>
                </a:extLst>
              </p:cNvPr>
              <p:cNvSpPr/>
              <p:nvPr/>
            </p:nvSpPr>
            <p:spPr>
              <a:xfrm flipH="1">
                <a:off x="10287321" y="3411813"/>
                <a:ext cx="268276" cy="288829"/>
              </a:xfrm>
              <a:custGeom>
                <a:avLst/>
                <a:gdLst/>
                <a:ahLst/>
                <a:cxnLst/>
                <a:rect l="l" t="t" r="r" b="b"/>
                <a:pathLst>
                  <a:path w="204" h="220" extrusionOk="0">
                    <a:moveTo>
                      <a:pt x="204" y="144"/>
                    </a:moveTo>
                    <a:cubicBezTo>
                      <a:pt x="204" y="147"/>
                      <a:pt x="203" y="150"/>
                      <a:pt x="201" y="152"/>
                    </a:cubicBezTo>
                    <a:cubicBezTo>
                      <a:pt x="200" y="155"/>
                      <a:pt x="198" y="156"/>
                      <a:pt x="195" y="158"/>
                    </a:cubicBezTo>
                    <a:cubicBezTo>
                      <a:pt x="193" y="159"/>
                      <a:pt x="192" y="160"/>
                      <a:pt x="190" y="161"/>
                    </a:cubicBezTo>
                    <a:cubicBezTo>
                      <a:pt x="188" y="162"/>
                      <a:pt x="186" y="163"/>
                      <a:pt x="184" y="163"/>
                    </a:cubicBezTo>
                    <a:cubicBezTo>
                      <a:pt x="182" y="163"/>
                      <a:pt x="180" y="162"/>
                      <a:pt x="179" y="160"/>
                    </a:cubicBezTo>
                    <a:cubicBezTo>
                      <a:pt x="177" y="158"/>
                      <a:pt x="176" y="157"/>
                      <a:pt x="174" y="155"/>
                    </a:cubicBezTo>
                    <a:cubicBezTo>
                      <a:pt x="168" y="148"/>
                      <a:pt x="163" y="140"/>
                      <a:pt x="158" y="132"/>
                    </a:cubicBezTo>
                    <a:cubicBezTo>
                      <a:pt x="154" y="123"/>
                      <a:pt x="149" y="115"/>
                      <a:pt x="144" y="106"/>
                    </a:cubicBezTo>
                    <a:cubicBezTo>
                      <a:pt x="142" y="103"/>
                      <a:pt x="140" y="100"/>
                      <a:pt x="139" y="96"/>
                    </a:cubicBezTo>
                    <a:cubicBezTo>
                      <a:pt x="137" y="92"/>
                      <a:pt x="135" y="89"/>
                      <a:pt x="134" y="85"/>
                    </a:cubicBezTo>
                    <a:cubicBezTo>
                      <a:pt x="133" y="82"/>
                      <a:pt x="131" y="80"/>
                      <a:pt x="130" y="77"/>
                    </a:cubicBezTo>
                    <a:cubicBezTo>
                      <a:pt x="129" y="75"/>
                      <a:pt x="128" y="72"/>
                      <a:pt x="126" y="69"/>
                    </a:cubicBezTo>
                    <a:cubicBezTo>
                      <a:pt x="125" y="67"/>
                      <a:pt x="124" y="64"/>
                      <a:pt x="122" y="61"/>
                    </a:cubicBezTo>
                    <a:cubicBezTo>
                      <a:pt x="121" y="59"/>
                      <a:pt x="119" y="56"/>
                      <a:pt x="118" y="54"/>
                    </a:cubicBezTo>
                    <a:cubicBezTo>
                      <a:pt x="116" y="62"/>
                      <a:pt x="114" y="69"/>
                      <a:pt x="114" y="77"/>
                    </a:cubicBezTo>
                    <a:cubicBezTo>
                      <a:pt x="113" y="84"/>
                      <a:pt x="113" y="92"/>
                      <a:pt x="113" y="100"/>
                    </a:cubicBezTo>
                    <a:cubicBezTo>
                      <a:pt x="113" y="107"/>
                      <a:pt x="113" y="115"/>
                      <a:pt x="114" y="122"/>
                    </a:cubicBezTo>
                    <a:cubicBezTo>
                      <a:pt x="115" y="130"/>
                      <a:pt x="115" y="138"/>
                      <a:pt x="116" y="145"/>
                    </a:cubicBezTo>
                    <a:cubicBezTo>
                      <a:pt x="117" y="148"/>
                      <a:pt x="117" y="151"/>
                      <a:pt x="117" y="153"/>
                    </a:cubicBezTo>
                    <a:cubicBezTo>
                      <a:pt x="118" y="156"/>
                      <a:pt x="118" y="159"/>
                      <a:pt x="118" y="162"/>
                    </a:cubicBezTo>
                    <a:cubicBezTo>
                      <a:pt x="118" y="163"/>
                      <a:pt x="118" y="164"/>
                      <a:pt x="119" y="166"/>
                    </a:cubicBezTo>
                    <a:cubicBezTo>
                      <a:pt x="119" y="167"/>
                      <a:pt x="119" y="168"/>
                      <a:pt x="119" y="169"/>
                    </a:cubicBezTo>
                    <a:cubicBezTo>
                      <a:pt x="118" y="171"/>
                      <a:pt x="118" y="172"/>
                      <a:pt x="118" y="173"/>
                    </a:cubicBezTo>
                    <a:cubicBezTo>
                      <a:pt x="117" y="174"/>
                      <a:pt x="117" y="175"/>
                      <a:pt x="115" y="176"/>
                    </a:cubicBezTo>
                    <a:cubicBezTo>
                      <a:pt x="111" y="179"/>
                      <a:pt x="107" y="180"/>
                      <a:pt x="102" y="179"/>
                    </a:cubicBezTo>
                    <a:cubicBezTo>
                      <a:pt x="98" y="178"/>
                      <a:pt x="94" y="176"/>
                      <a:pt x="91" y="173"/>
                    </a:cubicBezTo>
                    <a:cubicBezTo>
                      <a:pt x="86" y="170"/>
                      <a:pt x="82" y="166"/>
                      <a:pt x="79" y="161"/>
                    </a:cubicBezTo>
                    <a:cubicBezTo>
                      <a:pt x="75" y="157"/>
                      <a:pt x="72" y="152"/>
                      <a:pt x="68" y="148"/>
                    </a:cubicBezTo>
                    <a:cubicBezTo>
                      <a:pt x="65" y="143"/>
                      <a:pt x="62" y="138"/>
                      <a:pt x="58" y="133"/>
                    </a:cubicBezTo>
                    <a:cubicBezTo>
                      <a:pt x="55" y="128"/>
                      <a:pt x="51" y="124"/>
                      <a:pt x="47" y="120"/>
                    </a:cubicBezTo>
                    <a:cubicBezTo>
                      <a:pt x="46" y="123"/>
                      <a:pt x="46" y="127"/>
                      <a:pt x="47" y="130"/>
                    </a:cubicBezTo>
                    <a:cubicBezTo>
                      <a:pt x="47" y="133"/>
                      <a:pt x="48" y="137"/>
                      <a:pt x="49" y="140"/>
                    </a:cubicBezTo>
                    <a:cubicBezTo>
                      <a:pt x="51" y="143"/>
                      <a:pt x="52" y="146"/>
                      <a:pt x="53" y="149"/>
                    </a:cubicBezTo>
                    <a:cubicBezTo>
                      <a:pt x="55" y="152"/>
                      <a:pt x="56" y="155"/>
                      <a:pt x="57" y="158"/>
                    </a:cubicBezTo>
                    <a:cubicBezTo>
                      <a:pt x="58" y="161"/>
                      <a:pt x="59" y="164"/>
                      <a:pt x="61" y="167"/>
                    </a:cubicBezTo>
                    <a:cubicBezTo>
                      <a:pt x="62" y="169"/>
                      <a:pt x="63" y="172"/>
                      <a:pt x="65" y="175"/>
                    </a:cubicBezTo>
                    <a:cubicBezTo>
                      <a:pt x="66" y="177"/>
                      <a:pt x="67" y="179"/>
                      <a:pt x="68" y="181"/>
                    </a:cubicBezTo>
                    <a:cubicBezTo>
                      <a:pt x="69" y="183"/>
                      <a:pt x="71" y="184"/>
                      <a:pt x="72" y="186"/>
                    </a:cubicBezTo>
                    <a:cubicBezTo>
                      <a:pt x="73" y="188"/>
                      <a:pt x="74" y="190"/>
                      <a:pt x="75" y="192"/>
                    </a:cubicBezTo>
                    <a:cubicBezTo>
                      <a:pt x="77" y="193"/>
                      <a:pt x="78" y="195"/>
                      <a:pt x="78" y="197"/>
                    </a:cubicBezTo>
                    <a:cubicBezTo>
                      <a:pt x="79" y="199"/>
                      <a:pt x="80" y="201"/>
                      <a:pt x="81" y="203"/>
                    </a:cubicBezTo>
                    <a:cubicBezTo>
                      <a:pt x="82" y="205"/>
                      <a:pt x="82" y="207"/>
                      <a:pt x="82" y="209"/>
                    </a:cubicBezTo>
                    <a:cubicBezTo>
                      <a:pt x="82" y="211"/>
                      <a:pt x="81" y="213"/>
                      <a:pt x="80" y="215"/>
                    </a:cubicBezTo>
                    <a:cubicBezTo>
                      <a:pt x="79" y="217"/>
                      <a:pt x="78" y="218"/>
                      <a:pt x="75" y="218"/>
                    </a:cubicBezTo>
                    <a:cubicBezTo>
                      <a:pt x="72" y="220"/>
                      <a:pt x="68" y="220"/>
                      <a:pt x="65" y="219"/>
                    </a:cubicBezTo>
                    <a:cubicBezTo>
                      <a:pt x="62" y="219"/>
                      <a:pt x="58" y="218"/>
                      <a:pt x="56" y="215"/>
                    </a:cubicBezTo>
                    <a:cubicBezTo>
                      <a:pt x="53" y="213"/>
                      <a:pt x="51" y="211"/>
                      <a:pt x="49" y="208"/>
                    </a:cubicBezTo>
                    <a:cubicBezTo>
                      <a:pt x="47" y="205"/>
                      <a:pt x="45" y="203"/>
                      <a:pt x="43" y="200"/>
                    </a:cubicBezTo>
                    <a:cubicBezTo>
                      <a:pt x="39" y="192"/>
                      <a:pt x="34" y="185"/>
                      <a:pt x="30" y="177"/>
                    </a:cubicBezTo>
                    <a:cubicBezTo>
                      <a:pt x="26" y="169"/>
                      <a:pt x="23" y="161"/>
                      <a:pt x="19" y="152"/>
                    </a:cubicBezTo>
                    <a:cubicBezTo>
                      <a:pt x="16" y="145"/>
                      <a:pt x="13" y="137"/>
                      <a:pt x="11" y="130"/>
                    </a:cubicBezTo>
                    <a:cubicBezTo>
                      <a:pt x="9" y="122"/>
                      <a:pt x="7" y="115"/>
                      <a:pt x="5" y="107"/>
                    </a:cubicBezTo>
                    <a:cubicBezTo>
                      <a:pt x="4" y="101"/>
                      <a:pt x="3" y="96"/>
                      <a:pt x="2" y="91"/>
                    </a:cubicBezTo>
                    <a:cubicBezTo>
                      <a:pt x="1" y="86"/>
                      <a:pt x="0" y="81"/>
                      <a:pt x="0" y="76"/>
                    </a:cubicBezTo>
                    <a:cubicBezTo>
                      <a:pt x="0" y="71"/>
                      <a:pt x="0" y="66"/>
                      <a:pt x="1" y="62"/>
                    </a:cubicBezTo>
                    <a:cubicBezTo>
                      <a:pt x="1" y="58"/>
                      <a:pt x="3" y="54"/>
                      <a:pt x="6" y="50"/>
                    </a:cubicBezTo>
                    <a:cubicBezTo>
                      <a:pt x="9" y="48"/>
                      <a:pt x="11" y="47"/>
                      <a:pt x="13" y="47"/>
                    </a:cubicBezTo>
                    <a:cubicBezTo>
                      <a:pt x="15" y="47"/>
                      <a:pt x="18" y="47"/>
                      <a:pt x="20" y="47"/>
                    </a:cubicBezTo>
                    <a:cubicBezTo>
                      <a:pt x="22" y="48"/>
                      <a:pt x="24" y="48"/>
                      <a:pt x="27" y="50"/>
                    </a:cubicBezTo>
                    <a:cubicBezTo>
                      <a:pt x="29" y="51"/>
                      <a:pt x="31" y="52"/>
                      <a:pt x="32" y="54"/>
                    </a:cubicBezTo>
                    <a:cubicBezTo>
                      <a:pt x="36" y="57"/>
                      <a:pt x="39" y="61"/>
                      <a:pt x="42" y="66"/>
                    </a:cubicBezTo>
                    <a:cubicBezTo>
                      <a:pt x="45" y="70"/>
                      <a:pt x="48" y="74"/>
                      <a:pt x="52" y="78"/>
                    </a:cubicBezTo>
                    <a:cubicBezTo>
                      <a:pt x="54" y="81"/>
                      <a:pt x="56" y="84"/>
                      <a:pt x="58" y="86"/>
                    </a:cubicBezTo>
                    <a:cubicBezTo>
                      <a:pt x="60" y="89"/>
                      <a:pt x="62" y="91"/>
                      <a:pt x="64" y="94"/>
                    </a:cubicBezTo>
                    <a:cubicBezTo>
                      <a:pt x="65" y="95"/>
                      <a:pt x="66" y="96"/>
                      <a:pt x="67" y="97"/>
                    </a:cubicBezTo>
                    <a:cubicBezTo>
                      <a:pt x="69" y="98"/>
                      <a:pt x="70" y="100"/>
                      <a:pt x="71" y="100"/>
                    </a:cubicBezTo>
                    <a:cubicBezTo>
                      <a:pt x="72" y="101"/>
                      <a:pt x="74" y="102"/>
                      <a:pt x="75" y="103"/>
                    </a:cubicBezTo>
                    <a:cubicBezTo>
                      <a:pt x="77" y="103"/>
                      <a:pt x="78" y="103"/>
                      <a:pt x="80" y="103"/>
                    </a:cubicBezTo>
                    <a:cubicBezTo>
                      <a:pt x="80" y="94"/>
                      <a:pt x="81" y="84"/>
                      <a:pt x="82" y="75"/>
                    </a:cubicBezTo>
                    <a:cubicBezTo>
                      <a:pt x="82" y="66"/>
                      <a:pt x="83" y="57"/>
                      <a:pt x="84" y="47"/>
                    </a:cubicBezTo>
                    <a:cubicBezTo>
                      <a:pt x="84" y="43"/>
                      <a:pt x="85" y="39"/>
                      <a:pt x="85" y="35"/>
                    </a:cubicBezTo>
                    <a:cubicBezTo>
                      <a:pt x="86" y="31"/>
                      <a:pt x="86" y="27"/>
                      <a:pt x="87" y="23"/>
                    </a:cubicBezTo>
                    <a:cubicBezTo>
                      <a:pt x="88" y="19"/>
                      <a:pt x="89" y="15"/>
                      <a:pt x="90" y="12"/>
                    </a:cubicBezTo>
                    <a:cubicBezTo>
                      <a:pt x="92" y="8"/>
                      <a:pt x="94" y="5"/>
                      <a:pt x="97" y="2"/>
                    </a:cubicBezTo>
                    <a:cubicBezTo>
                      <a:pt x="100" y="1"/>
                      <a:pt x="102" y="0"/>
                      <a:pt x="105" y="0"/>
                    </a:cubicBezTo>
                    <a:cubicBezTo>
                      <a:pt x="108" y="0"/>
                      <a:pt x="111" y="0"/>
                      <a:pt x="114" y="0"/>
                    </a:cubicBezTo>
                    <a:cubicBezTo>
                      <a:pt x="116" y="1"/>
                      <a:pt x="119" y="2"/>
                      <a:pt x="122" y="3"/>
                    </a:cubicBezTo>
                    <a:cubicBezTo>
                      <a:pt x="124" y="4"/>
                      <a:pt x="127" y="6"/>
                      <a:pt x="129" y="8"/>
                    </a:cubicBezTo>
                    <a:cubicBezTo>
                      <a:pt x="133" y="12"/>
                      <a:pt x="136" y="16"/>
                      <a:pt x="140" y="21"/>
                    </a:cubicBezTo>
                    <a:cubicBezTo>
                      <a:pt x="143" y="26"/>
                      <a:pt x="146" y="31"/>
                      <a:pt x="149" y="36"/>
                    </a:cubicBezTo>
                    <a:cubicBezTo>
                      <a:pt x="149" y="37"/>
                      <a:pt x="150" y="38"/>
                      <a:pt x="150" y="39"/>
                    </a:cubicBezTo>
                    <a:cubicBezTo>
                      <a:pt x="151" y="40"/>
                      <a:pt x="151" y="41"/>
                      <a:pt x="152" y="42"/>
                    </a:cubicBezTo>
                    <a:cubicBezTo>
                      <a:pt x="153" y="45"/>
                      <a:pt x="154" y="47"/>
                      <a:pt x="155" y="50"/>
                    </a:cubicBezTo>
                    <a:cubicBezTo>
                      <a:pt x="156" y="53"/>
                      <a:pt x="157" y="56"/>
                      <a:pt x="158" y="59"/>
                    </a:cubicBezTo>
                    <a:cubicBezTo>
                      <a:pt x="159" y="61"/>
                      <a:pt x="160" y="64"/>
                      <a:pt x="161" y="67"/>
                    </a:cubicBezTo>
                    <a:cubicBezTo>
                      <a:pt x="162" y="70"/>
                      <a:pt x="163" y="73"/>
                      <a:pt x="164" y="76"/>
                    </a:cubicBezTo>
                    <a:cubicBezTo>
                      <a:pt x="164" y="78"/>
                      <a:pt x="165" y="79"/>
                      <a:pt x="166" y="81"/>
                    </a:cubicBezTo>
                    <a:cubicBezTo>
                      <a:pt x="167" y="83"/>
                      <a:pt x="168" y="85"/>
                      <a:pt x="168" y="87"/>
                    </a:cubicBezTo>
                    <a:cubicBezTo>
                      <a:pt x="171" y="92"/>
                      <a:pt x="174" y="97"/>
                      <a:pt x="177" y="102"/>
                    </a:cubicBezTo>
                    <a:cubicBezTo>
                      <a:pt x="181" y="106"/>
                      <a:pt x="184" y="111"/>
                      <a:pt x="187" y="116"/>
                    </a:cubicBezTo>
                    <a:cubicBezTo>
                      <a:pt x="191" y="121"/>
                      <a:pt x="194" y="125"/>
                      <a:pt x="197" y="130"/>
                    </a:cubicBezTo>
                    <a:cubicBezTo>
                      <a:pt x="200" y="134"/>
                      <a:pt x="202" y="139"/>
                      <a:pt x="204" y="14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6" name="ïṣḷíḋé">
                <a:extLst>
                  <a:ext uri="{FF2B5EF4-FFF2-40B4-BE49-F238E27FC236}">
                    <a16:creationId xmlns:a16="http://schemas.microsoft.com/office/drawing/2014/main" id="{2ED27513-6108-4E1E-A5E1-BD7900AF7C3A}"/>
                  </a:ext>
                </a:extLst>
              </p:cNvPr>
              <p:cNvSpPr/>
              <p:nvPr/>
            </p:nvSpPr>
            <p:spPr>
              <a:xfrm flipH="1">
                <a:off x="10626137" y="3936704"/>
                <a:ext cx="114420" cy="110532"/>
              </a:xfrm>
              <a:custGeom>
                <a:avLst/>
                <a:gdLst/>
                <a:ahLst/>
                <a:cxnLst/>
                <a:rect l="l" t="t" r="r" b="b"/>
                <a:pathLst>
                  <a:path w="87" h="84" extrusionOk="0">
                    <a:moveTo>
                      <a:pt x="46" y="79"/>
                    </a:moveTo>
                    <a:cubicBezTo>
                      <a:pt x="45" y="80"/>
                      <a:pt x="44" y="80"/>
                      <a:pt x="43" y="81"/>
                    </a:cubicBezTo>
                    <a:cubicBezTo>
                      <a:pt x="42" y="82"/>
                      <a:pt x="41" y="82"/>
                      <a:pt x="40" y="83"/>
                    </a:cubicBezTo>
                    <a:cubicBezTo>
                      <a:pt x="39" y="83"/>
                      <a:pt x="38" y="84"/>
                      <a:pt x="36" y="84"/>
                    </a:cubicBezTo>
                    <a:cubicBezTo>
                      <a:pt x="35" y="84"/>
                      <a:pt x="34" y="84"/>
                      <a:pt x="33" y="83"/>
                    </a:cubicBezTo>
                    <a:cubicBezTo>
                      <a:pt x="31" y="82"/>
                      <a:pt x="30" y="80"/>
                      <a:pt x="29" y="78"/>
                    </a:cubicBezTo>
                    <a:cubicBezTo>
                      <a:pt x="29" y="76"/>
                      <a:pt x="28" y="74"/>
                      <a:pt x="28" y="72"/>
                    </a:cubicBezTo>
                    <a:cubicBezTo>
                      <a:pt x="28" y="70"/>
                      <a:pt x="29" y="68"/>
                      <a:pt x="29" y="66"/>
                    </a:cubicBezTo>
                    <a:cubicBezTo>
                      <a:pt x="29" y="64"/>
                      <a:pt x="30" y="62"/>
                      <a:pt x="30" y="60"/>
                    </a:cubicBezTo>
                    <a:cubicBezTo>
                      <a:pt x="31" y="55"/>
                      <a:pt x="32" y="51"/>
                      <a:pt x="33" y="46"/>
                    </a:cubicBezTo>
                    <a:cubicBezTo>
                      <a:pt x="34" y="42"/>
                      <a:pt x="35" y="37"/>
                      <a:pt x="36" y="32"/>
                    </a:cubicBezTo>
                    <a:cubicBezTo>
                      <a:pt x="35" y="32"/>
                      <a:pt x="34" y="33"/>
                      <a:pt x="33" y="33"/>
                    </a:cubicBezTo>
                    <a:cubicBezTo>
                      <a:pt x="32" y="34"/>
                      <a:pt x="31" y="34"/>
                      <a:pt x="30" y="35"/>
                    </a:cubicBezTo>
                    <a:cubicBezTo>
                      <a:pt x="29" y="36"/>
                      <a:pt x="28" y="36"/>
                      <a:pt x="28" y="37"/>
                    </a:cubicBezTo>
                    <a:cubicBezTo>
                      <a:pt x="27" y="38"/>
                      <a:pt x="26" y="39"/>
                      <a:pt x="25" y="39"/>
                    </a:cubicBezTo>
                    <a:cubicBezTo>
                      <a:pt x="24" y="41"/>
                      <a:pt x="23" y="42"/>
                      <a:pt x="22" y="43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7" y="49"/>
                      <a:pt x="16" y="50"/>
                      <a:pt x="15" y="52"/>
                    </a:cubicBezTo>
                    <a:cubicBezTo>
                      <a:pt x="14" y="53"/>
                      <a:pt x="13" y="54"/>
                      <a:pt x="12" y="56"/>
                    </a:cubicBezTo>
                    <a:cubicBezTo>
                      <a:pt x="11" y="56"/>
                      <a:pt x="11" y="57"/>
                      <a:pt x="10" y="58"/>
                    </a:cubicBezTo>
                    <a:cubicBezTo>
                      <a:pt x="9" y="59"/>
                      <a:pt x="9" y="59"/>
                      <a:pt x="8" y="60"/>
                    </a:cubicBezTo>
                    <a:cubicBezTo>
                      <a:pt x="7" y="61"/>
                      <a:pt x="6" y="61"/>
                      <a:pt x="5" y="61"/>
                    </a:cubicBezTo>
                    <a:cubicBezTo>
                      <a:pt x="4" y="61"/>
                      <a:pt x="3" y="61"/>
                      <a:pt x="2" y="61"/>
                    </a:cubicBezTo>
                    <a:cubicBezTo>
                      <a:pt x="2" y="60"/>
                      <a:pt x="1" y="59"/>
                      <a:pt x="1" y="59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1" y="53"/>
                      <a:pt x="1" y="52"/>
                      <a:pt x="2" y="51"/>
                    </a:cubicBezTo>
                    <a:cubicBezTo>
                      <a:pt x="3" y="48"/>
                      <a:pt x="5" y="44"/>
                      <a:pt x="8" y="41"/>
                    </a:cubicBezTo>
                    <a:cubicBezTo>
                      <a:pt x="10" y="38"/>
                      <a:pt x="13" y="34"/>
                      <a:pt x="15" y="31"/>
                    </a:cubicBezTo>
                    <a:cubicBezTo>
                      <a:pt x="16" y="30"/>
                      <a:pt x="17" y="29"/>
                      <a:pt x="18" y="28"/>
                    </a:cubicBezTo>
                    <a:cubicBezTo>
                      <a:pt x="19" y="27"/>
                      <a:pt x="20" y="26"/>
                      <a:pt x="21" y="25"/>
                    </a:cubicBezTo>
                    <a:cubicBezTo>
                      <a:pt x="23" y="23"/>
                      <a:pt x="26" y="21"/>
                      <a:pt x="28" y="18"/>
                    </a:cubicBezTo>
                    <a:cubicBezTo>
                      <a:pt x="30" y="16"/>
                      <a:pt x="33" y="14"/>
                      <a:pt x="35" y="12"/>
                    </a:cubicBezTo>
                    <a:cubicBezTo>
                      <a:pt x="37" y="10"/>
                      <a:pt x="39" y="9"/>
                      <a:pt x="41" y="8"/>
                    </a:cubicBezTo>
                    <a:cubicBezTo>
                      <a:pt x="42" y="6"/>
                      <a:pt x="44" y="5"/>
                      <a:pt x="46" y="4"/>
                    </a:cubicBezTo>
                    <a:cubicBezTo>
                      <a:pt x="47" y="3"/>
                      <a:pt x="49" y="2"/>
                      <a:pt x="51" y="1"/>
                    </a:cubicBezTo>
                    <a:cubicBezTo>
                      <a:pt x="52" y="0"/>
                      <a:pt x="54" y="0"/>
                      <a:pt x="56" y="0"/>
                    </a:cubicBezTo>
                    <a:cubicBezTo>
                      <a:pt x="57" y="1"/>
                      <a:pt x="58" y="2"/>
                      <a:pt x="59" y="3"/>
                    </a:cubicBezTo>
                    <a:cubicBezTo>
                      <a:pt x="59" y="4"/>
                      <a:pt x="59" y="5"/>
                      <a:pt x="59" y="7"/>
                    </a:cubicBezTo>
                    <a:cubicBezTo>
                      <a:pt x="59" y="8"/>
                      <a:pt x="59" y="9"/>
                      <a:pt x="59" y="11"/>
                    </a:cubicBezTo>
                    <a:cubicBezTo>
                      <a:pt x="59" y="12"/>
                      <a:pt x="58" y="13"/>
                      <a:pt x="58" y="15"/>
                    </a:cubicBezTo>
                    <a:cubicBezTo>
                      <a:pt x="57" y="19"/>
                      <a:pt x="56" y="23"/>
                      <a:pt x="55" y="27"/>
                    </a:cubicBezTo>
                    <a:cubicBezTo>
                      <a:pt x="53" y="31"/>
                      <a:pt x="52" y="35"/>
                      <a:pt x="51" y="39"/>
                    </a:cubicBezTo>
                    <a:cubicBezTo>
                      <a:pt x="50" y="41"/>
                      <a:pt x="50" y="42"/>
                      <a:pt x="49" y="44"/>
                    </a:cubicBezTo>
                    <a:cubicBezTo>
                      <a:pt x="49" y="46"/>
                      <a:pt x="48" y="47"/>
                      <a:pt x="48" y="49"/>
                    </a:cubicBezTo>
                    <a:cubicBezTo>
                      <a:pt x="47" y="51"/>
                      <a:pt x="47" y="52"/>
                      <a:pt x="47" y="54"/>
                    </a:cubicBezTo>
                    <a:cubicBezTo>
                      <a:pt x="46" y="56"/>
                      <a:pt x="46" y="57"/>
                      <a:pt x="46" y="59"/>
                    </a:cubicBezTo>
                    <a:cubicBezTo>
                      <a:pt x="47" y="58"/>
                      <a:pt x="49" y="58"/>
                      <a:pt x="50" y="57"/>
                    </a:cubicBezTo>
                    <a:cubicBezTo>
                      <a:pt x="51" y="56"/>
                      <a:pt x="52" y="55"/>
                      <a:pt x="53" y="54"/>
                    </a:cubicBezTo>
                    <a:cubicBezTo>
                      <a:pt x="55" y="52"/>
                      <a:pt x="56" y="50"/>
                      <a:pt x="58" y="47"/>
                    </a:cubicBezTo>
                    <a:cubicBezTo>
                      <a:pt x="60" y="45"/>
                      <a:pt x="61" y="43"/>
                      <a:pt x="63" y="41"/>
                    </a:cubicBezTo>
                    <a:cubicBezTo>
                      <a:pt x="65" y="39"/>
                      <a:pt x="66" y="37"/>
                      <a:pt x="68" y="35"/>
                    </a:cubicBezTo>
                    <a:cubicBezTo>
                      <a:pt x="69" y="33"/>
                      <a:pt x="71" y="31"/>
                      <a:pt x="73" y="29"/>
                    </a:cubicBezTo>
                    <a:cubicBezTo>
                      <a:pt x="73" y="28"/>
                      <a:pt x="74" y="27"/>
                      <a:pt x="75" y="26"/>
                    </a:cubicBezTo>
                    <a:cubicBezTo>
                      <a:pt x="76" y="25"/>
                      <a:pt x="77" y="25"/>
                      <a:pt x="78" y="24"/>
                    </a:cubicBezTo>
                    <a:cubicBezTo>
                      <a:pt x="79" y="23"/>
                      <a:pt x="80" y="23"/>
                      <a:pt x="82" y="23"/>
                    </a:cubicBezTo>
                    <a:cubicBezTo>
                      <a:pt x="83" y="22"/>
                      <a:pt x="84" y="23"/>
                      <a:pt x="85" y="24"/>
                    </a:cubicBezTo>
                    <a:cubicBezTo>
                      <a:pt x="86" y="25"/>
                      <a:pt x="87" y="26"/>
                      <a:pt x="87" y="27"/>
                    </a:cubicBezTo>
                    <a:cubicBezTo>
                      <a:pt x="87" y="29"/>
                      <a:pt x="87" y="30"/>
                      <a:pt x="87" y="32"/>
                    </a:cubicBezTo>
                    <a:cubicBezTo>
                      <a:pt x="87" y="33"/>
                      <a:pt x="86" y="34"/>
                      <a:pt x="85" y="36"/>
                    </a:cubicBezTo>
                    <a:cubicBezTo>
                      <a:pt x="84" y="37"/>
                      <a:pt x="84" y="38"/>
                      <a:pt x="83" y="39"/>
                    </a:cubicBezTo>
                    <a:cubicBezTo>
                      <a:pt x="81" y="41"/>
                      <a:pt x="80" y="42"/>
                      <a:pt x="79" y="44"/>
                    </a:cubicBezTo>
                    <a:cubicBezTo>
                      <a:pt x="77" y="45"/>
                      <a:pt x="76" y="47"/>
                      <a:pt x="75" y="48"/>
                    </a:cubicBezTo>
                    <a:cubicBezTo>
                      <a:pt x="66" y="58"/>
                      <a:pt x="66" y="58"/>
                      <a:pt x="66" y="58"/>
                    </a:cubicBezTo>
                    <a:cubicBezTo>
                      <a:pt x="63" y="61"/>
                      <a:pt x="60" y="64"/>
                      <a:pt x="57" y="68"/>
                    </a:cubicBezTo>
                    <a:cubicBezTo>
                      <a:pt x="54" y="71"/>
                      <a:pt x="51" y="74"/>
                      <a:pt x="47" y="78"/>
                    </a:cubicBezTo>
                    <a:lnTo>
                      <a:pt x="46" y="7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7" name="ïŝļïḓè">
                <a:extLst>
                  <a:ext uri="{FF2B5EF4-FFF2-40B4-BE49-F238E27FC236}">
                    <a16:creationId xmlns:a16="http://schemas.microsoft.com/office/drawing/2014/main" id="{2DDEA998-A7A1-4B6A-BB08-B41DDC7C76B2}"/>
                  </a:ext>
                </a:extLst>
              </p:cNvPr>
              <p:cNvSpPr/>
              <p:nvPr/>
            </p:nvSpPr>
            <p:spPr>
              <a:xfrm flipH="1">
                <a:off x="9658565" y="3482354"/>
                <a:ext cx="129972" cy="174964"/>
              </a:xfrm>
              <a:custGeom>
                <a:avLst/>
                <a:gdLst/>
                <a:ahLst/>
                <a:cxnLst/>
                <a:rect l="l" t="t" r="r" b="b"/>
                <a:pathLst>
                  <a:path w="99" h="133" extrusionOk="0">
                    <a:moveTo>
                      <a:pt x="87" y="36"/>
                    </a:moveTo>
                    <a:cubicBezTo>
                      <a:pt x="91" y="44"/>
                      <a:pt x="94" y="52"/>
                      <a:pt x="96" y="60"/>
                    </a:cubicBezTo>
                    <a:cubicBezTo>
                      <a:pt x="98" y="68"/>
                      <a:pt x="99" y="76"/>
                      <a:pt x="99" y="85"/>
                    </a:cubicBezTo>
                    <a:cubicBezTo>
                      <a:pt x="99" y="89"/>
                      <a:pt x="99" y="93"/>
                      <a:pt x="98" y="97"/>
                    </a:cubicBezTo>
                    <a:cubicBezTo>
                      <a:pt x="98" y="102"/>
                      <a:pt x="97" y="106"/>
                      <a:pt x="95" y="110"/>
                    </a:cubicBezTo>
                    <a:cubicBezTo>
                      <a:pt x="94" y="114"/>
                      <a:pt x="92" y="118"/>
                      <a:pt x="89" y="121"/>
                    </a:cubicBezTo>
                    <a:cubicBezTo>
                      <a:pt x="87" y="124"/>
                      <a:pt x="83" y="127"/>
                      <a:pt x="80" y="129"/>
                    </a:cubicBezTo>
                    <a:cubicBezTo>
                      <a:pt x="76" y="131"/>
                      <a:pt x="73" y="133"/>
                      <a:pt x="69" y="133"/>
                    </a:cubicBezTo>
                    <a:cubicBezTo>
                      <a:pt x="65" y="133"/>
                      <a:pt x="61" y="133"/>
                      <a:pt x="57" y="132"/>
                    </a:cubicBezTo>
                    <a:cubicBezTo>
                      <a:pt x="54" y="131"/>
                      <a:pt x="50" y="130"/>
                      <a:pt x="47" y="128"/>
                    </a:cubicBezTo>
                    <a:cubicBezTo>
                      <a:pt x="43" y="126"/>
                      <a:pt x="40" y="124"/>
                      <a:pt x="37" y="122"/>
                    </a:cubicBezTo>
                    <a:cubicBezTo>
                      <a:pt x="31" y="117"/>
                      <a:pt x="26" y="112"/>
                      <a:pt x="21" y="106"/>
                    </a:cubicBezTo>
                    <a:cubicBezTo>
                      <a:pt x="16" y="99"/>
                      <a:pt x="12" y="93"/>
                      <a:pt x="9" y="86"/>
                    </a:cubicBezTo>
                    <a:cubicBezTo>
                      <a:pt x="6" y="79"/>
                      <a:pt x="4" y="72"/>
                      <a:pt x="2" y="65"/>
                    </a:cubicBezTo>
                    <a:cubicBezTo>
                      <a:pt x="1" y="57"/>
                      <a:pt x="0" y="50"/>
                      <a:pt x="1" y="42"/>
                    </a:cubicBezTo>
                    <a:cubicBezTo>
                      <a:pt x="1" y="38"/>
                      <a:pt x="2" y="35"/>
                      <a:pt x="3" y="31"/>
                    </a:cubicBezTo>
                    <a:cubicBezTo>
                      <a:pt x="4" y="27"/>
                      <a:pt x="5" y="24"/>
                      <a:pt x="7" y="20"/>
                    </a:cubicBezTo>
                    <a:cubicBezTo>
                      <a:pt x="9" y="17"/>
                      <a:pt x="11" y="14"/>
                      <a:pt x="14" y="11"/>
                    </a:cubicBezTo>
                    <a:cubicBezTo>
                      <a:pt x="16" y="9"/>
                      <a:pt x="19" y="7"/>
                      <a:pt x="23" y="5"/>
                    </a:cubicBezTo>
                    <a:cubicBezTo>
                      <a:pt x="26" y="3"/>
                      <a:pt x="29" y="2"/>
                      <a:pt x="32" y="1"/>
                    </a:cubicBezTo>
                    <a:cubicBezTo>
                      <a:pt x="35" y="0"/>
                      <a:pt x="39" y="0"/>
                      <a:pt x="42" y="0"/>
                    </a:cubicBezTo>
                    <a:cubicBezTo>
                      <a:pt x="46" y="0"/>
                      <a:pt x="49" y="0"/>
                      <a:pt x="52" y="1"/>
                    </a:cubicBezTo>
                    <a:cubicBezTo>
                      <a:pt x="55" y="2"/>
                      <a:pt x="58" y="4"/>
                      <a:pt x="61" y="6"/>
                    </a:cubicBezTo>
                    <a:cubicBezTo>
                      <a:pt x="67" y="9"/>
                      <a:pt x="72" y="14"/>
                      <a:pt x="76" y="19"/>
                    </a:cubicBezTo>
                    <a:cubicBezTo>
                      <a:pt x="81" y="24"/>
                      <a:pt x="84" y="30"/>
                      <a:pt x="87" y="36"/>
                    </a:cubicBezTo>
                    <a:close/>
                    <a:moveTo>
                      <a:pt x="63" y="40"/>
                    </a:moveTo>
                    <a:cubicBezTo>
                      <a:pt x="61" y="37"/>
                      <a:pt x="60" y="34"/>
                      <a:pt x="58" y="31"/>
                    </a:cubicBezTo>
                    <a:cubicBezTo>
                      <a:pt x="56" y="29"/>
                      <a:pt x="54" y="26"/>
                      <a:pt x="51" y="24"/>
                    </a:cubicBezTo>
                    <a:cubicBezTo>
                      <a:pt x="50" y="23"/>
                      <a:pt x="49" y="22"/>
                      <a:pt x="47" y="22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41" y="20"/>
                      <a:pt x="40" y="20"/>
                      <a:pt x="38" y="20"/>
                    </a:cubicBezTo>
                    <a:cubicBezTo>
                      <a:pt x="37" y="20"/>
                      <a:pt x="35" y="21"/>
                      <a:pt x="34" y="22"/>
                    </a:cubicBezTo>
                    <a:cubicBezTo>
                      <a:pt x="31" y="23"/>
                      <a:pt x="29" y="24"/>
                      <a:pt x="28" y="26"/>
                    </a:cubicBezTo>
                    <a:cubicBezTo>
                      <a:pt x="26" y="28"/>
                      <a:pt x="25" y="31"/>
                      <a:pt x="24" y="33"/>
                    </a:cubicBezTo>
                    <a:cubicBezTo>
                      <a:pt x="23" y="35"/>
                      <a:pt x="22" y="38"/>
                      <a:pt x="22" y="41"/>
                    </a:cubicBezTo>
                    <a:cubicBezTo>
                      <a:pt x="22" y="43"/>
                      <a:pt x="22" y="46"/>
                      <a:pt x="22" y="48"/>
                    </a:cubicBezTo>
                    <a:cubicBezTo>
                      <a:pt x="22" y="54"/>
                      <a:pt x="23" y="59"/>
                      <a:pt x="25" y="64"/>
                    </a:cubicBezTo>
                    <a:cubicBezTo>
                      <a:pt x="26" y="69"/>
                      <a:pt x="28" y="74"/>
                      <a:pt x="30" y="79"/>
                    </a:cubicBezTo>
                    <a:cubicBezTo>
                      <a:pt x="32" y="83"/>
                      <a:pt x="34" y="87"/>
                      <a:pt x="36" y="90"/>
                    </a:cubicBezTo>
                    <a:cubicBezTo>
                      <a:pt x="39" y="94"/>
                      <a:pt x="41" y="97"/>
                      <a:pt x="44" y="101"/>
                    </a:cubicBezTo>
                    <a:cubicBezTo>
                      <a:pt x="45" y="102"/>
                      <a:pt x="47" y="103"/>
                      <a:pt x="48" y="105"/>
                    </a:cubicBezTo>
                    <a:cubicBezTo>
                      <a:pt x="50" y="106"/>
                      <a:pt x="51" y="107"/>
                      <a:pt x="53" y="108"/>
                    </a:cubicBezTo>
                    <a:cubicBezTo>
                      <a:pt x="55" y="109"/>
                      <a:pt x="57" y="110"/>
                      <a:pt x="58" y="111"/>
                    </a:cubicBezTo>
                    <a:cubicBezTo>
                      <a:pt x="60" y="111"/>
                      <a:pt x="62" y="111"/>
                      <a:pt x="64" y="110"/>
                    </a:cubicBezTo>
                    <a:cubicBezTo>
                      <a:pt x="67" y="108"/>
                      <a:pt x="69" y="106"/>
                      <a:pt x="71" y="103"/>
                    </a:cubicBezTo>
                    <a:cubicBezTo>
                      <a:pt x="72" y="101"/>
                      <a:pt x="73" y="98"/>
                      <a:pt x="74" y="95"/>
                    </a:cubicBezTo>
                    <a:cubicBezTo>
                      <a:pt x="74" y="92"/>
                      <a:pt x="74" y="89"/>
                      <a:pt x="74" y="85"/>
                    </a:cubicBezTo>
                    <a:cubicBezTo>
                      <a:pt x="74" y="82"/>
                      <a:pt x="74" y="79"/>
                      <a:pt x="73" y="76"/>
                    </a:cubicBezTo>
                    <a:cubicBezTo>
                      <a:pt x="72" y="70"/>
                      <a:pt x="71" y="64"/>
                      <a:pt x="69" y="58"/>
                    </a:cubicBezTo>
                    <a:cubicBezTo>
                      <a:pt x="68" y="51"/>
                      <a:pt x="66" y="46"/>
                      <a:pt x="63" y="4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8" name="îṣḻïḑe">
                <a:extLst>
                  <a:ext uri="{FF2B5EF4-FFF2-40B4-BE49-F238E27FC236}">
                    <a16:creationId xmlns:a16="http://schemas.microsoft.com/office/drawing/2014/main" id="{A2C181B1-75EA-46D3-95BB-90D247E8DB6E}"/>
                  </a:ext>
                </a:extLst>
              </p:cNvPr>
              <p:cNvSpPr/>
              <p:nvPr/>
            </p:nvSpPr>
            <p:spPr>
              <a:xfrm flipH="1">
                <a:off x="10022376" y="3240738"/>
                <a:ext cx="145525" cy="162744"/>
              </a:xfrm>
              <a:custGeom>
                <a:avLst/>
                <a:gdLst/>
                <a:ahLst/>
                <a:cxnLst/>
                <a:rect l="l" t="t" r="r" b="b"/>
                <a:pathLst>
                  <a:path w="111" h="124" extrusionOk="0">
                    <a:moveTo>
                      <a:pt x="108" y="57"/>
                    </a:moveTo>
                    <a:cubicBezTo>
                      <a:pt x="107" y="60"/>
                      <a:pt x="105" y="63"/>
                      <a:pt x="103" y="65"/>
                    </a:cubicBezTo>
                    <a:cubicBezTo>
                      <a:pt x="101" y="68"/>
                      <a:pt x="99" y="70"/>
                      <a:pt x="96" y="72"/>
                    </a:cubicBezTo>
                    <a:cubicBezTo>
                      <a:pt x="94" y="74"/>
                      <a:pt x="91" y="76"/>
                      <a:pt x="88" y="77"/>
                    </a:cubicBezTo>
                    <a:cubicBezTo>
                      <a:pt x="85" y="79"/>
                      <a:pt x="81" y="80"/>
                      <a:pt x="78" y="81"/>
                    </a:cubicBezTo>
                    <a:cubicBezTo>
                      <a:pt x="71" y="83"/>
                      <a:pt x="64" y="83"/>
                      <a:pt x="57" y="83"/>
                    </a:cubicBezTo>
                    <a:cubicBezTo>
                      <a:pt x="50" y="83"/>
                      <a:pt x="43" y="83"/>
                      <a:pt x="36" y="81"/>
                    </a:cubicBezTo>
                    <a:cubicBezTo>
                      <a:pt x="35" y="83"/>
                      <a:pt x="35" y="84"/>
                      <a:pt x="34" y="85"/>
                    </a:cubicBezTo>
                    <a:cubicBezTo>
                      <a:pt x="33" y="86"/>
                      <a:pt x="33" y="87"/>
                      <a:pt x="33" y="88"/>
                    </a:cubicBezTo>
                    <a:cubicBezTo>
                      <a:pt x="32" y="91"/>
                      <a:pt x="31" y="93"/>
                      <a:pt x="30" y="95"/>
                    </a:cubicBezTo>
                    <a:cubicBezTo>
                      <a:pt x="29" y="97"/>
                      <a:pt x="28" y="100"/>
                      <a:pt x="28" y="102"/>
                    </a:cubicBezTo>
                    <a:cubicBezTo>
                      <a:pt x="27" y="104"/>
                      <a:pt x="27" y="106"/>
                      <a:pt x="26" y="109"/>
                    </a:cubicBezTo>
                    <a:cubicBezTo>
                      <a:pt x="25" y="111"/>
                      <a:pt x="24" y="113"/>
                      <a:pt x="23" y="115"/>
                    </a:cubicBezTo>
                    <a:cubicBezTo>
                      <a:pt x="23" y="117"/>
                      <a:pt x="22" y="118"/>
                      <a:pt x="21" y="120"/>
                    </a:cubicBezTo>
                    <a:cubicBezTo>
                      <a:pt x="20" y="122"/>
                      <a:pt x="18" y="123"/>
                      <a:pt x="16" y="124"/>
                    </a:cubicBezTo>
                    <a:cubicBezTo>
                      <a:pt x="14" y="124"/>
                      <a:pt x="11" y="124"/>
                      <a:pt x="9" y="123"/>
                    </a:cubicBezTo>
                    <a:cubicBezTo>
                      <a:pt x="7" y="123"/>
                      <a:pt x="6" y="122"/>
                      <a:pt x="4" y="121"/>
                    </a:cubicBezTo>
                    <a:cubicBezTo>
                      <a:pt x="3" y="120"/>
                      <a:pt x="2" y="120"/>
                      <a:pt x="1" y="118"/>
                    </a:cubicBezTo>
                    <a:cubicBezTo>
                      <a:pt x="1" y="117"/>
                      <a:pt x="0" y="116"/>
                      <a:pt x="0" y="115"/>
                    </a:cubicBezTo>
                    <a:cubicBezTo>
                      <a:pt x="0" y="113"/>
                      <a:pt x="0" y="112"/>
                      <a:pt x="0" y="111"/>
                    </a:cubicBezTo>
                    <a:cubicBezTo>
                      <a:pt x="1" y="109"/>
                      <a:pt x="1" y="108"/>
                      <a:pt x="1" y="107"/>
                    </a:cubicBezTo>
                    <a:cubicBezTo>
                      <a:pt x="3" y="105"/>
                      <a:pt x="4" y="102"/>
                      <a:pt x="5" y="100"/>
                    </a:cubicBezTo>
                    <a:cubicBezTo>
                      <a:pt x="6" y="98"/>
                      <a:pt x="7" y="96"/>
                      <a:pt x="8" y="93"/>
                    </a:cubicBezTo>
                    <a:cubicBezTo>
                      <a:pt x="10" y="89"/>
                      <a:pt x="12" y="85"/>
                      <a:pt x="14" y="81"/>
                    </a:cubicBezTo>
                    <a:cubicBezTo>
                      <a:pt x="16" y="77"/>
                      <a:pt x="18" y="73"/>
                      <a:pt x="20" y="69"/>
                    </a:cubicBezTo>
                    <a:cubicBezTo>
                      <a:pt x="21" y="64"/>
                      <a:pt x="23" y="59"/>
                      <a:pt x="25" y="55"/>
                    </a:cubicBezTo>
                    <a:cubicBezTo>
                      <a:pt x="26" y="50"/>
                      <a:pt x="28" y="45"/>
                      <a:pt x="30" y="40"/>
                    </a:cubicBezTo>
                    <a:cubicBezTo>
                      <a:pt x="31" y="36"/>
                      <a:pt x="33" y="31"/>
                      <a:pt x="34" y="27"/>
                    </a:cubicBezTo>
                    <a:cubicBezTo>
                      <a:pt x="36" y="22"/>
                      <a:pt x="38" y="18"/>
                      <a:pt x="40" y="13"/>
                    </a:cubicBezTo>
                    <a:cubicBezTo>
                      <a:pt x="40" y="13"/>
                      <a:pt x="40" y="13"/>
                      <a:pt x="40" y="12"/>
                    </a:cubicBezTo>
                    <a:cubicBezTo>
                      <a:pt x="40" y="12"/>
                      <a:pt x="41" y="11"/>
                      <a:pt x="41" y="11"/>
                    </a:cubicBezTo>
                    <a:cubicBezTo>
                      <a:pt x="42" y="9"/>
                      <a:pt x="43" y="7"/>
                      <a:pt x="45" y="5"/>
                    </a:cubicBezTo>
                    <a:cubicBezTo>
                      <a:pt x="47" y="3"/>
                      <a:pt x="49" y="2"/>
                      <a:pt x="51" y="1"/>
                    </a:cubicBezTo>
                    <a:cubicBezTo>
                      <a:pt x="53" y="0"/>
                      <a:pt x="56" y="0"/>
                      <a:pt x="58" y="0"/>
                    </a:cubicBezTo>
                    <a:cubicBezTo>
                      <a:pt x="61" y="0"/>
                      <a:pt x="63" y="0"/>
                      <a:pt x="66" y="1"/>
                    </a:cubicBezTo>
                    <a:cubicBezTo>
                      <a:pt x="69" y="1"/>
                      <a:pt x="72" y="2"/>
                      <a:pt x="75" y="3"/>
                    </a:cubicBezTo>
                    <a:cubicBezTo>
                      <a:pt x="78" y="4"/>
                      <a:pt x="81" y="5"/>
                      <a:pt x="84" y="6"/>
                    </a:cubicBezTo>
                    <a:cubicBezTo>
                      <a:pt x="89" y="7"/>
                      <a:pt x="94" y="10"/>
                      <a:pt x="98" y="13"/>
                    </a:cubicBezTo>
                    <a:cubicBezTo>
                      <a:pt x="102" y="17"/>
                      <a:pt x="105" y="21"/>
                      <a:pt x="108" y="26"/>
                    </a:cubicBezTo>
                    <a:cubicBezTo>
                      <a:pt x="110" y="30"/>
                      <a:pt x="111" y="35"/>
                      <a:pt x="111" y="41"/>
                    </a:cubicBezTo>
                    <a:cubicBezTo>
                      <a:pt x="111" y="46"/>
                      <a:pt x="110" y="51"/>
                      <a:pt x="108" y="57"/>
                    </a:cubicBezTo>
                    <a:close/>
                    <a:moveTo>
                      <a:pt x="90" y="47"/>
                    </a:moveTo>
                    <a:cubicBezTo>
                      <a:pt x="92" y="43"/>
                      <a:pt x="92" y="38"/>
                      <a:pt x="91" y="34"/>
                    </a:cubicBezTo>
                    <a:cubicBezTo>
                      <a:pt x="91" y="32"/>
                      <a:pt x="91" y="30"/>
                      <a:pt x="90" y="28"/>
                    </a:cubicBezTo>
                    <a:cubicBezTo>
                      <a:pt x="89" y="26"/>
                      <a:pt x="87" y="25"/>
                      <a:pt x="85" y="24"/>
                    </a:cubicBezTo>
                    <a:cubicBezTo>
                      <a:pt x="82" y="23"/>
                      <a:pt x="79" y="22"/>
                      <a:pt x="76" y="21"/>
                    </a:cubicBezTo>
                    <a:cubicBezTo>
                      <a:pt x="72" y="21"/>
                      <a:pt x="69" y="21"/>
                      <a:pt x="66" y="22"/>
                    </a:cubicBezTo>
                    <a:cubicBezTo>
                      <a:pt x="63" y="23"/>
                      <a:pt x="60" y="24"/>
                      <a:pt x="57" y="26"/>
                    </a:cubicBezTo>
                    <a:cubicBezTo>
                      <a:pt x="54" y="28"/>
                      <a:pt x="53" y="31"/>
                      <a:pt x="51" y="34"/>
                    </a:cubicBezTo>
                    <a:cubicBezTo>
                      <a:pt x="48" y="42"/>
                      <a:pt x="46" y="50"/>
                      <a:pt x="46" y="59"/>
                    </a:cubicBezTo>
                    <a:cubicBezTo>
                      <a:pt x="50" y="60"/>
                      <a:pt x="54" y="60"/>
                      <a:pt x="58" y="60"/>
                    </a:cubicBezTo>
                    <a:cubicBezTo>
                      <a:pt x="62" y="60"/>
                      <a:pt x="67" y="60"/>
                      <a:pt x="71" y="59"/>
                    </a:cubicBezTo>
                    <a:cubicBezTo>
                      <a:pt x="73" y="58"/>
                      <a:pt x="75" y="58"/>
                      <a:pt x="77" y="57"/>
                    </a:cubicBezTo>
                    <a:cubicBezTo>
                      <a:pt x="78" y="57"/>
                      <a:pt x="80" y="56"/>
                      <a:pt x="82" y="55"/>
                    </a:cubicBezTo>
                    <a:cubicBezTo>
                      <a:pt x="84" y="54"/>
                      <a:pt x="85" y="53"/>
                      <a:pt x="87" y="51"/>
                    </a:cubicBezTo>
                    <a:cubicBezTo>
                      <a:pt x="88" y="50"/>
                      <a:pt x="90" y="49"/>
                      <a:pt x="90" y="4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9" name="iŝľíḍè">
                <a:extLst>
                  <a:ext uri="{FF2B5EF4-FFF2-40B4-BE49-F238E27FC236}">
                    <a16:creationId xmlns:a16="http://schemas.microsoft.com/office/drawing/2014/main" id="{E53A4D5C-1FC4-4019-B101-40025D00A322}"/>
                  </a:ext>
                </a:extLst>
              </p:cNvPr>
              <p:cNvSpPr/>
              <p:nvPr/>
            </p:nvSpPr>
            <p:spPr>
              <a:xfrm flipH="1">
                <a:off x="10245663" y="3446806"/>
                <a:ext cx="65542" cy="88315"/>
              </a:xfrm>
              <a:custGeom>
                <a:avLst/>
                <a:gdLst/>
                <a:ahLst/>
                <a:cxnLst/>
                <a:rect l="l" t="t" r="r" b="b"/>
                <a:pathLst>
                  <a:path w="50" h="67" extrusionOk="0">
                    <a:moveTo>
                      <a:pt x="50" y="58"/>
                    </a:moveTo>
                    <a:cubicBezTo>
                      <a:pt x="50" y="59"/>
                      <a:pt x="50" y="59"/>
                      <a:pt x="50" y="60"/>
                    </a:cubicBezTo>
                    <a:cubicBezTo>
                      <a:pt x="49" y="61"/>
                      <a:pt x="48" y="62"/>
                      <a:pt x="48" y="63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47" y="63"/>
                      <a:pt x="47" y="63"/>
                      <a:pt x="46" y="63"/>
                    </a:cubicBezTo>
                    <a:cubicBezTo>
                      <a:pt x="45" y="62"/>
                      <a:pt x="43" y="61"/>
                      <a:pt x="42" y="60"/>
                    </a:cubicBezTo>
                    <a:cubicBezTo>
                      <a:pt x="40" y="59"/>
                      <a:pt x="39" y="58"/>
                      <a:pt x="37" y="57"/>
                    </a:cubicBezTo>
                    <a:cubicBezTo>
                      <a:pt x="37" y="58"/>
                      <a:pt x="36" y="59"/>
                      <a:pt x="36" y="60"/>
                    </a:cubicBezTo>
                    <a:cubicBezTo>
                      <a:pt x="36" y="61"/>
                      <a:pt x="35" y="62"/>
                      <a:pt x="35" y="63"/>
                    </a:cubicBezTo>
                    <a:cubicBezTo>
                      <a:pt x="34" y="64"/>
                      <a:pt x="33" y="65"/>
                      <a:pt x="32" y="65"/>
                    </a:cubicBezTo>
                    <a:cubicBezTo>
                      <a:pt x="32" y="66"/>
                      <a:pt x="31" y="66"/>
                      <a:pt x="30" y="67"/>
                    </a:cubicBezTo>
                    <a:cubicBezTo>
                      <a:pt x="28" y="67"/>
                      <a:pt x="27" y="67"/>
                      <a:pt x="25" y="67"/>
                    </a:cubicBezTo>
                    <a:cubicBezTo>
                      <a:pt x="24" y="67"/>
                      <a:pt x="22" y="67"/>
                      <a:pt x="21" y="66"/>
                    </a:cubicBezTo>
                    <a:cubicBezTo>
                      <a:pt x="20" y="66"/>
                      <a:pt x="18" y="65"/>
                      <a:pt x="17" y="64"/>
                    </a:cubicBezTo>
                    <a:cubicBezTo>
                      <a:pt x="16" y="64"/>
                      <a:pt x="15" y="63"/>
                      <a:pt x="14" y="62"/>
                    </a:cubicBezTo>
                    <a:cubicBezTo>
                      <a:pt x="11" y="60"/>
                      <a:pt x="9" y="58"/>
                      <a:pt x="8" y="55"/>
                    </a:cubicBezTo>
                    <a:cubicBezTo>
                      <a:pt x="6" y="53"/>
                      <a:pt x="4" y="50"/>
                      <a:pt x="3" y="47"/>
                    </a:cubicBezTo>
                    <a:cubicBezTo>
                      <a:pt x="3" y="47"/>
                      <a:pt x="3" y="46"/>
                      <a:pt x="3" y="45"/>
                    </a:cubicBezTo>
                    <a:cubicBezTo>
                      <a:pt x="3" y="45"/>
                      <a:pt x="2" y="44"/>
                      <a:pt x="2" y="43"/>
                    </a:cubicBezTo>
                    <a:cubicBezTo>
                      <a:pt x="1" y="39"/>
                      <a:pt x="1" y="36"/>
                      <a:pt x="0" y="32"/>
                    </a:cubicBezTo>
                    <a:cubicBezTo>
                      <a:pt x="0" y="28"/>
                      <a:pt x="0" y="24"/>
                      <a:pt x="1" y="20"/>
                    </a:cubicBezTo>
                    <a:cubicBezTo>
                      <a:pt x="1" y="18"/>
                      <a:pt x="1" y="16"/>
                      <a:pt x="2" y="14"/>
                    </a:cubicBezTo>
                    <a:cubicBezTo>
                      <a:pt x="3" y="12"/>
                      <a:pt x="3" y="11"/>
                      <a:pt x="4" y="9"/>
                    </a:cubicBezTo>
                    <a:cubicBezTo>
                      <a:pt x="5" y="7"/>
                      <a:pt x="6" y="6"/>
                      <a:pt x="8" y="4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19" y="1"/>
                      <a:pt x="21" y="1"/>
                      <a:pt x="22" y="2"/>
                    </a:cubicBezTo>
                    <a:cubicBezTo>
                      <a:pt x="24" y="2"/>
                      <a:pt x="25" y="3"/>
                      <a:pt x="27" y="4"/>
                    </a:cubicBezTo>
                    <a:cubicBezTo>
                      <a:pt x="28" y="6"/>
                      <a:pt x="29" y="7"/>
                      <a:pt x="30" y="8"/>
                    </a:cubicBezTo>
                    <a:cubicBezTo>
                      <a:pt x="32" y="11"/>
                      <a:pt x="34" y="14"/>
                      <a:pt x="35" y="17"/>
                    </a:cubicBezTo>
                    <a:cubicBezTo>
                      <a:pt x="37" y="20"/>
                      <a:pt x="38" y="23"/>
                      <a:pt x="39" y="27"/>
                    </a:cubicBezTo>
                    <a:cubicBezTo>
                      <a:pt x="40" y="29"/>
                      <a:pt x="40" y="30"/>
                      <a:pt x="40" y="32"/>
                    </a:cubicBezTo>
                    <a:cubicBezTo>
                      <a:pt x="40" y="34"/>
                      <a:pt x="41" y="35"/>
                      <a:pt x="41" y="37"/>
                    </a:cubicBezTo>
                    <a:cubicBezTo>
                      <a:pt x="41" y="39"/>
                      <a:pt x="41" y="41"/>
                      <a:pt x="41" y="42"/>
                    </a:cubicBezTo>
                    <a:cubicBezTo>
                      <a:pt x="41" y="44"/>
                      <a:pt x="40" y="46"/>
                      <a:pt x="40" y="48"/>
                    </a:cubicBezTo>
                    <a:cubicBezTo>
                      <a:pt x="41" y="49"/>
                      <a:pt x="42" y="50"/>
                      <a:pt x="43" y="51"/>
                    </a:cubicBezTo>
                    <a:cubicBezTo>
                      <a:pt x="45" y="52"/>
                      <a:pt x="46" y="53"/>
                      <a:pt x="47" y="54"/>
                    </a:cubicBezTo>
                    <a:cubicBezTo>
                      <a:pt x="48" y="54"/>
                      <a:pt x="49" y="55"/>
                      <a:pt x="49" y="55"/>
                    </a:cubicBezTo>
                    <a:cubicBezTo>
                      <a:pt x="50" y="56"/>
                      <a:pt x="50" y="57"/>
                      <a:pt x="50" y="58"/>
                    </a:cubicBezTo>
                    <a:close/>
                    <a:moveTo>
                      <a:pt x="29" y="30"/>
                    </a:moveTo>
                    <a:cubicBezTo>
                      <a:pt x="28" y="28"/>
                      <a:pt x="28" y="26"/>
                      <a:pt x="27" y="24"/>
                    </a:cubicBezTo>
                    <a:cubicBezTo>
                      <a:pt x="26" y="22"/>
                      <a:pt x="25" y="19"/>
                      <a:pt x="24" y="17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4"/>
                      <a:pt x="22" y="13"/>
                      <a:pt x="21" y="12"/>
                    </a:cubicBezTo>
                    <a:cubicBezTo>
                      <a:pt x="20" y="11"/>
                      <a:pt x="19" y="11"/>
                      <a:pt x="19" y="10"/>
                    </a:cubicBezTo>
                    <a:cubicBezTo>
                      <a:pt x="18" y="10"/>
                      <a:pt x="17" y="10"/>
                      <a:pt x="16" y="10"/>
                    </a:cubicBezTo>
                    <a:cubicBezTo>
                      <a:pt x="14" y="11"/>
                      <a:pt x="13" y="12"/>
                      <a:pt x="13" y="13"/>
                    </a:cubicBezTo>
                    <a:cubicBezTo>
                      <a:pt x="12" y="14"/>
                      <a:pt x="11" y="15"/>
                      <a:pt x="11" y="17"/>
                    </a:cubicBezTo>
                    <a:cubicBezTo>
                      <a:pt x="11" y="18"/>
                      <a:pt x="10" y="20"/>
                      <a:pt x="10" y="21"/>
                    </a:cubicBezTo>
                    <a:cubicBezTo>
                      <a:pt x="10" y="23"/>
                      <a:pt x="10" y="24"/>
                      <a:pt x="10" y="25"/>
                    </a:cubicBezTo>
                    <a:cubicBezTo>
                      <a:pt x="10" y="29"/>
                      <a:pt x="10" y="32"/>
                      <a:pt x="11" y="35"/>
                    </a:cubicBezTo>
                    <a:cubicBezTo>
                      <a:pt x="11" y="38"/>
                      <a:pt x="12" y="41"/>
                      <a:pt x="12" y="44"/>
                    </a:cubicBezTo>
                    <a:cubicBezTo>
                      <a:pt x="13" y="45"/>
                      <a:pt x="13" y="47"/>
                      <a:pt x="14" y="49"/>
                    </a:cubicBezTo>
                    <a:cubicBezTo>
                      <a:pt x="14" y="50"/>
                      <a:pt x="15" y="52"/>
                      <a:pt x="16" y="53"/>
                    </a:cubicBezTo>
                    <a:cubicBezTo>
                      <a:pt x="17" y="55"/>
                      <a:pt x="18" y="56"/>
                      <a:pt x="19" y="57"/>
                    </a:cubicBezTo>
                    <a:cubicBezTo>
                      <a:pt x="20" y="57"/>
                      <a:pt x="22" y="58"/>
                      <a:pt x="24" y="57"/>
                    </a:cubicBezTo>
                    <a:cubicBezTo>
                      <a:pt x="24" y="57"/>
                      <a:pt x="25" y="57"/>
                      <a:pt x="25" y="56"/>
                    </a:cubicBezTo>
                    <a:cubicBezTo>
                      <a:pt x="26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3"/>
                    </a:cubicBezTo>
                    <a:cubicBezTo>
                      <a:pt x="27" y="52"/>
                      <a:pt x="27" y="52"/>
                      <a:pt x="27" y="51"/>
                    </a:cubicBezTo>
                    <a:cubicBezTo>
                      <a:pt x="26" y="50"/>
                      <a:pt x="26" y="50"/>
                      <a:pt x="25" y="49"/>
                    </a:cubicBezTo>
                    <a:cubicBezTo>
                      <a:pt x="24" y="49"/>
                      <a:pt x="23" y="48"/>
                      <a:pt x="22" y="47"/>
                    </a:cubicBezTo>
                    <a:cubicBezTo>
                      <a:pt x="21" y="47"/>
                      <a:pt x="21" y="46"/>
                      <a:pt x="20" y="46"/>
                    </a:cubicBezTo>
                    <a:cubicBezTo>
                      <a:pt x="19" y="45"/>
                      <a:pt x="19" y="44"/>
                      <a:pt x="18" y="43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41"/>
                      <a:pt x="18" y="41"/>
                      <a:pt x="19" y="40"/>
                    </a:cubicBezTo>
                    <a:cubicBezTo>
                      <a:pt x="19" y="40"/>
                      <a:pt x="19" y="40"/>
                      <a:pt x="19" y="39"/>
                    </a:cubicBezTo>
                    <a:cubicBezTo>
                      <a:pt x="20" y="39"/>
                      <a:pt x="20" y="39"/>
                      <a:pt x="21" y="39"/>
                    </a:cubicBezTo>
                    <a:cubicBezTo>
                      <a:pt x="22" y="38"/>
                      <a:pt x="24" y="38"/>
                      <a:pt x="26" y="39"/>
                    </a:cubicBezTo>
                    <a:cubicBezTo>
                      <a:pt x="27" y="39"/>
                      <a:pt x="29" y="40"/>
                      <a:pt x="30" y="41"/>
                    </a:cubicBezTo>
                    <a:cubicBezTo>
                      <a:pt x="30" y="39"/>
                      <a:pt x="30" y="38"/>
                      <a:pt x="30" y="36"/>
                    </a:cubicBezTo>
                    <a:cubicBezTo>
                      <a:pt x="30" y="34"/>
                      <a:pt x="29" y="32"/>
                      <a:pt x="29" y="3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0" name="îśliďè">
                <a:extLst>
                  <a:ext uri="{FF2B5EF4-FFF2-40B4-BE49-F238E27FC236}">
                    <a16:creationId xmlns:a16="http://schemas.microsoft.com/office/drawing/2014/main" id="{660C5986-1577-4DD1-9250-36B9833EE4E2}"/>
                  </a:ext>
                </a:extLst>
              </p:cNvPr>
              <p:cNvSpPr/>
              <p:nvPr/>
            </p:nvSpPr>
            <p:spPr>
              <a:xfrm flipH="1">
                <a:off x="9904068" y="3608439"/>
                <a:ext cx="201068" cy="240506"/>
              </a:xfrm>
              <a:custGeom>
                <a:avLst/>
                <a:gdLst/>
                <a:ahLst/>
                <a:cxnLst/>
                <a:rect l="l" t="t" r="r" b="b"/>
                <a:pathLst>
                  <a:path w="153" h="183" extrusionOk="0">
                    <a:moveTo>
                      <a:pt x="102" y="177"/>
                    </a:moveTo>
                    <a:cubicBezTo>
                      <a:pt x="100" y="179"/>
                      <a:pt x="99" y="180"/>
                      <a:pt x="97" y="181"/>
                    </a:cubicBezTo>
                    <a:cubicBezTo>
                      <a:pt x="96" y="182"/>
                      <a:pt x="94" y="183"/>
                      <a:pt x="92" y="182"/>
                    </a:cubicBezTo>
                    <a:cubicBezTo>
                      <a:pt x="89" y="182"/>
                      <a:pt x="86" y="180"/>
                      <a:pt x="85" y="179"/>
                    </a:cubicBezTo>
                    <a:cubicBezTo>
                      <a:pt x="83" y="177"/>
                      <a:pt x="81" y="175"/>
                      <a:pt x="80" y="173"/>
                    </a:cubicBezTo>
                    <a:cubicBezTo>
                      <a:pt x="79" y="170"/>
                      <a:pt x="78" y="168"/>
                      <a:pt x="78" y="165"/>
                    </a:cubicBezTo>
                    <a:cubicBezTo>
                      <a:pt x="77" y="163"/>
                      <a:pt x="77" y="160"/>
                      <a:pt x="77" y="158"/>
                    </a:cubicBezTo>
                    <a:cubicBezTo>
                      <a:pt x="76" y="154"/>
                      <a:pt x="76" y="151"/>
                      <a:pt x="76" y="148"/>
                    </a:cubicBezTo>
                    <a:cubicBezTo>
                      <a:pt x="75" y="145"/>
                      <a:pt x="75" y="142"/>
                      <a:pt x="74" y="139"/>
                    </a:cubicBezTo>
                    <a:cubicBezTo>
                      <a:pt x="71" y="131"/>
                      <a:pt x="68" y="123"/>
                      <a:pt x="65" y="115"/>
                    </a:cubicBezTo>
                    <a:cubicBezTo>
                      <a:pt x="62" y="106"/>
                      <a:pt x="58" y="99"/>
                      <a:pt x="54" y="91"/>
                    </a:cubicBezTo>
                    <a:cubicBezTo>
                      <a:pt x="52" y="93"/>
                      <a:pt x="50" y="95"/>
                      <a:pt x="49" y="97"/>
                    </a:cubicBezTo>
                    <a:cubicBezTo>
                      <a:pt x="47" y="99"/>
                      <a:pt x="45" y="102"/>
                      <a:pt x="44" y="104"/>
                    </a:cubicBezTo>
                    <a:cubicBezTo>
                      <a:pt x="42" y="106"/>
                      <a:pt x="41" y="109"/>
                      <a:pt x="40" y="111"/>
                    </a:cubicBezTo>
                    <a:cubicBezTo>
                      <a:pt x="39" y="113"/>
                      <a:pt x="37" y="116"/>
                      <a:pt x="36" y="118"/>
                    </a:cubicBezTo>
                    <a:cubicBezTo>
                      <a:pt x="34" y="121"/>
                      <a:pt x="32" y="124"/>
                      <a:pt x="30" y="127"/>
                    </a:cubicBezTo>
                    <a:cubicBezTo>
                      <a:pt x="28" y="129"/>
                      <a:pt x="26" y="132"/>
                      <a:pt x="24" y="135"/>
                    </a:cubicBezTo>
                    <a:cubicBezTo>
                      <a:pt x="21" y="137"/>
                      <a:pt x="18" y="139"/>
                      <a:pt x="15" y="140"/>
                    </a:cubicBezTo>
                    <a:cubicBezTo>
                      <a:pt x="13" y="141"/>
                      <a:pt x="10" y="141"/>
                      <a:pt x="7" y="139"/>
                    </a:cubicBezTo>
                    <a:cubicBezTo>
                      <a:pt x="5" y="138"/>
                      <a:pt x="4" y="136"/>
                      <a:pt x="2" y="134"/>
                    </a:cubicBezTo>
                    <a:cubicBezTo>
                      <a:pt x="1" y="132"/>
                      <a:pt x="0" y="130"/>
                      <a:pt x="0" y="128"/>
                    </a:cubicBezTo>
                    <a:cubicBezTo>
                      <a:pt x="1" y="126"/>
                      <a:pt x="1" y="124"/>
                      <a:pt x="2" y="122"/>
                    </a:cubicBezTo>
                    <a:cubicBezTo>
                      <a:pt x="2" y="120"/>
                      <a:pt x="3" y="118"/>
                      <a:pt x="4" y="116"/>
                    </a:cubicBezTo>
                    <a:cubicBezTo>
                      <a:pt x="7" y="110"/>
                      <a:pt x="10" y="105"/>
                      <a:pt x="14" y="100"/>
                    </a:cubicBezTo>
                    <a:cubicBezTo>
                      <a:pt x="17" y="95"/>
                      <a:pt x="21" y="90"/>
                      <a:pt x="24" y="85"/>
                    </a:cubicBezTo>
                    <a:cubicBezTo>
                      <a:pt x="28" y="80"/>
                      <a:pt x="32" y="75"/>
                      <a:pt x="36" y="70"/>
                    </a:cubicBezTo>
                    <a:cubicBezTo>
                      <a:pt x="39" y="64"/>
                      <a:pt x="43" y="59"/>
                      <a:pt x="47" y="54"/>
                    </a:cubicBezTo>
                    <a:cubicBezTo>
                      <a:pt x="49" y="50"/>
                      <a:pt x="51" y="47"/>
                      <a:pt x="53" y="43"/>
                    </a:cubicBezTo>
                    <a:cubicBezTo>
                      <a:pt x="54" y="39"/>
                      <a:pt x="56" y="36"/>
                      <a:pt x="58" y="32"/>
                    </a:cubicBezTo>
                    <a:cubicBezTo>
                      <a:pt x="59" y="28"/>
                      <a:pt x="61" y="25"/>
                      <a:pt x="63" y="22"/>
                    </a:cubicBezTo>
                    <a:cubicBezTo>
                      <a:pt x="64" y="18"/>
                      <a:pt x="67" y="15"/>
                      <a:pt x="69" y="11"/>
                    </a:cubicBezTo>
                    <a:cubicBezTo>
                      <a:pt x="70" y="10"/>
                      <a:pt x="71" y="8"/>
                      <a:pt x="73" y="7"/>
                    </a:cubicBezTo>
                    <a:cubicBezTo>
                      <a:pt x="75" y="5"/>
                      <a:pt x="76" y="4"/>
                      <a:pt x="78" y="3"/>
                    </a:cubicBezTo>
                    <a:cubicBezTo>
                      <a:pt x="80" y="2"/>
                      <a:pt x="82" y="1"/>
                      <a:pt x="85" y="1"/>
                    </a:cubicBezTo>
                    <a:cubicBezTo>
                      <a:pt x="87" y="0"/>
                      <a:pt x="89" y="1"/>
                      <a:pt x="91" y="1"/>
                    </a:cubicBezTo>
                    <a:cubicBezTo>
                      <a:pt x="99" y="4"/>
                      <a:pt x="106" y="7"/>
                      <a:pt x="114" y="10"/>
                    </a:cubicBezTo>
                    <a:cubicBezTo>
                      <a:pt x="121" y="14"/>
                      <a:pt x="128" y="17"/>
                      <a:pt x="135" y="21"/>
                    </a:cubicBezTo>
                    <a:cubicBezTo>
                      <a:pt x="140" y="24"/>
                      <a:pt x="144" y="27"/>
                      <a:pt x="147" y="31"/>
                    </a:cubicBezTo>
                    <a:cubicBezTo>
                      <a:pt x="150" y="36"/>
                      <a:pt x="151" y="41"/>
                      <a:pt x="152" y="46"/>
                    </a:cubicBezTo>
                    <a:cubicBezTo>
                      <a:pt x="153" y="51"/>
                      <a:pt x="153" y="56"/>
                      <a:pt x="152" y="61"/>
                    </a:cubicBezTo>
                    <a:cubicBezTo>
                      <a:pt x="151" y="67"/>
                      <a:pt x="149" y="72"/>
                      <a:pt x="146" y="76"/>
                    </a:cubicBezTo>
                    <a:cubicBezTo>
                      <a:pt x="145" y="79"/>
                      <a:pt x="143" y="81"/>
                      <a:pt x="141" y="83"/>
                    </a:cubicBezTo>
                    <a:cubicBezTo>
                      <a:pt x="139" y="85"/>
                      <a:pt x="137" y="86"/>
                      <a:pt x="134" y="88"/>
                    </a:cubicBezTo>
                    <a:cubicBezTo>
                      <a:pt x="132" y="89"/>
                      <a:pt x="129" y="91"/>
                      <a:pt x="127" y="92"/>
                    </a:cubicBezTo>
                    <a:cubicBezTo>
                      <a:pt x="124" y="93"/>
                      <a:pt x="121" y="93"/>
                      <a:pt x="118" y="94"/>
                    </a:cubicBezTo>
                    <a:cubicBezTo>
                      <a:pt x="113" y="96"/>
                      <a:pt x="107" y="97"/>
                      <a:pt x="100" y="97"/>
                    </a:cubicBezTo>
                    <a:cubicBezTo>
                      <a:pt x="94" y="97"/>
                      <a:pt x="88" y="97"/>
                      <a:pt x="83" y="95"/>
                    </a:cubicBezTo>
                    <a:cubicBezTo>
                      <a:pt x="86" y="101"/>
                      <a:pt x="89" y="107"/>
                      <a:pt x="92" y="114"/>
                    </a:cubicBezTo>
                    <a:cubicBezTo>
                      <a:pt x="95" y="120"/>
                      <a:pt x="97" y="127"/>
                      <a:pt x="99" y="134"/>
                    </a:cubicBezTo>
                    <a:cubicBezTo>
                      <a:pt x="100" y="136"/>
                      <a:pt x="101" y="139"/>
                      <a:pt x="102" y="142"/>
                    </a:cubicBezTo>
                    <a:cubicBezTo>
                      <a:pt x="103" y="145"/>
                      <a:pt x="104" y="148"/>
                      <a:pt x="105" y="151"/>
                    </a:cubicBezTo>
                    <a:cubicBezTo>
                      <a:pt x="106" y="154"/>
                      <a:pt x="106" y="157"/>
                      <a:pt x="107" y="160"/>
                    </a:cubicBezTo>
                    <a:cubicBezTo>
                      <a:pt x="107" y="163"/>
                      <a:pt x="107" y="166"/>
                      <a:pt x="106" y="169"/>
                    </a:cubicBezTo>
                    <a:cubicBezTo>
                      <a:pt x="106" y="170"/>
                      <a:pt x="105" y="172"/>
                      <a:pt x="105" y="173"/>
                    </a:cubicBezTo>
                    <a:cubicBezTo>
                      <a:pt x="104" y="175"/>
                      <a:pt x="103" y="176"/>
                      <a:pt x="102" y="177"/>
                    </a:cubicBezTo>
                    <a:close/>
                    <a:moveTo>
                      <a:pt x="126" y="61"/>
                    </a:moveTo>
                    <a:cubicBezTo>
                      <a:pt x="127" y="60"/>
                      <a:pt x="128" y="58"/>
                      <a:pt x="129" y="57"/>
                    </a:cubicBezTo>
                    <a:cubicBezTo>
                      <a:pt x="129" y="55"/>
                      <a:pt x="129" y="53"/>
                      <a:pt x="129" y="51"/>
                    </a:cubicBezTo>
                    <a:cubicBezTo>
                      <a:pt x="129" y="50"/>
                      <a:pt x="128" y="48"/>
                      <a:pt x="127" y="47"/>
                    </a:cubicBezTo>
                    <a:cubicBezTo>
                      <a:pt x="126" y="45"/>
                      <a:pt x="125" y="44"/>
                      <a:pt x="123" y="43"/>
                    </a:cubicBezTo>
                    <a:cubicBezTo>
                      <a:pt x="119" y="41"/>
                      <a:pt x="114" y="38"/>
                      <a:pt x="110" y="36"/>
                    </a:cubicBezTo>
                    <a:cubicBezTo>
                      <a:pt x="105" y="34"/>
                      <a:pt x="101" y="32"/>
                      <a:pt x="96" y="30"/>
                    </a:cubicBezTo>
                    <a:cubicBezTo>
                      <a:pt x="95" y="29"/>
                      <a:pt x="93" y="30"/>
                      <a:pt x="92" y="30"/>
                    </a:cubicBezTo>
                    <a:cubicBezTo>
                      <a:pt x="91" y="31"/>
                      <a:pt x="90" y="32"/>
                      <a:pt x="89" y="33"/>
                    </a:cubicBezTo>
                    <a:cubicBezTo>
                      <a:pt x="88" y="34"/>
                      <a:pt x="87" y="35"/>
                      <a:pt x="87" y="36"/>
                    </a:cubicBezTo>
                    <a:cubicBezTo>
                      <a:pt x="86" y="37"/>
                      <a:pt x="85" y="38"/>
                      <a:pt x="84" y="39"/>
                    </a:cubicBezTo>
                    <a:cubicBezTo>
                      <a:pt x="83" y="41"/>
                      <a:pt x="82" y="43"/>
                      <a:pt x="80" y="45"/>
                    </a:cubicBezTo>
                    <a:cubicBezTo>
                      <a:pt x="79" y="47"/>
                      <a:pt x="77" y="50"/>
                      <a:pt x="76" y="52"/>
                    </a:cubicBezTo>
                    <a:cubicBezTo>
                      <a:pt x="75" y="54"/>
                      <a:pt x="74" y="57"/>
                      <a:pt x="72" y="59"/>
                    </a:cubicBezTo>
                    <a:cubicBezTo>
                      <a:pt x="71" y="61"/>
                      <a:pt x="71" y="64"/>
                      <a:pt x="70" y="66"/>
                    </a:cubicBezTo>
                    <a:cubicBezTo>
                      <a:pt x="74" y="68"/>
                      <a:pt x="79" y="70"/>
                      <a:pt x="84" y="70"/>
                    </a:cubicBezTo>
                    <a:cubicBezTo>
                      <a:pt x="89" y="71"/>
                      <a:pt x="95" y="71"/>
                      <a:pt x="100" y="71"/>
                    </a:cubicBezTo>
                    <a:cubicBezTo>
                      <a:pt x="102" y="71"/>
                      <a:pt x="104" y="71"/>
                      <a:pt x="107" y="70"/>
                    </a:cubicBezTo>
                    <a:cubicBezTo>
                      <a:pt x="109" y="70"/>
                      <a:pt x="112" y="70"/>
                      <a:pt x="114" y="69"/>
                    </a:cubicBezTo>
                    <a:cubicBezTo>
                      <a:pt x="117" y="68"/>
                      <a:pt x="119" y="67"/>
                      <a:pt x="121" y="66"/>
                    </a:cubicBezTo>
                    <a:cubicBezTo>
                      <a:pt x="123" y="65"/>
                      <a:pt x="125" y="63"/>
                      <a:pt x="12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1" name="ïṡḷïḍe">
                <a:extLst>
                  <a:ext uri="{FF2B5EF4-FFF2-40B4-BE49-F238E27FC236}">
                    <a16:creationId xmlns:a16="http://schemas.microsoft.com/office/drawing/2014/main" id="{C62983DE-6729-4181-8CC2-4A24C2D6C078}"/>
                  </a:ext>
                </a:extLst>
              </p:cNvPr>
              <p:cNvSpPr/>
              <p:nvPr/>
            </p:nvSpPr>
            <p:spPr>
              <a:xfrm flipH="1">
                <a:off x="10267880" y="3797844"/>
                <a:ext cx="71096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54" h="75" extrusionOk="0">
                    <a:moveTo>
                      <a:pt x="52" y="35"/>
                    </a:moveTo>
                    <a:cubicBezTo>
                      <a:pt x="53" y="36"/>
                      <a:pt x="54" y="38"/>
                      <a:pt x="54" y="40"/>
                    </a:cubicBezTo>
                    <a:cubicBezTo>
                      <a:pt x="54" y="41"/>
                      <a:pt x="54" y="43"/>
                      <a:pt x="54" y="45"/>
                    </a:cubicBezTo>
                    <a:cubicBezTo>
                      <a:pt x="54" y="47"/>
                      <a:pt x="54" y="49"/>
                      <a:pt x="53" y="50"/>
                    </a:cubicBezTo>
                    <a:cubicBezTo>
                      <a:pt x="53" y="52"/>
                      <a:pt x="52" y="54"/>
                      <a:pt x="51" y="55"/>
                    </a:cubicBezTo>
                    <a:cubicBezTo>
                      <a:pt x="50" y="59"/>
                      <a:pt x="48" y="62"/>
                      <a:pt x="46" y="64"/>
                    </a:cubicBezTo>
                    <a:cubicBezTo>
                      <a:pt x="43" y="67"/>
                      <a:pt x="41" y="69"/>
                      <a:pt x="38" y="71"/>
                    </a:cubicBezTo>
                    <a:cubicBezTo>
                      <a:pt x="36" y="72"/>
                      <a:pt x="34" y="73"/>
                      <a:pt x="32" y="73"/>
                    </a:cubicBezTo>
                    <a:cubicBezTo>
                      <a:pt x="30" y="74"/>
                      <a:pt x="28" y="74"/>
                      <a:pt x="26" y="75"/>
                    </a:cubicBezTo>
                    <a:cubicBezTo>
                      <a:pt x="25" y="74"/>
                      <a:pt x="24" y="73"/>
                      <a:pt x="23" y="72"/>
                    </a:cubicBezTo>
                    <a:cubicBezTo>
                      <a:pt x="22" y="71"/>
                      <a:pt x="21" y="70"/>
                      <a:pt x="20" y="68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21" y="67"/>
                      <a:pt x="22" y="66"/>
                      <a:pt x="23" y="66"/>
                    </a:cubicBezTo>
                    <a:cubicBezTo>
                      <a:pt x="23" y="66"/>
                      <a:pt x="24" y="66"/>
                      <a:pt x="25" y="66"/>
                    </a:cubicBezTo>
                    <a:cubicBezTo>
                      <a:pt x="26" y="65"/>
                      <a:pt x="27" y="65"/>
                      <a:pt x="28" y="65"/>
                    </a:cubicBezTo>
                    <a:cubicBezTo>
                      <a:pt x="28" y="64"/>
                      <a:pt x="29" y="64"/>
                      <a:pt x="30" y="64"/>
                    </a:cubicBezTo>
                    <a:cubicBezTo>
                      <a:pt x="31" y="63"/>
                      <a:pt x="33" y="62"/>
                      <a:pt x="34" y="61"/>
                    </a:cubicBezTo>
                    <a:cubicBezTo>
                      <a:pt x="35" y="60"/>
                      <a:pt x="37" y="59"/>
                      <a:pt x="38" y="58"/>
                    </a:cubicBezTo>
                    <a:cubicBezTo>
                      <a:pt x="39" y="57"/>
                      <a:pt x="40" y="55"/>
                      <a:pt x="41" y="54"/>
                    </a:cubicBezTo>
                    <a:cubicBezTo>
                      <a:pt x="42" y="52"/>
                      <a:pt x="43" y="51"/>
                      <a:pt x="44" y="49"/>
                    </a:cubicBezTo>
                    <a:cubicBezTo>
                      <a:pt x="44" y="48"/>
                      <a:pt x="44" y="46"/>
                      <a:pt x="44" y="44"/>
                    </a:cubicBezTo>
                    <a:cubicBezTo>
                      <a:pt x="44" y="43"/>
                      <a:pt x="44" y="41"/>
                      <a:pt x="43" y="39"/>
                    </a:cubicBezTo>
                    <a:cubicBezTo>
                      <a:pt x="42" y="39"/>
                      <a:pt x="42" y="39"/>
                      <a:pt x="42" y="38"/>
                    </a:cubicBezTo>
                    <a:cubicBezTo>
                      <a:pt x="42" y="38"/>
                      <a:pt x="41" y="37"/>
                      <a:pt x="41" y="37"/>
                    </a:cubicBezTo>
                    <a:cubicBezTo>
                      <a:pt x="41" y="36"/>
                      <a:pt x="40" y="36"/>
                      <a:pt x="40" y="36"/>
                    </a:cubicBezTo>
                    <a:cubicBezTo>
                      <a:pt x="39" y="36"/>
                      <a:pt x="39" y="36"/>
                      <a:pt x="38" y="36"/>
                    </a:cubicBezTo>
                    <a:cubicBezTo>
                      <a:pt x="37" y="37"/>
                      <a:pt x="36" y="38"/>
                      <a:pt x="35" y="38"/>
                    </a:cubicBezTo>
                    <a:cubicBezTo>
                      <a:pt x="34" y="39"/>
                      <a:pt x="33" y="40"/>
                      <a:pt x="32" y="41"/>
                    </a:cubicBezTo>
                    <a:cubicBezTo>
                      <a:pt x="31" y="42"/>
                      <a:pt x="30" y="43"/>
                      <a:pt x="28" y="43"/>
                    </a:cubicBezTo>
                    <a:cubicBezTo>
                      <a:pt x="27" y="44"/>
                      <a:pt x="26" y="45"/>
                      <a:pt x="25" y="46"/>
                    </a:cubicBezTo>
                    <a:cubicBezTo>
                      <a:pt x="24" y="46"/>
                      <a:pt x="23" y="47"/>
                      <a:pt x="22" y="47"/>
                    </a:cubicBezTo>
                    <a:cubicBezTo>
                      <a:pt x="21" y="48"/>
                      <a:pt x="20" y="49"/>
                      <a:pt x="19" y="49"/>
                    </a:cubicBezTo>
                    <a:cubicBezTo>
                      <a:pt x="18" y="49"/>
                      <a:pt x="17" y="50"/>
                      <a:pt x="16" y="50"/>
                    </a:cubicBezTo>
                    <a:cubicBezTo>
                      <a:pt x="15" y="50"/>
                      <a:pt x="14" y="50"/>
                      <a:pt x="12" y="50"/>
                    </a:cubicBezTo>
                    <a:cubicBezTo>
                      <a:pt x="11" y="50"/>
                      <a:pt x="10" y="50"/>
                      <a:pt x="9" y="49"/>
                    </a:cubicBezTo>
                    <a:cubicBezTo>
                      <a:pt x="8" y="49"/>
                      <a:pt x="8" y="48"/>
                      <a:pt x="7" y="47"/>
                    </a:cubicBezTo>
                    <a:cubicBezTo>
                      <a:pt x="6" y="46"/>
                      <a:pt x="5" y="46"/>
                      <a:pt x="5" y="45"/>
                    </a:cubicBezTo>
                    <a:cubicBezTo>
                      <a:pt x="4" y="44"/>
                      <a:pt x="3" y="43"/>
                      <a:pt x="3" y="42"/>
                    </a:cubicBezTo>
                    <a:cubicBezTo>
                      <a:pt x="1" y="39"/>
                      <a:pt x="0" y="36"/>
                      <a:pt x="0" y="32"/>
                    </a:cubicBezTo>
                    <a:cubicBezTo>
                      <a:pt x="0" y="29"/>
                      <a:pt x="0" y="25"/>
                      <a:pt x="0" y="22"/>
                    </a:cubicBezTo>
                    <a:cubicBezTo>
                      <a:pt x="1" y="20"/>
                      <a:pt x="1" y="18"/>
                      <a:pt x="2" y="17"/>
                    </a:cubicBezTo>
                    <a:cubicBezTo>
                      <a:pt x="2" y="15"/>
                      <a:pt x="3" y="14"/>
                      <a:pt x="4" y="12"/>
                    </a:cubicBezTo>
                    <a:cubicBezTo>
                      <a:pt x="5" y="11"/>
                      <a:pt x="6" y="9"/>
                      <a:pt x="7" y="8"/>
                    </a:cubicBezTo>
                    <a:cubicBezTo>
                      <a:pt x="8" y="7"/>
                      <a:pt x="10" y="6"/>
                      <a:pt x="11" y="5"/>
                    </a:cubicBezTo>
                    <a:cubicBezTo>
                      <a:pt x="13" y="4"/>
                      <a:pt x="14" y="3"/>
                      <a:pt x="16" y="2"/>
                    </a:cubicBezTo>
                    <a:cubicBezTo>
                      <a:pt x="18" y="1"/>
                      <a:pt x="21" y="1"/>
                      <a:pt x="23" y="1"/>
                    </a:cubicBezTo>
                    <a:cubicBezTo>
                      <a:pt x="25" y="0"/>
                      <a:pt x="27" y="1"/>
                      <a:pt x="29" y="1"/>
                    </a:cubicBezTo>
                    <a:cubicBezTo>
                      <a:pt x="30" y="2"/>
                      <a:pt x="32" y="2"/>
                      <a:pt x="34" y="4"/>
                    </a:cubicBezTo>
                    <a:cubicBezTo>
                      <a:pt x="34" y="4"/>
                      <a:pt x="34" y="4"/>
                      <a:pt x="35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5"/>
                      <a:pt x="35" y="6"/>
                      <a:pt x="35" y="6"/>
                    </a:cubicBezTo>
                    <a:cubicBezTo>
                      <a:pt x="35" y="6"/>
                      <a:pt x="35" y="7"/>
                      <a:pt x="35" y="7"/>
                    </a:cubicBezTo>
                    <a:cubicBezTo>
                      <a:pt x="35" y="7"/>
                      <a:pt x="35" y="7"/>
                      <a:pt x="34" y="7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8"/>
                      <a:pt x="31" y="9"/>
                      <a:pt x="30" y="9"/>
                    </a:cubicBezTo>
                    <a:cubicBezTo>
                      <a:pt x="29" y="9"/>
                      <a:pt x="28" y="10"/>
                      <a:pt x="27" y="10"/>
                    </a:cubicBezTo>
                    <a:cubicBezTo>
                      <a:pt x="26" y="10"/>
                      <a:pt x="24" y="11"/>
                      <a:pt x="23" y="11"/>
                    </a:cubicBezTo>
                    <a:cubicBezTo>
                      <a:pt x="22" y="11"/>
                      <a:pt x="21" y="12"/>
                      <a:pt x="20" y="12"/>
                    </a:cubicBezTo>
                    <a:cubicBezTo>
                      <a:pt x="18" y="13"/>
                      <a:pt x="16" y="15"/>
                      <a:pt x="15" y="17"/>
                    </a:cubicBezTo>
                    <a:cubicBezTo>
                      <a:pt x="14" y="18"/>
                      <a:pt x="13" y="20"/>
                      <a:pt x="12" y="22"/>
                    </a:cubicBezTo>
                    <a:cubicBezTo>
                      <a:pt x="11" y="23"/>
                      <a:pt x="11" y="24"/>
                      <a:pt x="11" y="25"/>
                    </a:cubicBezTo>
                    <a:cubicBezTo>
                      <a:pt x="10" y="26"/>
                      <a:pt x="10" y="27"/>
                      <a:pt x="10" y="28"/>
                    </a:cubicBezTo>
                    <a:cubicBezTo>
                      <a:pt x="10" y="29"/>
                      <a:pt x="10" y="30"/>
                      <a:pt x="11" y="31"/>
                    </a:cubicBezTo>
                    <a:cubicBezTo>
                      <a:pt x="11" y="33"/>
                      <a:pt x="11" y="33"/>
                      <a:pt x="12" y="34"/>
                    </a:cubicBezTo>
                    <a:cubicBezTo>
                      <a:pt x="12" y="35"/>
                      <a:pt x="12" y="36"/>
                      <a:pt x="13" y="36"/>
                    </a:cubicBezTo>
                    <a:cubicBezTo>
                      <a:pt x="14" y="37"/>
                      <a:pt x="14" y="37"/>
                      <a:pt x="15" y="37"/>
                    </a:cubicBezTo>
                    <a:cubicBezTo>
                      <a:pt x="15" y="37"/>
                      <a:pt x="16" y="37"/>
                      <a:pt x="17" y="37"/>
                    </a:cubicBezTo>
                    <a:cubicBezTo>
                      <a:pt x="18" y="37"/>
                      <a:pt x="18" y="37"/>
                      <a:pt x="19" y="36"/>
                    </a:cubicBezTo>
                    <a:cubicBezTo>
                      <a:pt x="20" y="36"/>
                      <a:pt x="21" y="35"/>
                      <a:pt x="21" y="34"/>
                    </a:cubicBezTo>
                    <a:cubicBezTo>
                      <a:pt x="22" y="33"/>
                      <a:pt x="23" y="33"/>
                      <a:pt x="24" y="32"/>
                    </a:cubicBezTo>
                    <a:cubicBezTo>
                      <a:pt x="25" y="31"/>
                      <a:pt x="26" y="30"/>
                      <a:pt x="26" y="29"/>
                    </a:cubicBezTo>
                    <a:cubicBezTo>
                      <a:pt x="27" y="29"/>
                      <a:pt x="28" y="28"/>
                      <a:pt x="29" y="27"/>
                    </a:cubicBezTo>
                    <a:cubicBezTo>
                      <a:pt x="31" y="26"/>
                      <a:pt x="33" y="25"/>
                      <a:pt x="36" y="24"/>
                    </a:cubicBezTo>
                    <a:cubicBezTo>
                      <a:pt x="38" y="24"/>
                      <a:pt x="41" y="24"/>
                      <a:pt x="43" y="25"/>
                    </a:cubicBezTo>
                    <a:cubicBezTo>
                      <a:pt x="45" y="26"/>
                      <a:pt x="47" y="27"/>
                      <a:pt x="48" y="29"/>
                    </a:cubicBezTo>
                    <a:cubicBezTo>
                      <a:pt x="50" y="31"/>
                      <a:pt x="51" y="33"/>
                      <a:pt x="52" y="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2" name="íşļiďe">
                <a:extLst>
                  <a:ext uri="{FF2B5EF4-FFF2-40B4-BE49-F238E27FC236}">
                    <a16:creationId xmlns:a16="http://schemas.microsoft.com/office/drawing/2014/main" id="{3D6B7E42-E2A4-4D7E-9997-8962DF08B31C}"/>
                  </a:ext>
                </a:extLst>
              </p:cNvPr>
              <p:cNvSpPr/>
              <p:nvPr/>
            </p:nvSpPr>
            <p:spPr>
              <a:xfrm flipH="1">
                <a:off x="10462283" y="3992248"/>
                <a:ext cx="79983" cy="125530"/>
              </a:xfrm>
              <a:custGeom>
                <a:avLst/>
                <a:gdLst/>
                <a:ahLst/>
                <a:cxnLst/>
                <a:rect l="l" t="t" r="r" b="b"/>
                <a:pathLst>
                  <a:path w="61" h="96" extrusionOk="0">
                    <a:moveTo>
                      <a:pt x="61" y="10"/>
                    </a:moveTo>
                    <a:cubicBezTo>
                      <a:pt x="61" y="11"/>
                      <a:pt x="61" y="12"/>
                      <a:pt x="60" y="13"/>
                    </a:cubicBezTo>
                    <a:cubicBezTo>
                      <a:pt x="60" y="14"/>
                      <a:pt x="59" y="14"/>
                      <a:pt x="59" y="15"/>
                    </a:cubicBezTo>
                    <a:cubicBezTo>
                      <a:pt x="58" y="17"/>
                      <a:pt x="58" y="19"/>
                      <a:pt x="57" y="20"/>
                    </a:cubicBezTo>
                    <a:cubicBezTo>
                      <a:pt x="57" y="22"/>
                      <a:pt x="57" y="24"/>
                      <a:pt x="57" y="26"/>
                    </a:cubicBezTo>
                    <a:cubicBezTo>
                      <a:pt x="57" y="27"/>
                      <a:pt x="57" y="29"/>
                      <a:pt x="57" y="31"/>
                    </a:cubicBezTo>
                    <a:cubicBezTo>
                      <a:pt x="57" y="33"/>
                      <a:pt x="57" y="34"/>
                      <a:pt x="57" y="36"/>
                    </a:cubicBezTo>
                    <a:cubicBezTo>
                      <a:pt x="57" y="38"/>
                      <a:pt x="56" y="39"/>
                      <a:pt x="56" y="41"/>
                    </a:cubicBezTo>
                    <a:cubicBezTo>
                      <a:pt x="56" y="43"/>
                      <a:pt x="56" y="45"/>
                      <a:pt x="56" y="46"/>
                    </a:cubicBezTo>
                    <a:cubicBezTo>
                      <a:pt x="56" y="51"/>
                      <a:pt x="55" y="56"/>
                      <a:pt x="54" y="61"/>
                    </a:cubicBezTo>
                    <a:cubicBezTo>
                      <a:pt x="53" y="66"/>
                      <a:pt x="52" y="71"/>
                      <a:pt x="50" y="75"/>
                    </a:cubicBezTo>
                    <a:cubicBezTo>
                      <a:pt x="49" y="78"/>
                      <a:pt x="47" y="81"/>
                      <a:pt x="46" y="83"/>
                    </a:cubicBezTo>
                    <a:cubicBezTo>
                      <a:pt x="44" y="86"/>
                      <a:pt x="42" y="88"/>
                      <a:pt x="40" y="90"/>
                    </a:cubicBezTo>
                    <a:cubicBezTo>
                      <a:pt x="38" y="92"/>
                      <a:pt x="36" y="93"/>
                      <a:pt x="34" y="95"/>
                    </a:cubicBezTo>
                    <a:cubicBezTo>
                      <a:pt x="32" y="96"/>
                      <a:pt x="29" y="96"/>
                      <a:pt x="26" y="96"/>
                    </a:cubicBezTo>
                    <a:cubicBezTo>
                      <a:pt x="24" y="96"/>
                      <a:pt x="22" y="96"/>
                      <a:pt x="20" y="95"/>
                    </a:cubicBezTo>
                    <a:cubicBezTo>
                      <a:pt x="18" y="95"/>
                      <a:pt x="16" y="94"/>
                      <a:pt x="14" y="93"/>
                    </a:cubicBezTo>
                    <a:cubicBezTo>
                      <a:pt x="13" y="92"/>
                      <a:pt x="11" y="91"/>
                      <a:pt x="10" y="89"/>
                    </a:cubicBezTo>
                    <a:cubicBezTo>
                      <a:pt x="8" y="88"/>
                      <a:pt x="7" y="86"/>
                      <a:pt x="6" y="84"/>
                    </a:cubicBezTo>
                    <a:cubicBezTo>
                      <a:pt x="4" y="81"/>
                      <a:pt x="2" y="77"/>
                      <a:pt x="1" y="73"/>
                    </a:cubicBezTo>
                    <a:cubicBezTo>
                      <a:pt x="0" y="69"/>
                      <a:pt x="0" y="65"/>
                      <a:pt x="1" y="60"/>
                    </a:cubicBezTo>
                    <a:cubicBezTo>
                      <a:pt x="1" y="57"/>
                      <a:pt x="1" y="55"/>
                      <a:pt x="1" y="52"/>
                    </a:cubicBezTo>
                    <a:cubicBezTo>
                      <a:pt x="2" y="49"/>
                      <a:pt x="2" y="46"/>
                      <a:pt x="2" y="43"/>
                    </a:cubicBezTo>
                    <a:cubicBezTo>
                      <a:pt x="3" y="40"/>
                      <a:pt x="3" y="37"/>
                      <a:pt x="4" y="34"/>
                    </a:cubicBezTo>
                    <a:cubicBezTo>
                      <a:pt x="4" y="31"/>
                      <a:pt x="4" y="28"/>
                      <a:pt x="5" y="2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1"/>
                      <a:pt x="5" y="20"/>
                      <a:pt x="5" y="19"/>
                    </a:cubicBezTo>
                    <a:cubicBezTo>
                      <a:pt x="5" y="18"/>
                      <a:pt x="5" y="16"/>
                      <a:pt x="5" y="15"/>
                    </a:cubicBezTo>
                    <a:cubicBezTo>
                      <a:pt x="5" y="14"/>
                      <a:pt x="5" y="13"/>
                      <a:pt x="5" y="12"/>
                    </a:cubicBezTo>
                    <a:cubicBezTo>
                      <a:pt x="5" y="11"/>
                      <a:pt x="5" y="10"/>
                      <a:pt x="5" y="9"/>
                    </a:cubicBezTo>
                    <a:cubicBezTo>
                      <a:pt x="5" y="7"/>
                      <a:pt x="6" y="6"/>
                      <a:pt x="6" y="5"/>
                    </a:cubicBezTo>
                    <a:cubicBezTo>
                      <a:pt x="7" y="5"/>
                      <a:pt x="8" y="4"/>
                      <a:pt x="9" y="3"/>
                    </a:cubicBezTo>
                    <a:cubicBezTo>
                      <a:pt x="11" y="2"/>
                      <a:pt x="13" y="1"/>
                      <a:pt x="15" y="0"/>
                    </a:cubicBezTo>
                    <a:cubicBezTo>
                      <a:pt x="17" y="1"/>
                      <a:pt x="19" y="2"/>
                      <a:pt x="20" y="4"/>
                    </a:cubicBezTo>
                    <a:cubicBezTo>
                      <a:pt x="21" y="5"/>
                      <a:pt x="21" y="7"/>
                      <a:pt x="22" y="9"/>
                    </a:cubicBezTo>
                    <a:cubicBezTo>
                      <a:pt x="22" y="11"/>
                      <a:pt x="22" y="13"/>
                      <a:pt x="22" y="15"/>
                    </a:cubicBezTo>
                    <a:cubicBezTo>
                      <a:pt x="22" y="17"/>
                      <a:pt x="22" y="19"/>
                      <a:pt x="22" y="21"/>
                    </a:cubicBezTo>
                    <a:cubicBezTo>
                      <a:pt x="21" y="25"/>
                      <a:pt x="21" y="28"/>
                      <a:pt x="20" y="31"/>
                    </a:cubicBezTo>
                    <a:cubicBezTo>
                      <a:pt x="20" y="34"/>
                      <a:pt x="19" y="37"/>
                      <a:pt x="19" y="40"/>
                    </a:cubicBezTo>
                    <a:cubicBezTo>
                      <a:pt x="19" y="44"/>
                      <a:pt x="18" y="47"/>
                      <a:pt x="18" y="50"/>
                    </a:cubicBezTo>
                    <a:cubicBezTo>
                      <a:pt x="17" y="53"/>
                      <a:pt x="17" y="57"/>
                      <a:pt x="17" y="60"/>
                    </a:cubicBezTo>
                    <a:cubicBezTo>
                      <a:pt x="16" y="62"/>
                      <a:pt x="16" y="64"/>
                      <a:pt x="17" y="66"/>
                    </a:cubicBezTo>
                    <a:cubicBezTo>
                      <a:pt x="17" y="68"/>
                      <a:pt x="17" y="70"/>
                      <a:pt x="17" y="72"/>
                    </a:cubicBezTo>
                    <a:cubicBezTo>
                      <a:pt x="17" y="73"/>
                      <a:pt x="18" y="74"/>
                      <a:pt x="18" y="75"/>
                    </a:cubicBezTo>
                    <a:cubicBezTo>
                      <a:pt x="18" y="76"/>
                      <a:pt x="19" y="77"/>
                      <a:pt x="19" y="78"/>
                    </a:cubicBezTo>
                    <a:cubicBezTo>
                      <a:pt x="20" y="79"/>
                      <a:pt x="20" y="79"/>
                      <a:pt x="21" y="80"/>
                    </a:cubicBezTo>
                    <a:cubicBezTo>
                      <a:pt x="22" y="80"/>
                      <a:pt x="23" y="81"/>
                      <a:pt x="24" y="81"/>
                    </a:cubicBezTo>
                    <a:cubicBezTo>
                      <a:pt x="26" y="80"/>
                      <a:pt x="28" y="79"/>
                      <a:pt x="30" y="78"/>
                    </a:cubicBezTo>
                    <a:cubicBezTo>
                      <a:pt x="31" y="77"/>
                      <a:pt x="33" y="75"/>
                      <a:pt x="34" y="73"/>
                    </a:cubicBezTo>
                    <a:cubicBezTo>
                      <a:pt x="35" y="71"/>
                      <a:pt x="35" y="68"/>
                      <a:pt x="36" y="66"/>
                    </a:cubicBezTo>
                    <a:cubicBezTo>
                      <a:pt x="37" y="64"/>
                      <a:pt x="37" y="62"/>
                      <a:pt x="38" y="60"/>
                    </a:cubicBezTo>
                    <a:cubicBezTo>
                      <a:pt x="39" y="53"/>
                      <a:pt x="39" y="47"/>
                      <a:pt x="40" y="40"/>
                    </a:cubicBezTo>
                    <a:cubicBezTo>
                      <a:pt x="41" y="34"/>
                      <a:pt x="42" y="27"/>
                      <a:pt x="43" y="21"/>
                    </a:cubicBezTo>
                    <a:cubicBezTo>
                      <a:pt x="43" y="19"/>
                      <a:pt x="43" y="17"/>
                      <a:pt x="44" y="15"/>
                    </a:cubicBezTo>
                    <a:cubicBezTo>
                      <a:pt x="44" y="13"/>
                      <a:pt x="44" y="11"/>
                      <a:pt x="45" y="10"/>
                    </a:cubicBezTo>
                    <a:cubicBezTo>
                      <a:pt x="46" y="8"/>
                      <a:pt x="46" y="7"/>
                      <a:pt x="47" y="6"/>
                    </a:cubicBezTo>
                    <a:cubicBezTo>
                      <a:pt x="47" y="5"/>
                      <a:pt x="48" y="4"/>
                      <a:pt x="48" y="4"/>
                    </a:cubicBezTo>
                    <a:cubicBezTo>
                      <a:pt x="49" y="3"/>
                      <a:pt x="50" y="2"/>
                      <a:pt x="51" y="2"/>
                    </a:cubicBezTo>
                    <a:cubicBezTo>
                      <a:pt x="51" y="1"/>
                      <a:pt x="52" y="1"/>
                      <a:pt x="53" y="2"/>
                    </a:cubicBezTo>
                    <a:cubicBezTo>
                      <a:pt x="56" y="2"/>
                      <a:pt x="57" y="3"/>
                      <a:pt x="59" y="5"/>
                    </a:cubicBezTo>
                    <a:cubicBezTo>
                      <a:pt x="59" y="6"/>
                      <a:pt x="60" y="6"/>
                      <a:pt x="61" y="7"/>
                    </a:cubicBezTo>
                    <a:cubicBezTo>
                      <a:pt x="61" y="8"/>
                      <a:pt x="61" y="9"/>
                      <a:pt x="61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3" name="iṩḻïďè">
                <a:extLst>
                  <a:ext uri="{FF2B5EF4-FFF2-40B4-BE49-F238E27FC236}">
                    <a16:creationId xmlns:a16="http://schemas.microsoft.com/office/drawing/2014/main" id="{0F84BE5F-C8E2-4EAA-A74F-22831EA300EF}"/>
                  </a:ext>
                </a:extLst>
              </p:cNvPr>
              <p:cNvSpPr/>
              <p:nvPr/>
            </p:nvSpPr>
            <p:spPr>
              <a:xfrm flipH="1">
                <a:off x="9747990" y="3369600"/>
                <a:ext cx="117753" cy="136638"/>
              </a:xfrm>
              <a:custGeom>
                <a:avLst/>
                <a:gdLst/>
                <a:ahLst/>
                <a:cxnLst/>
                <a:rect l="l" t="t" r="r" b="b"/>
                <a:pathLst>
                  <a:path w="90" h="104" extrusionOk="0">
                    <a:moveTo>
                      <a:pt x="89" y="37"/>
                    </a:moveTo>
                    <a:cubicBezTo>
                      <a:pt x="88" y="39"/>
                      <a:pt x="86" y="42"/>
                      <a:pt x="83" y="44"/>
                    </a:cubicBezTo>
                    <a:cubicBezTo>
                      <a:pt x="82" y="45"/>
                      <a:pt x="80" y="46"/>
                      <a:pt x="79" y="46"/>
                    </a:cubicBezTo>
                    <a:cubicBezTo>
                      <a:pt x="78" y="47"/>
                      <a:pt x="76" y="48"/>
                      <a:pt x="75" y="49"/>
                    </a:cubicBezTo>
                    <a:cubicBezTo>
                      <a:pt x="73" y="51"/>
                      <a:pt x="71" y="53"/>
                      <a:pt x="68" y="55"/>
                    </a:cubicBezTo>
                    <a:cubicBezTo>
                      <a:pt x="66" y="57"/>
                      <a:pt x="64" y="60"/>
                      <a:pt x="62" y="62"/>
                    </a:cubicBezTo>
                    <a:cubicBezTo>
                      <a:pt x="59" y="65"/>
                      <a:pt x="57" y="68"/>
                      <a:pt x="54" y="71"/>
                    </a:cubicBezTo>
                    <a:cubicBezTo>
                      <a:pt x="51" y="74"/>
                      <a:pt x="48" y="77"/>
                      <a:pt x="45" y="80"/>
                    </a:cubicBezTo>
                    <a:cubicBezTo>
                      <a:pt x="42" y="83"/>
                      <a:pt x="39" y="86"/>
                      <a:pt x="36" y="89"/>
                    </a:cubicBezTo>
                    <a:cubicBezTo>
                      <a:pt x="33" y="91"/>
                      <a:pt x="29" y="94"/>
                      <a:pt x="26" y="97"/>
                    </a:cubicBezTo>
                    <a:cubicBezTo>
                      <a:pt x="25" y="98"/>
                      <a:pt x="23" y="99"/>
                      <a:pt x="21" y="100"/>
                    </a:cubicBezTo>
                    <a:cubicBezTo>
                      <a:pt x="19" y="101"/>
                      <a:pt x="17" y="102"/>
                      <a:pt x="15" y="103"/>
                    </a:cubicBezTo>
                    <a:cubicBezTo>
                      <a:pt x="13" y="104"/>
                      <a:pt x="11" y="104"/>
                      <a:pt x="9" y="104"/>
                    </a:cubicBezTo>
                    <a:cubicBezTo>
                      <a:pt x="7" y="104"/>
                      <a:pt x="5" y="104"/>
                      <a:pt x="3" y="103"/>
                    </a:cubicBezTo>
                    <a:cubicBezTo>
                      <a:pt x="2" y="102"/>
                      <a:pt x="1" y="101"/>
                      <a:pt x="1" y="100"/>
                    </a:cubicBezTo>
                    <a:cubicBezTo>
                      <a:pt x="0" y="99"/>
                      <a:pt x="0" y="98"/>
                      <a:pt x="0" y="97"/>
                    </a:cubicBezTo>
                    <a:cubicBezTo>
                      <a:pt x="0" y="95"/>
                      <a:pt x="0" y="94"/>
                      <a:pt x="0" y="93"/>
                    </a:cubicBezTo>
                    <a:cubicBezTo>
                      <a:pt x="1" y="92"/>
                      <a:pt x="1" y="90"/>
                      <a:pt x="1" y="89"/>
                    </a:cubicBezTo>
                    <a:cubicBezTo>
                      <a:pt x="2" y="86"/>
                      <a:pt x="3" y="83"/>
                      <a:pt x="4" y="79"/>
                    </a:cubicBezTo>
                    <a:cubicBezTo>
                      <a:pt x="5" y="76"/>
                      <a:pt x="6" y="73"/>
                      <a:pt x="7" y="70"/>
                    </a:cubicBezTo>
                    <a:cubicBezTo>
                      <a:pt x="8" y="67"/>
                      <a:pt x="9" y="63"/>
                      <a:pt x="10" y="60"/>
                    </a:cubicBezTo>
                    <a:cubicBezTo>
                      <a:pt x="11" y="57"/>
                      <a:pt x="12" y="53"/>
                      <a:pt x="13" y="50"/>
                    </a:cubicBezTo>
                    <a:cubicBezTo>
                      <a:pt x="16" y="42"/>
                      <a:pt x="18" y="35"/>
                      <a:pt x="20" y="27"/>
                    </a:cubicBezTo>
                    <a:cubicBezTo>
                      <a:pt x="22" y="19"/>
                      <a:pt x="24" y="12"/>
                      <a:pt x="26" y="4"/>
                    </a:cubicBezTo>
                    <a:cubicBezTo>
                      <a:pt x="26" y="4"/>
                      <a:pt x="26" y="3"/>
                      <a:pt x="26" y="3"/>
                    </a:cubicBezTo>
                    <a:cubicBezTo>
                      <a:pt x="27" y="2"/>
                      <a:pt x="28" y="1"/>
                      <a:pt x="29" y="1"/>
                    </a:cubicBezTo>
                    <a:cubicBezTo>
                      <a:pt x="30" y="1"/>
                      <a:pt x="31" y="0"/>
                      <a:pt x="32" y="0"/>
                    </a:cubicBezTo>
                    <a:cubicBezTo>
                      <a:pt x="33" y="0"/>
                      <a:pt x="34" y="0"/>
                      <a:pt x="35" y="0"/>
                    </a:cubicBezTo>
                    <a:cubicBezTo>
                      <a:pt x="36" y="0"/>
                      <a:pt x="37" y="0"/>
                      <a:pt x="38" y="1"/>
                    </a:cubicBezTo>
                    <a:cubicBezTo>
                      <a:pt x="40" y="2"/>
                      <a:pt x="41" y="3"/>
                      <a:pt x="42" y="4"/>
                    </a:cubicBezTo>
                    <a:cubicBezTo>
                      <a:pt x="42" y="6"/>
                      <a:pt x="42" y="8"/>
                      <a:pt x="42" y="10"/>
                    </a:cubicBezTo>
                    <a:cubicBezTo>
                      <a:pt x="42" y="11"/>
                      <a:pt x="41" y="13"/>
                      <a:pt x="41" y="15"/>
                    </a:cubicBezTo>
                    <a:cubicBezTo>
                      <a:pt x="40" y="17"/>
                      <a:pt x="39" y="19"/>
                      <a:pt x="39" y="20"/>
                    </a:cubicBezTo>
                    <a:cubicBezTo>
                      <a:pt x="37" y="26"/>
                      <a:pt x="34" y="32"/>
                      <a:pt x="32" y="37"/>
                    </a:cubicBezTo>
                    <a:cubicBezTo>
                      <a:pt x="30" y="43"/>
                      <a:pt x="27" y="49"/>
                      <a:pt x="25" y="55"/>
                    </a:cubicBezTo>
                    <a:cubicBezTo>
                      <a:pt x="24" y="56"/>
                      <a:pt x="24" y="58"/>
                      <a:pt x="23" y="59"/>
                    </a:cubicBezTo>
                    <a:cubicBezTo>
                      <a:pt x="23" y="61"/>
                      <a:pt x="22" y="62"/>
                      <a:pt x="22" y="64"/>
                    </a:cubicBezTo>
                    <a:cubicBezTo>
                      <a:pt x="22" y="65"/>
                      <a:pt x="21" y="66"/>
                      <a:pt x="21" y="68"/>
                    </a:cubicBezTo>
                    <a:cubicBezTo>
                      <a:pt x="21" y="69"/>
                      <a:pt x="21" y="70"/>
                      <a:pt x="21" y="71"/>
                    </a:cubicBezTo>
                    <a:cubicBezTo>
                      <a:pt x="21" y="72"/>
                      <a:pt x="21" y="73"/>
                      <a:pt x="21" y="73"/>
                    </a:cubicBezTo>
                    <a:cubicBezTo>
                      <a:pt x="21" y="74"/>
                      <a:pt x="22" y="75"/>
                      <a:pt x="23" y="75"/>
                    </a:cubicBezTo>
                    <a:cubicBezTo>
                      <a:pt x="24" y="75"/>
                      <a:pt x="26" y="74"/>
                      <a:pt x="27" y="73"/>
                    </a:cubicBezTo>
                    <a:cubicBezTo>
                      <a:pt x="29" y="72"/>
                      <a:pt x="30" y="71"/>
                      <a:pt x="32" y="69"/>
                    </a:cubicBezTo>
                    <a:cubicBezTo>
                      <a:pt x="33" y="68"/>
                      <a:pt x="34" y="66"/>
                      <a:pt x="36" y="65"/>
                    </a:cubicBezTo>
                    <a:cubicBezTo>
                      <a:pt x="37" y="63"/>
                      <a:pt x="38" y="62"/>
                      <a:pt x="40" y="61"/>
                    </a:cubicBezTo>
                    <a:cubicBezTo>
                      <a:pt x="43" y="57"/>
                      <a:pt x="46" y="54"/>
                      <a:pt x="49" y="51"/>
                    </a:cubicBezTo>
                    <a:cubicBezTo>
                      <a:pt x="52" y="48"/>
                      <a:pt x="55" y="44"/>
                      <a:pt x="57" y="41"/>
                    </a:cubicBezTo>
                    <a:cubicBezTo>
                      <a:pt x="60" y="38"/>
                      <a:pt x="62" y="36"/>
                      <a:pt x="64" y="34"/>
                    </a:cubicBezTo>
                    <a:cubicBezTo>
                      <a:pt x="67" y="31"/>
                      <a:pt x="69" y="29"/>
                      <a:pt x="72" y="27"/>
                    </a:cubicBezTo>
                    <a:cubicBezTo>
                      <a:pt x="73" y="26"/>
                      <a:pt x="74" y="25"/>
                      <a:pt x="75" y="24"/>
                    </a:cubicBezTo>
                    <a:cubicBezTo>
                      <a:pt x="76" y="24"/>
                      <a:pt x="77" y="23"/>
                      <a:pt x="78" y="22"/>
                    </a:cubicBezTo>
                    <a:cubicBezTo>
                      <a:pt x="80" y="21"/>
                      <a:pt x="81" y="20"/>
                      <a:pt x="82" y="20"/>
                    </a:cubicBezTo>
                    <a:cubicBezTo>
                      <a:pt x="83" y="19"/>
                      <a:pt x="85" y="19"/>
                      <a:pt x="86" y="19"/>
                    </a:cubicBezTo>
                    <a:cubicBezTo>
                      <a:pt x="87" y="20"/>
                      <a:pt x="88" y="22"/>
                      <a:pt x="89" y="23"/>
                    </a:cubicBezTo>
                    <a:cubicBezTo>
                      <a:pt x="89" y="25"/>
                      <a:pt x="90" y="26"/>
                      <a:pt x="90" y="28"/>
                    </a:cubicBezTo>
                    <a:cubicBezTo>
                      <a:pt x="90" y="29"/>
                      <a:pt x="90" y="31"/>
                      <a:pt x="90" y="32"/>
                    </a:cubicBezTo>
                    <a:cubicBezTo>
                      <a:pt x="90" y="34"/>
                      <a:pt x="90" y="35"/>
                      <a:pt x="89" y="3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4" name="íṣļîḍê">
                <a:extLst>
                  <a:ext uri="{FF2B5EF4-FFF2-40B4-BE49-F238E27FC236}">
                    <a16:creationId xmlns:a16="http://schemas.microsoft.com/office/drawing/2014/main" id="{BD70BD47-EDF8-48A7-B19A-0ED1B300B279}"/>
                  </a:ext>
                </a:extLst>
              </p:cNvPr>
              <p:cNvSpPr/>
              <p:nvPr/>
            </p:nvSpPr>
            <p:spPr>
              <a:xfrm flipH="1">
                <a:off x="10429513" y="4137773"/>
                <a:ext cx="69430" cy="73318"/>
              </a:xfrm>
              <a:custGeom>
                <a:avLst/>
                <a:gdLst/>
                <a:ahLst/>
                <a:cxnLst/>
                <a:rect l="l" t="t" r="r" b="b"/>
                <a:pathLst>
                  <a:path w="53" h="56" extrusionOk="0">
                    <a:moveTo>
                      <a:pt x="23" y="2"/>
                    </a:moveTo>
                    <a:cubicBezTo>
                      <a:pt x="24" y="3"/>
                      <a:pt x="24" y="3"/>
                      <a:pt x="25" y="3"/>
                    </a:cubicBezTo>
                    <a:cubicBezTo>
                      <a:pt x="26" y="4"/>
                      <a:pt x="26" y="4"/>
                      <a:pt x="27" y="5"/>
                    </a:cubicBezTo>
                    <a:cubicBezTo>
                      <a:pt x="28" y="5"/>
                      <a:pt x="29" y="6"/>
                      <a:pt x="30" y="7"/>
                    </a:cubicBezTo>
                    <a:cubicBezTo>
                      <a:pt x="31" y="8"/>
                      <a:pt x="32" y="8"/>
                      <a:pt x="33" y="9"/>
                    </a:cubicBezTo>
                    <a:cubicBezTo>
                      <a:pt x="34" y="9"/>
                      <a:pt x="34" y="9"/>
                      <a:pt x="35" y="10"/>
                    </a:cubicBezTo>
                    <a:cubicBezTo>
                      <a:pt x="35" y="10"/>
                      <a:pt x="36" y="10"/>
                      <a:pt x="36" y="11"/>
                    </a:cubicBezTo>
                    <a:cubicBezTo>
                      <a:pt x="37" y="11"/>
                      <a:pt x="37" y="11"/>
                      <a:pt x="38" y="11"/>
                    </a:cubicBezTo>
                    <a:cubicBezTo>
                      <a:pt x="38" y="12"/>
                      <a:pt x="39" y="12"/>
                      <a:pt x="39" y="12"/>
                    </a:cubicBezTo>
                    <a:cubicBezTo>
                      <a:pt x="41" y="14"/>
                      <a:pt x="43" y="15"/>
                      <a:pt x="44" y="17"/>
                    </a:cubicBezTo>
                    <a:cubicBezTo>
                      <a:pt x="46" y="18"/>
                      <a:pt x="48" y="20"/>
                      <a:pt x="49" y="21"/>
                    </a:cubicBezTo>
                    <a:cubicBezTo>
                      <a:pt x="50" y="22"/>
                      <a:pt x="50" y="23"/>
                      <a:pt x="51" y="24"/>
                    </a:cubicBezTo>
                    <a:cubicBezTo>
                      <a:pt x="52" y="25"/>
                      <a:pt x="52" y="26"/>
                      <a:pt x="53" y="27"/>
                    </a:cubicBezTo>
                    <a:cubicBezTo>
                      <a:pt x="53" y="28"/>
                      <a:pt x="53" y="29"/>
                      <a:pt x="53" y="30"/>
                    </a:cubicBezTo>
                    <a:cubicBezTo>
                      <a:pt x="53" y="32"/>
                      <a:pt x="53" y="33"/>
                      <a:pt x="53" y="34"/>
                    </a:cubicBezTo>
                    <a:cubicBezTo>
                      <a:pt x="52" y="35"/>
                      <a:pt x="51" y="36"/>
                      <a:pt x="50" y="37"/>
                    </a:cubicBezTo>
                    <a:cubicBezTo>
                      <a:pt x="49" y="37"/>
                      <a:pt x="48" y="38"/>
                      <a:pt x="47" y="38"/>
                    </a:cubicBezTo>
                    <a:cubicBezTo>
                      <a:pt x="45" y="38"/>
                      <a:pt x="44" y="38"/>
                      <a:pt x="43" y="38"/>
                    </a:cubicBezTo>
                    <a:cubicBezTo>
                      <a:pt x="41" y="38"/>
                      <a:pt x="40" y="37"/>
                      <a:pt x="38" y="37"/>
                    </a:cubicBezTo>
                    <a:cubicBezTo>
                      <a:pt x="39" y="38"/>
                      <a:pt x="40" y="39"/>
                      <a:pt x="41" y="40"/>
                    </a:cubicBezTo>
                    <a:cubicBezTo>
                      <a:pt x="42" y="41"/>
                      <a:pt x="43" y="43"/>
                      <a:pt x="44" y="44"/>
                    </a:cubicBezTo>
                    <a:cubicBezTo>
                      <a:pt x="44" y="45"/>
                      <a:pt x="45" y="46"/>
                      <a:pt x="45" y="48"/>
                    </a:cubicBezTo>
                    <a:cubicBezTo>
                      <a:pt x="45" y="49"/>
                      <a:pt x="45" y="50"/>
                      <a:pt x="44" y="52"/>
                    </a:cubicBezTo>
                    <a:cubicBezTo>
                      <a:pt x="44" y="52"/>
                      <a:pt x="43" y="53"/>
                      <a:pt x="42" y="54"/>
                    </a:cubicBezTo>
                    <a:cubicBezTo>
                      <a:pt x="42" y="54"/>
                      <a:pt x="41" y="55"/>
                      <a:pt x="40" y="55"/>
                    </a:cubicBezTo>
                    <a:cubicBezTo>
                      <a:pt x="39" y="55"/>
                      <a:pt x="38" y="55"/>
                      <a:pt x="38" y="56"/>
                    </a:cubicBezTo>
                    <a:cubicBezTo>
                      <a:pt x="37" y="56"/>
                      <a:pt x="36" y="56"/>
                      <a:pt x="35" y="55"/>
                    </a:cubicBezTo>
                    <a:cubicBezTo>
                      <a:pt x="34" y="55"/>
                      <a:pt x="33" y="55"/>
                      <a:pt x="32" y="55"/>
                    </a:cubicBezTo>
                    <a:cubicBezTo>
                      <a:pt x="31" y="54"/>
                      <a:pt x="30" y="54"/>
                      <a:pt x="29" y="53"/>
                    </a:cubicBezTo>
                    <a:cubicBezTo>
                      <a:pt x="28" y="53"/>
                      <a:pt x="27" y="52"/>
                      <a:pt x="26" y="52"/>
                    </a:cubicBezTo>
                    <a:cubicBezTo>
                      <a:pt x="25" y="51"/>
                      <a:pt x="24" y="51"/>
                      <a:pt x="23" y="50"/>
                    </a:cubicBezTo>
                    <a:cubicBezTo>
                      <a:pt x="22" y="50"/>
                      <a:pt x="21" y="49"/>
                      <a:pt x="21" y="49"/>
                    </a:cubicBezTo>
                    <a:cubicBezTo>
                      <a:pt x="20" y="48"/>
                      <a:pt x="19" y="48"/>
                      <a:pt x="18" y="47"/>
                    </a:cubicBezTo>
                    <a:cubicBezTo>
                      <a:pt x="16" y="46"/>
                      <a:pt x="15" y="45"/>
                      <a:pt x="13" y="44"/>
                    </a:cubicBezTo>
                    <a:cubicBezTo>
                      <a:pt x="11" y="42"/>
                      <a:pt x="9" y="41"/>
                      <a:pt x="8" y="39"/>
                    </a:cubicBezTo>
                    <a:cubicBezTo>
                      <a:pt x="7" y="38"/>
                      <a:pt x="6" y="37"/>
                      <a:pt x="5" y="36"/>
                    </a:cubicBezTo>
                    <a:cubicBezTo>
                      <a:pt x="4" y="35"/>
                      <a:pt x="3" y="34"/>
                      <a:pt x="2" y="33"/>
                    </a:cubicBezTo>
                    <a:cubicBezTo>
                      <a:pt x="1" y="32"/>
                      <a:pt x="1" y="31"/>
                      <a:pt x="0" y="30"/>
                    </a:cubicBezTo>
                    <a:cubicBezTo>
                      <a:pt x="0" y="29"/>
                      <a:pt x="0" y="27"/>
                      <a:pt x="0" y="26"/>
                    </a:cubicBezTo>
                    <a:cubicBezTo>
                      <a:pt x="0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3" y="25"/>
                    </a:cubicBezTo>
                    <a:cubicBezTo>
                      <a:pt x="4" y="25"/>
                      <a:pt x="4" y="25"/>
                      <a:pt x="5" y="25"/>
                    </a:cubicBezTo>
                    <a:cubicBezTo>
                      <a:pt x="5" y="26"/>
                      <a:pt x="6" y="26"/>
                      <a:pt x="7" y="26"/>
                    </a:cubicBezTo>
                    <a:cubicBezTo>
                      <a:pt x="7" y="27"/>
                      <a:pt x="8" y="28"/>
                      <a:pt x="9" y="28"/>
                    </a:cubicBezTo>
                    <a:cubicBezTo>
                      <a:pt x="10" y="29"/>
                      <a:pt x="11" y="30"/>
                      <a:pt x="12" y="31"/>
                    </a:cubicBezTo>
                    <a:cubicBezTo>
                      <a:pt x="12" y="31"/>
                      <a:pt x="12" y="31"/>
                      <a:pt x="13" y="32"/>
                    </a:cubicBezTo>
                    <a:cubicBezTo>
                      <a:pt x="13" y="32"/>
                      <a:pt x="13" y="32"/>
                      <a:pt x="13" y="33"/>
                    </a:cubicBezTo>
                    <a:cubicBezTo>
                      <a:pt x="15" y="35"/>
                      <a:pt x="17" y="36"/>
                      <a:pt x="19" y="38"/>
                    </a:cubicBezTo>
                    <a:cubicBezTo>
                      <a:pt x="21" y="39"/>
                      <a:pt x="23" y="41"/>
                      <a:pt x="25" y="42"/>
                    </a:cubicBezTo>
                    <a:cubicBezTo>
                      <a:pt x="26" y="43"/>
                      <a:pt x="27" y="44"/>
                      <a:pt x="28" y="44"/>
                    </a:cubicBezTo>
                    <a:cubicBezTo>
                      <a:pt x="29" y="45"/>
                      <a:pt x="31" y="45"/>
                      <a:pt x="32" y="45"/>
                    </a:cubicBezTo>
                    <a:cubicBezTo>
                      <a:pt x="31" y="43"/>
                      <a:pt x="30" y="41"/>
                      <a:pt x="29" y="40"/>
                    </a:cubicBezTo>
                    <a:cubicBezTo>
                      <a:pt x="28" y="38"/>
                      <a:pt x="27" y="37"/>
                      <a:pt x="25" y="36"/>
                    </a:cubicBezTo>
                    <a:cubicBezTo>
                      <a:pt x="24" y="34"/>
                      <a:pt x="22" y="33"/>
                      <a:pt x="21" y="32"/>
                    </a:cubicBezTo>
                    <a:cubicBezTo>
                      <a:pt x="19" y="30"/>
                      <a:pt x="18" y="29"/>
                      <a:pt x="17" y="28"/>
                    </a:cubicBezTo>
                    <a:cubicBezTo>
                      <a:pt x="16" y="27"/>
                      <a:pt x="15" y="27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4"/>
                      <a:pt x="12" y="24"/>
                      <a:pt x="12" y="24"/>
                    </a:cubicBezTo>
                    <a:cubicBezTo>
                      <a:pt x="12" y="23"/>
                      <a:pt x="12" y="23"/>
                      <a:pt x="12" y="22"/>
                    </a:cubicBezTo>
                    <a:cubicBezTo>
                      <a:pt x="11" y="22"/>
                      <a:pt x="11" y="22"/>
                      <a:pt x="11" y="21"/>
                    </a:cubicBezTo>
                    <a:cubicBezTo>
                      <a:pt x="11" y="21"/>
                      <a:pt x="12" y="20"/>
                      <a:pt x="12" y="20"/>
                    </a:cubicBezTo>
                    <a:cubicBezTo>
                      <a:pt x="12" y="19"/>
                      <a:pt x="13" y="18"/>
                      <a:pt x="14" y="18"/>
                    </a:cubicBezTo>
                    <a:cubicBezTo>
                      <a:pt x="15" y="18"/>
                      <a:pt x="16" y="18"/>
                      <a:pt x="17" y="18"/>
                    </a:cubicBezTo>
                    <a:cubicBezTo>
                      <a:pt x="18" y="18"/>
                      <a:pt x="19" y="18"/>
                      <a:pt x="20" y="19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4" y="21"/>
                      <a:pt x="25" y="21"/>
                      <a:pt x="26" y="22"/>
                    </a:cubicBezTo>
                    <a:cubicBezTo>
                      <a:pt x="27" y="22"/>
                      <a:pt x="28" y="23"/>
                      <a:pt x="29" y="24"/>
                    </a:cubicBezTo>
                    <a:cubicBezTo>
                      <a:pt x="31" y="25"/>
                      <a:pt x="33" y="26"/>
                      <a:pt x="36" y="26"/>
                    </a:cubicBezTo>
                    <a:cubicBezTo>
                      <a:pt x="38" y="27"/>
                      <a:pt x="40" y="28"/>
                      <a:pt x="42" y="28"/>
                    </a:cubicBezTo>
                    <a:cubicBezTo>
                      <a:pt x="42" y="27"/>
                      <a:pt x="41" y="26"/>
                      <a:pt x="40" y="25"/>
                    </a:cubicBezTo>
                    <a:cubicBezTo>
                      <a:pt x="40" y="25"/>
                      <a:pt x="39" y="24"/>
                      <a:pt x="38" y="23"/>
                    </a:cubicBezTo>
                    <a:cubicBezTo>
                      <a:pt x="37" y="22"/>
                      <a:pt x="36" y="22"/>
                      <a:pt x="35" y="21"/>
                    </a:cubicBezTo>
                    <a:cubicBezTo>
                      <a:pt x="35" y="21"/>
                      <a:pt x="34" y="20"/>
                      <a:pt x="33" y="19"/>
                    </a:cubicBezTo>
                    <a:cubicBezTo>
                      <a:pt x="31" y="18"/>
                      <a:pt x="29" y="17"/>
                      <a:pt x="27" y="15"/>
                    </a:cubicBezTo>
                    <a:cubicBezTo>
                      <a:pt x="25" y="14"/>
                      <a:pt x="23" y="13"/>
                      <a:pt x="21" y="11"/>
                    </a:cubicBezTo>
                    <a:cubicBezTo>
                      <a:pt x="20" y="11"/>
                      <a:pt x="20" y="10"/>
                      <a:pt x="19" y="10"/>
                    </a:cubicBezTo>
                    <a:cubicBezTo>
                      <a:pt x="18" y="9"/>
                      <a:pt x="17" y="8"/>
                      <a:pt x="16" y="8"/>
                    </a:cubicBezTo>
                    <a:cubicBezTo>
                      <a:pt x="15" y="7"/>
                      <a:pt x="15" y="7"/>
                      <a:pt x="14" y="6"/>
                    </a:cubicBezTo>
                    <a:cubicBezTo>
                      <a:pt x="14" y="6"/>
                      <a:pt x="14" y="6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3" y="2"/>
                      <a:pt x="14" y="1"/>
                      <a:pt x="15" y="1"/>
                    </a:cubicBezTo>
                    <a:cubicBezTo>
                      <a:pt x="16" y="1"/>
                      <a:pt x="16" y="0"/>
                      <a:pt x="17" y="0"/>
                    </a:cubicBezTo>
                    <a:cubicBezTo>
                      <a:pt x="18" y="0"/>
                      <a:pt x="19" y="1"/>
                      <a:pt x="20" y="1"/>
                    </a:cubicBezTo>
                    <a:cubicBezTo>
                      <a:pt x="21" y="1"/>
                      <a:pt x="22" y="2"/>
                      <a:pt x="23" y="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5" name="îṡliḓê">
                <a:extLst>
                  <a:ext uri="{FF2B5EF4-FFF2-40B4-BE49-F238E27FC236}">
                    <a16:creationId xmlns:a16="http://schemas.microsoft.com/office/drawing/2014/main" id="{0C50F142-AE1F-4637-9609-0AAE234BF805}"/>
                  </a:ext>
                </a:extLst>
              </p:cNvPr>
              <p:cNvSpPr/>
              <p:nvPr/>
            </p:nvSpPr>
            <p:spPr>
              <a:xfrm flipH="1">
                <a:off x="9785760" y="3620103"/>
                <a:ext cx="99979" cy="159411"/>
              </a:xfrm>
              <a:custGeom>
                <a:avLst/>
                <a:gdLst/>
                <a:ahLst/>
                <a:cxnLst/>
                <a:rect l="l" t="t" r="r" b="b"/>
                <a:pathLst>
                  <a:path w="76" h="121" extrusionOk="0">
                    <a:moveTo>
                      <a:pt x="75" y="114"/>
                    </a:moveTo>
                    <a:cubicBezTo>
                      <a:pt x="74" y="115"/>
                      <a:pt x="74" y="116"/>
                      <a:pt x="73" y="117"/>
                    </a:cubicBezTo>
                    <a:cubicBezTo>
                      <a:pt x="72" y="117"/>
                      <a:pt x="72" y="118"/>
                      <a:pt x="71" y="119"/>
                    </a:cubicBezTo>
                    <a:cubicBezTo>
                      <a:pt x="70" y="119"/>
                      <a:pt x="69" y="120"/>
                      <a:pt x="68" y="120"/>
                    </a:cubicBezTo>
                    <a:cubicBezTo>
                      <a:pt x="67" y="121"/>
                      <a:pt x="66" y="121"/>
                      <a:pt x="65" y="121"/>
                    </a:cubicBezTo>
                    <a:cubicBezTo>
                      <a:pt x="63" y="121"/>
                      <a:pt x="61" y="121"/>
                      <a:pt x="59" y="119"/>
                    </a:cubicBezTo>
                    <a:cubicBezTo>
                      <a:pt x="58" y="118"/>
                      <a:pt x="56" y="117"/>
                      <a:pt x="55" y="115"/>
                    </a:cubicBezTo>
                    <a:cubicBezTo>
                      <a:pt x="54" y="113"/>
                      <a:pt x="53" y="112"/>
                      <a:pt x="52" y="110"/>
                    </a:cubicBezTo>
                    <a:cubicBezTo>
                      <a:pt x="50" y="108"/>
                      <a:pt x="49" y="106"/>
                      <a:pt x="48" y="105"/>
                    </a:cubicBezTo>
                    <a:cubicBezTo>
                      <a:pt x="46" y="100"/>
                      <a:pt x="44" y="96"/>
                      <a:pt x="42" y="91"/>
                    </a:cubicBezTo>
                    <a:cubicBezTo>
                      <a:pt x="40" y="87"/>
                      <a:pt x="38" y="82"/>
                      <a:pt x="36" y="78"/>
                    </a:cubicBezTo>
                    <a:cubicBezTo>
                      <a:pt x="34" y="82"/>
                      <a:pt x="31" y="86"/>
                      <a:pt x="29" y="91"/>
                    </a:cubicBezTo>
                    <a:cubicBezTo>
                      <a:pt x="27" y="95"/>
                      <a:pt x="25" y="100"/>
                      <a:pt x="23" y="104"/>
                    </a:cubicBezTo>
                    <a:cubicBezTo>
                      <a:pt x="22" y="105"/>
                      <a:pt x="21" y="107"/>
                      <a:pt x="20" y="109"/>
                    </a:cubicBezTo>
                    <a:cubicBezTo>
                      <a:pt x="19" y="111"/>
                      <a:pt x="18" y="113"/>
                      <a:pt x="17" y="114"/>
                    </a:cubicBezTo>
                    <a:cubicBezTo>
                      <a:pt x="16" y="116"/>
                      <a:pt x="15" y="118"/>
                      <a:pt x="13" y="119"/>
                    </a:cubicBezTo>
                    <a:cubicBezTo>
                      <a:pt x="12" y="120"/>
                      <a:pt x="10" y="121"/>
                      <a:pt x="8" y="121"/>
                    </a:cubicBezTo>
                    <a:cubicBezTo>
                      <a:pt x="7" y="121"/>
                      <a:pt x="5" y="120"/>
                      <a:pt x="4" y="120"/>
                    </a:cubicBezTo>
                    <a:cubicBezTo>
                      <a:pt x="3" y="119"/>
                      <a:pt x="3" y="119"/>
                      <a:pt x="2" y="118"/>
                    </a:cubicBezTo>
                    <a:cubicBezTo>
                      <a:pt x="1" y="117"/>
                      <a:pt x="1" y="116"/>
                      <a:pt x="0" y="115"/>
                    </a:cubicBezTo>
                    <a:cubicBezTo>
                      <a:pt x="0" y="114"/>
                      <a:pt x="0" y="113"/>
                      <a:pt x="0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109"/>
                      <a:pt x="0" y="109"/>
                      <a:pt x="0" y="108"/>
                    </a:cubicBezTo>
                    <a:cubicBezTo>
                      <a:pt x="0" y="105"/>
                      <a:pt x="1" y="101"/>
                      <a:pt x="3" y="98"/>
                    </a:cubicBezTo>
                    <a:cubicBezTo>
                      <a:pt x="4" y="95"/>
                      <a:pt x="6" y="92"/>
                      <a:pt x="7" y="89"/>
                    </a:cubicBezTo>
                    <a:cubicBezTo>
                      <a:pt x="9" y="86"/>
                      <a:pt x="11" y="83"/>
                      <a:pt x="13" y="80"/>
                    </a:cubicBezTo>
                    <a:cubicBezTo>
                      <a:pt x="15" y="77"/>
                      <a:pt x="17" y="74"/>
                      <a:pt x="19" y="71"/>
                    </a:cubicBezTo>
                    <a:cubicBezTo>
                      <a:pt x="20" y="69"/>
                      <a:pt x="22" y="67"/>
                      <a:pt x="23" y="65"/>
                    </a:cubicBezTo>
                    <a:cubicBezTo>
                      <a:pt x="25" y="62"/>
                      <a:pt x="26" y="60"/>
                      <a:pt x="27" y="58"/>
                    </a:cubicBezTo>
                    <a:cubicBezTo>
                      <a:pt x="26" y="53"/>
                      <a:pt x="24" y="48"/>
                      <a:pt x="22" y="44"/>
                    </a:cubicBezTo>
                    <a:cubicBezTo>
                      <a:pt x="20" y="39"/>
                      <a:pt x="18" y="34"/>
                      <a:pt x="16" y="30"/>
                    </a:cubicBezTo>
                    <a:cubicBezTo>
                      <a:pt x="16" y="28"/>
                      <a:pt x="15" y="26"/>
                      <a:pt x="14" y="24"/>
                    </a:cubicBezTo>
                    <a:cubicBezTo>
                      <a:pt x="13" y="22"/>
                      <a:pt x="13" y="20"/>
                      <a:pt x="12" y="18"/>
                    </a:cubicBezTo>
                    <a:cubicBezTo>
                      <a:pt x="11" y="16"/>
                      <a:pt x="11" y="15"/>
                      <a:pt x="10" y="13"/>
                    </a:cubicBezTo>
                    <a:cubicBezTo>
                      <a:pt x="10" y="11"/>
                      <a:pt x="10" y="9"/>
                      <a:pt x="10" y="7"/>
                    </a:cubicBezTo>
                    <a:cubicBezTo>
                      <a:pt x="10" y="6"/>
                      <a:pt x="10" y="5"/>
                      <a:pt x="11" y="4"/>
                    </a:cubicBezTo>
                    <a:cubicBezTo>
                      <a:pt x="11" y="3"/>
                      <a:pt x="12" y="3"/>
                      <a:pt x="12" y="2"/>
                    </a:cubicBezTo>
                    <a:cubicBezTo>
                      <a:pt x="13" y="2"/>
                      <a:pt x="14" y="1"/>
                      <a:pt x="15" y="1"/>
                    </a:cubicBezTo>
                    <a:cubicBezTo>
                      <a:pt x="16" y="1"/>
                      <a:pt x="17" y="1"/>
                      <a:pt x="18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22" y="0"/>
                      <a:pt x="23" y="0"/>
                      <a:pt x="23" y="0"/>
                    </a:cubicBezTo>
                    <a:cubicBezTo>
                      <a:pt x="24" y="1"/>
                      <a:pt x="25" y="1"/>
                      <a:pt x="25" y="2"/>
                    </a:cubicBezTo>
                    <a:cubicBezTo>
                      <a:pt x="26" y="3"/>
                      <a:pt x="26" y="3"/>
                      <a:pt x="27" y="4"/>
                    </a:cubicBezTo>
                    <a:cubicBezTo>
                      <a:pt x="28" y="6"/>
                      <a:pt x="29" y="8"/>
                      <a:pt x="30" y="11"/>
                    </a:cubicBezTo>
                    <a:cubicBezTo>
                      <a:pt x="31" y="13"/>
                      <a:pt x="32" y="15"/>
                      <a:pt x="33" y="17"/>
                    </a:cubicBezTo>
                    <a:cubicBezTo>
                      <a:pt x="35" y="20"/>
                      <a:pt x="36" y="24"/>
                      <a:pt x="37" y="27"/>
                    </a:cubicBezTo>
                    <a:cubicBezTo>
                      <a:pt x="38" y="30"/>
                      <a:pt x="40" y="33"/>
                      <a:pt x="41" y="36"/>
                    </a:cubicBezTo>
                    <a:cubicBezTo>
                      <a:pt x="43" y="33"/>
                      <a:pt x="45" y="29"/>
                      <a:pt x="47" y="26"/>
                    </a:cubicBezTo>
                    <a:cubicBezTo>
                      <a:pt x="49" y="22"/>
                      <a:pt x="51" y="19"/>
                      <a:pt x="53" y="15"/>
                    </a:cubicBezTo>
                    <a:cubicBezTo>
                      <a:pt x="54" y="14"/>
                      <a:pt x="55" y="12"/>
                      <a:pt x="55" y="11"/>
                    </a:cubicBezTo>
                    <a:cubicBezTo>
                      <a:pt x="56" y="9"/>
                      <a:pt x="57" y="8"/>
                      <a:pt x="58" y="7"/>
                    </a:cubicBezTo>
                    <a:cubicBezTo>
                      <a:pt x="59" y="5"/>
                      <a:pt x="60" y="4"/>
                      <a:pt x="61" y="3"/>
                    </a:cubicBezTo>
                    <a:cubicBezTo>
                      <a:pt x="63" y="1"/>
                      <a:pt x="64" y="0"/>
                      <a:pt x="66" y="0"/>
                    </a:cubicBezTo>
                    <a:cubicBezTo>
                      <a:pt x="67" y="0"/>
                      <a:pt x="68" y="0"/>
                      <a:pt x="70" y="1"/>
                    </a:cubicBezTo>
                    <a:cubicBezTo>
                      <a:pt x="71" y="2"/>
                      <a:pt x="72" y="3"/>
                      <a:pt x="73" y="4"/>
                    </a:cubicBezTo>
                    <a:cubicBezTo>
                      <a:pt x="74" y="5"/>
                      <a:pt x="75" y="6"/>
                      <a:pt x="75" y="7"/>
                    </a:cubicBezTo>
                    <a:cubicBezTo>
                      <a:pt x="76" y="9"/>
                      <a:pt x="76" y="10"/>
                      <a:pt x="76" y="12"/>
                    </a:cubicBezTo>
                    <a:cubicBezTo>
                      <a:pt x="75" y="16"/>
                      <a:pt x="74" y="21"/>
                      <a:pt x="72" y="25"/>
                    </a:cubicBezTo>
                    <a:cubicBezTo>
                      <a:pt x="70" y="29"/>
                      <a:pt x="68" y="33"/>
                      <a:pt x="65" y="37"/>
                    </a:cubicBezTo>
                    <a:cubicBezTo>
                      <a:pt x="63" y="41"/>
                      <a:pt x="60" y="45"/>
                      <a:pt x="57" y="48"/>
                    </a:cubicBezTo>
                    <a:cubicBezTo>
                      <a:pt x="54" y="52"/>
                      <a:pt x="52" y="56"/>
                      <a:pt x="49" y="59"/>
                    </a:cubicBezTo>
                    <a:cubicBezTo>
                      <a:pt x="51" y="65"/>
                      <a:pt x="53" y="70"/>
                      <a:pt x="56" y="75"/>
                    </a:cubicBezTo>
                    <a:cubicBezTo>
                      <a:pt x="59" y="80"/>
                      <a:pt x="61" y="85"/>
                      <a:pt x="64" y="91"/>
                    </a:cubicBezTo>
                    <a:cubicBezTo>
                      <a:pt x="66" y="95"/>
                      <a:pt x="68" y="98"/>
                      <a:pt x="70" y="102"/>
                    </a:cubicBezTo>
                    <a:cubicBezTo>
                      <a:pt x="72" y="106"/>
                      <a:pt x="74" y="110"/>
                      <a:pt x="75" y="11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6" name="íṣḷídè">
                <a:extLst>
                  <a:ext uri="{FF2B5EF4-FFF2-40B4-BE49-F238E27FC236}">
                    <a16:creationId xmlns:a16="http://schemas.microsoft.com/office/drawing/2014/main" id="{FB75A822-FBE3-4777-AB5F-D138F10E9344}"/>
                  </a:ext>
                </a:extLst>
              </p:cNvPr>
              <p:cNvSpPr/>
              <p:nvPr/>
            </p:nvSpPr>
            <p:spPr>
              <a:xfrm flipH="1">
                <a:off x="10306205" y="3268509"/>
                <a:ext cx="127195" cy="169409"/>
              </a:xfrm>
              <a:custGeom>
                <a:avLst/>
                <a:gdLst/>
                <a:ahLst/>
                <a:cxnLst/>
                <a:rect l="l" t="t" r="r" b="b"/>
                <a:pathLst>
                  <a:path w="97" h="129" extrusionOk="0">
                    <a:moveTo>
                      <a:pt x="56" y="4"/>
                    </a:moveTo>
                    <a:cubicBezTo>
                      <a:pt x="57" y="5"/>
                      <a:pt x="58" y="7"/>
                      <a:pt x="59" y="9"/>
                    </a:cubicBezTo>
                    <a:cubicBezTo>
                      <a:pt x="60" y="11"/>
                      <a:pt x="61" y="13"/>
                      <a:pt x="62" y="15"/>
                    </a:cubicBezTo>
                    <a:cubicBezTo>
                      <a:pt x="63" y="17"/>
                      <a:pt x="63" y="20"/>
                      <a:pt x="64" y="22"/>
                    </a:cubicBezTo>
                    <a:cubicBezTo>
                      <a:pt x="64" y="24"/>
                      <a:pt x="65" y="26"/>
                      <a:pt x="65" y="29"/>
                    </a:cubicBezTo>
                    <a:cubicBezTo>
                      <a:pt x="67" y="34"/>
                      <a:pt x="68" y="39"/>
                      <a:pt x="69" y="44"/>
                    </a:cubicBezTo>
                    <a:cubicBezTo>
                      <a:pt x="70" y="49"/>
                      <a:pt x="71" y="55"/>
                      <a:pt x="73" y="60"/>
                    </a:cubicBezTo>
                    <a:cubicBezTo>
                      <a:pt x="75" y="66"/>
                      <a:pt x="77" y="72"/>
                      <a:pt x="80" y="78"/>
                    </a:cubicBezTo>
                    <a:cubicBezTo>
                      <a:pt x="82" y="83"/>
                      <a:pt x="85" y="89"/>
                      <a:pt x="87" y="95"/>
                    </a:cubicBezTo>
                    <a:cubicBezTo>
                      <a:pt x="88" y="98"/>
                      <a:pt x="90" y="100"/>
                      <a:pt x="91" y="103"/>
                    </a:cubicBezTo>
                    <a:cubicBezTo>
                      <a:pt x="92" y="105"/>
                      <a:pt x="93" y="108"/>
                      <a:pt x="94" y="110"/>
                    </a:cubicBezTo>
                    <a:cubicBezTo>
                      <a:pt x="95" y="111"/>
                      <a:pt x="95" y="113"/>
                      <a:pt x="95" y="114"/>
                    </a:cubicBezTo>
                    <a:cubicBezTo>
                      <a:pt x="96" y="115"/>
                      <a:pt x="96" y="116"/>
                      <a:pt x="97" y="118"/>
                    </a:cubicBezTo>
                    <a:cubicBezTo>
                      <a:pt x="97" y="119"/>
                      <a:pt x="97" y="120"/>
                      <a:pt x="97" y="121"/>
                    </a:cubicBezTo>
                    <a:cubicBezTo>
                      <a:pt x="97" y="123"/>
                      <a:pt x="96" y="124"/>
                      <a:pt x="96" y="125"/>
                    </a:cubicBezTo>
                    <a:cubicBezTo>
                      <a:pt x="94" y="126"/>
                      <a:pt x="93" y="127"/>
                      <a:pt x="91" y="128"/>
                    </a:cubicBezTo>
                    <a:cubicBezTo>
                      <a:pt x="89" y="128"/>
                      <a:pt x="88" y="129"/>
                      <a:pt x="86" y="128"/>
                    </a:cubicBezTo>
                    <a:cubicBezTo>
                      <a:pt x="84" y="128"/>
                      <a:pt x="82" y="127"/>
                      <a:pt x="81" y="126"/>
                    </a:cubicBezTo>
                    <a:cubicBezTo>
                      <a:pt x="79" y="126"/>
                      <a:pt x="78" y="124"/>
                      <a:pt x="77" y="123"/>
                    </a:cubicBezTo>
                    <a:cubicBezTo>
                      <a:pt x="74" y="120"/>
                      <a:pt x="72" y="117"/>
                      <a:pt x="71" y="114"/>
                    </a:cubicBezTo>
                    <a:cubicBezTo>
                      <a:pt x="69" y="111"/>
                      <a:pt x="68" y="107"/>
                      <a:pt x="66" y="104"/>
                    </a:cubicBezTo>
                    <a:cubicBezTo>
                      <a:pt x="65" y="100"/>
                      <a:pt x="64" y="97"/>
                      <a:pt x="63" y="93"/>
                    </a:cubicBezTo>
                    <a:cubicBezTo>
                      <a:pt x="62" y="90"/>
                      <a:pt x="61" y="86"/>
                      <a:pt x="60" y="83"/>
                    </a:cubicBezTo>
                    <a:cubicBezTo>
                      <a:pt x="57" y="85"/>
                      <a:pt x="55" y="87"/>
                      <a:pt x="53" y="87"/>
                    </a:cubicBezTo>
                    <a:cubicBezTo>
                      <a:pt x="50" y="88"/>
                      <a:pt x="47" y="89"/>
                      <a:pt x="44" y="88"/>
                    </a:cubicBezTo>
                    <a:cubicBezTo>
                      <a:pt x="42" y="88"/>
                      <a:pt x="39" y="88"/>
                      <a:pt x="36" y="87"/>
                    </a:cubicBezTo>
                    <a:cubicBezTo>
                      <a:pt x="33" y="86"/>
                      <a:pt x="31" y="85"/>
                      <a:pt x="28" y="83"/>
                    </a:cubicBezTo>
                    <a:cubicBezTo>
                      <a:pt x="24" y="80"/>
                      <a:pt x="19" y="77"/>
                      <a:pt x="15" y="73"/>
                    </a:cubicBezTo>
                    <a:cubicBezTo>
                      <a:pt x="11" y="69"/>
                      <a:pt x="8" y="65"/>
                      <a:pt x="4" y="61"/>
                    </a:cubicBezTo>
                    <a:cubicBezTo>
                      <a:pt x="3" y="60"/>
                      <a:pt x="2" y="58"/>
                      <a:pt x="2" y="57"/>
                    </a:cubicBezTo>
                    <a:cubicBezTo>
                      <a:pt x="1" y="56"/>
                      <a:pt x="1" y="54"/>
                      <a:pt x="1" y="53"/>
                    </a:cubicBezTo>
                    <a:cubicBezTo>
                      <a:pt x="0" y="51"/>
                      <a:pt x="0" y="50"/>
                      <a:pt x="1" y="48"/>
                    </a:cubicBezTo>
                    <a:cubicBezTo>
                      <a:pt x="1" y="47"/>
                      <a:pt x="2" y="46"/>
                      <a:pt x="3" y="44"/>
                    </a:cubicBezTo>
                    <a:cubicBezTo>
                      <a:pt x="4" y="43"/>
                      <a:pt x="5" y="43"/>
                      <a:pt x="6" y="42"/>
                    </a:cubicBezTo>
                    <a:cubicBezTo>
                      <a:pt x="7" y="42"/>
                      <a:pt x="8" y="42"/>
                      <a:pt x="9" y="43"/>
                    </a:cubicBezTo>
                    <a:cubicBezTo>
                      <a:pt x="11" y="43"/>
                      <a:pt x="12" y="44"/>
                      <a:pt x="13" y="45"/>
                    </a:cubicBezTo>
                    <a:cubicBezTo>
                      <a:pt x="14" y="45"/>
                      <a:pt x="15" y="46"/>
                      <a:pt x="16" y="47"/>
                    </a:cubicBezTo>
                    <a:cubicBezTo>
                      <a:pt x="19" y="49"/>
                      <a:pt x="22" y="52"/>
                      <a:pt x="25" y="55"/>
                    </a:cubicBezTo>
                    <a:cubicBezTo>
                      <a:pt x="27" y="57"/>
                      <a:pt x="30" y="60"/>
                      <a:pt x="33" y="63"/>
                    </a:cubicBezTo>
                    <a:cubicBezTo>
                      <a:pt x="34" y="64"/>
                      <a:pt x="36" y="64"/>
                      <a:pt x="37" y="65"/>
                    </a:cubicBezTo>
                    <a:cubicBezTo>
                      <a:pt x="38" y="66"/>
                      <a:pt x="40" y="66"/>
                      <a:pt x="41" y="67"/>
                    </a:cubicBezTo>
                    <a:cubicBezTo>
                      <a:pt x="43" y="67"/>
                      <a:pt x="44" y="67"/>
                      <a:pt x="45" y="67"/>
                    </a:cubicBezTo>
                    <a:cubicBezTo>
                      <a:pt x="47" y="67"/>
                      <a:pt x="48" y="66"/>
                      <a:pt x="49" y="65"/>
                    </a:cubicBezTo>
                    <a:cubicBezTo>
                      <a:pt x="50" y="62"/>
                      <a:pt x="50" y="60"/>
                      <a:pt x="50" y="57"/>
                    </a:cubicBezTo>
                    <a:cubicBezTo>
                      <a:pt x="50" y="55"/>
                      <a:pt x="50" y="53"/>
                      <a:pt x="49" y="50"/>
                    </a:cubicBezTo>
                    <a:cubicBezTo>
                      <a:pt x="49" y="48"/>
                      <a:pt x="48" y="45"/>
                      <a:pt x="47" y="43"/>
                    </a:cubicBezTo>
                    <a:cubicBezTo>
                      <a:pt x="46" y="41"/>
                      <a:pt x="45" y="38"/>
                      <a:pt x="45" y="36"/>
                    </a:cubicBezTo>
                    <a:cubicBezTo>
                      <a:pt x="44" y="34"/>
                      <a:pt x="43" y="32"/>
                      <a:pt x="42" y="29"/>
                    </a:cubicBezTo>
                    <a:cubicBezTo>
                      <a:pt x="41" y="27"/>
                      <a:pt x="41" y="25"/>
                      <a:pt x="40" y="22"/>
                    </a:cubicBezTo>
                    <a:cubicBezTo>
                      <a:pt x="39" y="20"/>
                      <a:pt x="38" y="18"/>
                      <a:pt x="38" y="15"/>
                    </a:cubicBezTo>
                    <a:cubicBezTo>
                      <a:pt x="37" y="13"/>
                      <a:pt x="36" y="10"/>
                      <a:pt x="36" y="8"/>
                    </a:cubicBezTo>
                    <a:cubicBezTo>
                      <a:pt x="36" y="7"/>
                      <a:pt x="36" y="6"/>
                      <a:pt x="37" y="5"/>
                    </a:cubicBezTo>
                    <a:cubicBezTo>
                      <a:pt x="38" y="4"/>
                      <a:pt x="38" y="3"/>
                      <a:pt x="39" y="3"/>
                    </a:cubicBezTo>
                    <a:cubicBezTo>
                      <a:pt x="40" y="2"/>
                      <a:pt x="42" y="1"/>
                      <a:pt x="43" y="1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9" y="0"/>
                      <a:pt x="50" y="1"/>
                      <a:pt x="52" y="1"/>
                    </a:cubicBezTo>
                    <a:cubicBezTo>
                      <a:pt x="53" y="2"/>
                      <a:pt x="54" y="3"/>
                      <a:pt x="56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7" name="íŝlïḑé">
                <a:extLst>
                  <a:ext uri="{FF2B5EF4-FFF2-40B4-BE49-F238E27FC236}">
                    <a16:creationId xmlns:a16="http://schemas.microsoft.com/office/drawing/2014/main" id="{B237CF33-1CF9-432A-8582-05688C409C66}"/>
                  </a:ext>
                </a:extLst>
              </p:cNvPr>
              <p:cNvSpPr/>
              <p:nvPr/>
            </p:nvSpPr>
            <p:spPr>
              <a:xfrm flipH="1">
                <a:off x="10146794" y="3905044"/>
                <a:ext cx="73873" cy="82761"/>
              </a:xfrm>
              <a:custGeom>
                <a:avLst/>
                <a:gdLst/>
                <a:ahLst/>
                <a:cxnLst/>
                <a:rect l="l" t="t" r="r" b="b"/>
                <a:pathLst>
                  <a:path w="56" h="63" extrusionOk="0">
                    <a:moveTo>
                      <a:pt x="36" y="60"/>
                    </a:moveTo>
                    <a:cubicBezTo>
                      <a:pt x="35" y="61"/>
                      <a:pt x="34" y="61"/>
                      <a:pt x="34" y="62"/>
                    </a:cubicBezTo>
                    <a:cubicBezTo>
                      <a:pt x="33" y="62"/>
                      <a:pt x="32" y="63"/>
                      <a:pt x="31" y="63"/>
                    </a:cubicBezTo>
                    <a:cubicBezTo>
                      <a:pt x="28" y="62"/>
                      <a:pt x="25" y="62"/>
                      <a:pt x="22" y="61"/>
                    </a:cubicBezTo>
                    <a:cubicBezTo>
                      <a:pt x="19" y="61"/>
                      <a:pt x="16" y="60"/>
                      <a:pt x="13" y="59"/>
                    </a:cubicBezTo>
                    <a:cubicBezTo>
                      <a:pt x="11" y="58"/>
                      <a:pt x="9" y="58"/>
                      <a:pt x="8" y="57"/>
                    </a:cubicBezTo>
                    <a:cubicBezTo>
                      <a:pt x="6" y="56"/>
                      <a:pt x="5" y="56"/>
                      <a:pt x="3" y="55"/>
                    </a:cubicBezTo>
                    <a:cubicBezTo>
                      <a:pt x="3" y="54"/>
                      <a:pt x="2" y="54"/>
                      <a:pt x="2" y="53"/>
                    </a:cubicBezTo>
                    <a:cubicBezTo>
                      <a:pt x="1" y="53"/>
                      <a:pt x="1" y="52"/>
                      <a:pt x="1" y="51"/>
                    </a:cubicBezTo>
                    <a:cubicBezTo>
                      <a:pt x="1" y="51"/>
                      <a:pt x="0" y="50"/>
                      <a:pt x="0" y="49"/>
                    </a:cubicBezTo>
                    <a:cubicBezTo>
                      <a:pt x="0" y="49"/>
                      <a:pt x="0" y="48"/>
                      <a:pt x="0" y="47"/>
                    </a:cubicBezTo>
                    <a:cubicBezTo>
                      <a:pt x="1" y="47"/>
                      <a:pt x="1" y="46"/>
                      <a:pt x="1" y="46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4" y="43"/>
                      <a:pt x="7" y="41"/>
                      <a:pt x="9" y="39"/>
                    </a:cubicBezTo>
                    <a:cubicBezTo>
                      <a:pt x="11" y="38"/>
                      <a:pt x="13" y="36"/>
                      <a:pt x="16" y="34"/>
                    </a:cubicBezTo>
                    <a:cubicBezTo>
                      <a:pt x="21" y="31"/>
                      <a:pt x="26" y="28"/>
                      <a:pt x="31" y="26"/>
                    </a:cubicBezTo>
                    <a:cubicBezTo>
                      <a:pt x="36" y="23"/>
                      <a:pt x="41" y="20"/>
                      <a:pt x="46" y="17"/>
                    </a:cubicBezTo>
                    <a:cubicBezTo>
                      <a:pt x="45" y="16"/>
                      <a:pt x="44" y="16"/>
                      <a:pt x="43" y="15"/>
                    </a:cubicBezTo>
                    <a:cubicBezTo>
                      <a:pt x="42" y="14"/>
                      <a:pt x="41" y="14"/>
                      <a:pt x="40" y="13"/>
                    </a:cubicBezTo>
                    <a:cubicBezTo>
                      <a:pt x="39" y="13"/>
                      <a:pt x="39" y="13"/>
                      <a:pt x="38" y="12"/>
                    </a:cubicBezTo>
                    <a:cubicBezTo>
                      <a:pt x="37" y="12"/>
                      <a:pt x="37" y="12"/>
                      <a:pt x="36" y="12"/>
                    </a:cubicBezTo>
                    <a:cubicBezTo>
                      <a:pt x="36" y="11"/>
                      <a:pt x="35" y="11"/>
                      <a:pt x="35" y="11"/>
                    </a:cubicBezTo>
                    <a:cubicBezTo>
                      <a:pt x="34" y="11"/>
                      <a:pt x="33" y="10"/>
                      <a:pt x="33" y="10"/>
                    </a:cubicBezTo>
                    <a:cubicBezTo>
                      <a:pt x="32" y="10"/>
                      <a:pt x="31" y="9"/>
                      <a:pt x="30" y="9"/>
                    </a:cubicBezTo>
                    <a:cubicBezTo>
                      <a:pt x="29" y="8"/>
                      <a:pt x="28" y="8"/>
                      <a:pt x="27" y="7"/>
                    </a:cubicBezTo>
                    <a:cubicBezTo>
                      <a:pt x="26" y="7"/>
                      <a:pt x="26" y="7"/>
                      <a:pt x="25" y="6"/>
                    </a:cubicBezTo>
                    <a:cubicBezTo>
                      <a:pt x="25" y="6"/>
                      <a:pt x="24" y="5"/>
                      <a:pt x="24" y="5"/>
                    </a:cubicBezTo>
                    <a:cubicBezTo>
                      <a:pt x="24" y="5"/>
                      <a:pt x="24" y="4"/>
                      <a:pt x="23" y="4"/>
                    </a:cubicBezTo>
                    <a:cubicBezTo>
                      <a:pt x="23" y="3"/>
                      <a:pt x="23" y="3"/>
                      <a:pt x="24" y="2"/>
                    </a:cubicBezTo>
                    <a:cubicBezTo>
                      <a:pt x="25" y="1"/>
                      <a:pt x="26" y="1"/>
                      <a:pt x="28" y="1"/>
                    </a:cubicBezTo>
                    <a:cubicBezTo>
                      <a:pt x="29" y="0"/>
                      <a:pt x="30" y="1"/>
                      <a:pt x="32" y="1"/>
                    </a:cubicBezTo>
                    <a:cubicBezTo>
                      <a:pt x="33" y="1"/>
                      <a:pt x="34" y="1"/>
                      <a:pt x="36" y="2"/>
                    </a:cubicBezTo>
                    <a:cubicBezTo>
                      <a:pt x="37" y="2"/>
                      <a:pt x="38" y="3"/>
                      <a:pt x="40" y="3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4" y="5"/>
                      <a:pt x="44" y="5"/>
                      <a:pt x="45" y="5"/>
                    </a:cubicBezTo>
                    <a:cubicBezTo>
                      <a:pt x="46" y="6"/>
                      <a:pt x="46" y="6"/>
                      <a:pt x="47" y="6"/>
                    </a:cubicBezTo>
                    <a:cubicBezTo>
                      <a:pt x="48" y="7"/>
                      <a:pt x="49" y="8"/>
                      <a:pt x="51" y="9"/>
                    </a:cubicBezTo>
                    <a:cubicBezTo>
                      <a:pt x="52" y="9"/>
                      <a:pt x="53" y="11"/>
                      <a:pt x="54" y="12"/>
                    </a:cubicBezTo>
                    <a:cubicBezTo>
                      <a:pt x="55" y="13"/>
                      <a:pt x="55" y="14"/>
                      <a:pt x="56" y="16"/>
                    </a:cubicBezTo>
                    <a:cubicBezTo>
                      <a:pt x="56" y="17"/>
                      <a:pt x="56" y="19"/>
                      <a:pt x="55" y="20"/>
                    </a:cubicBezTo>
                    <a:cubicBezTo>
                      <a:pt x="54" y="22"/>
                      <a:pt x="52" y="24"/>
                      <a:pt x="50" y="26"/>
                    </a:cubicBezTo>
                    <a:cubicBezTo>
                      <a:pt x="49" y="27"/>
                      <a:pt x="47" y="29"/>
                      <a:pt x="45" y="30"/>
                    </a:cubicBezTo>
                    <a:cubicBezTo>
                      <a:pt x="42" y="32"/>
                      <a:pt x="39" y="34"/>
                      <a:pt x="36" y="35"/>
                    </a:cubicBezTo>
                    <a:cubicBezTo>
                      <a:pt x="33" y="37"/>
                      <a:pt x="30" y="39"/>
                      <a:pt x="27" y="40"/>
                    </a:cubicBezTo>
                    <a:cubicBezTo>
                      <a:pt x="25" y="42"/>
                      <a:pt x="22" y="43"/>
                      <a:pt x="20" y="44"/>
                    </a:cubicBezTo>
                    <a:cubicBezTo>
                      <a:pt x="17" y="46"/>
                      <a:pt x="15" y="47"/>
                      <a:pt x="12" y="49"/>
                    </a:cubicBezTo>
                    <a:cubicBezTo>
                      <a:pt x="15" y="50"/>
                      <a:pt x="18" y="51"/>
                      <a:pt x="22" y="52"/>
                    </a:cubicBezTo>
                    <a:cubicBezTo>
                      <a:pt x="25" y="53"/>
                      <a:pt x="28" y="54"/>
                      <a:pt x="31" y="54"/>
                    </a:cubicBezTo>
                    <a:cubicBezTo>
                      <a:pt x="31" y="54"/>
                      <a:pt x="32" y="54"/>
                      <a:pt x="32" y="54"/>
                    </a:cubicBezTo>
                    <a:cubicBezTo>
                      <a:pt x="32" y="54"/>
                      <a:pt x="32" y="55"/>
                      <a:pt x="32" y="55"/>
                    </a:cubicBezTo>
                    <a:cubicBezTo>
                      <a:pt x="33" y="55"/>
                      <a:pt x="33" y="55"/>
                      <a:pt x="34" y="55"/>
                    </a:cubicBezTo>
                    <a:cubicBezTo>
                      <a:pt x="35" y="56"/>
                      <a:pt x="35" y="56"/>
                      <a:pt x="36" y="57"/>
                    </a:cubicBezTo>
                    <a:cubicBezTo>
                      <a:pt x="36" y="57"/>
                      <a:pt x="36" y="58"/>
                      <a:pt x="36" y="58"/>
                    </a:cubicBezTo>
                    <a:cubicBezTo>
                      <a:pt x="36" y="59"/>
                      <a:pt x="36" y="59"/>
                      <a:pt x="36" y="6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8" name="îşḷíḍê">
                <a:extLst>
                  <a:ext uri="{FF2B5EF4-FFF2-40B4-BE49-F238E27FC236}">
                    <a16:creationId xmlns:a16="http://schemas.microsoft.com/office/drawing/2014/main" id="{DEFE2FAE-A89A-47AB-B20F-F3EE2F3419F1}"/>
                  </a:ext>
                </a:extLst>
              </p:cNvPr>
              <p:cNvSpPr/>
              <p:nvPr/>
            </p:nvSpPr>
            <p:spPr>
              <a:xfrm flipH="1">
                <a:off x="9811865" y="3533454"/>
                <a:ext cx="132750" cy="60543"/>
              </a:xfrm>
              <a:custGeom>
                <a:avLst/>
                <a:gdLst/>
                <a:ahLst/>
                <a:cxnLst/>
                <a:rect l="l" t="t" r="r" b="b"/>
                <a:pathLst>
                  <a:path w="101" h="46" extrusionOk="0">
                    <a:moveTo>
                      <a:pt x="79" y="29"/>
                    </a:moveTo>
                    <a:cubicBezTo>
                      <a:pt x="75" y="30"/>
                      <a:pt x="70" y="31"/>
                      <a:pt x="66" y="32"/>
                    </a:cubicBezTo>
                    <a:cubicBezTo>
                      <a:pt x="62" y="33"/>
                      <a:pt x="57" y="34"/>
                      <a:pt x="53" y="35"/>
                    </a:cubicBezTo>
                    <a:cubicBezTo>
                      <a:pt x="48" y="37"/>
                      <a:pt x="44" y="37"/>
                      <a:pt x="39" y="38"/>
                    </a:cubicBezTo>
                    <a:cubicBezTo>
                      <a:pt x="35" y="39"/>
                      <a:pt x="30" y="40"/>
                      <a:pt x="26" y="42"/>
                    </a:cubicBezTo>
                    <a:cubicBezTo>
                      <a:pt x="25" y="42"/>
                      <a:pt x="24" y="42"/>
                      <a:pt x="23" y="43"/>
                    </a:cubicBezTo>
                    <a:cubicBezTo>
                      <a:pt x="22" y="43"/>
                      <a:pt x="20" y="43"/>
                      <a:pt x="19" y="44"/>
                    </a:cubicBezTo>
                    <a:cubicBezTo>
                      <a:pt x="18" y="44"/>
                      <a:pt x="17" y="44"/>
                      <a:pt x="16" y="45"/>
                    </a:cubicBezTo>
                    <a:cubicBezTo>
                      <a:pt x="15" y="45"/>
                      <a:pt x="14" y="45"/>
                      <a:pt x="13" y="45"/>
                    </a:cubicBezTo>
                    <a:cubicBezTo>
                      <a:pt x="12" y="46"/>
                      <a:pt x="11" y="46"/>
                      <a:pt x="10" y="46"/>
                    </a:cubicBezTo>
                    <a:cubicBezTo>
                      <a:pt x="9" y="46"/>
                      <a:pt x="8" y="46"/>
                      <a:pt x="7" y="46"/>
                    </a:cubicBezTo>
                    <a:cubicBezTo>
                      <a:pt x="6" y="46"/>
                      <a:pt x="5" y="46"/>
                      <a:pt x="4" y="46"/>
                    </a:cubicBezTo>
                    <a:cubicBezTo>
                      <a:pt x="3" y="45"/>
                      <a:pt x="2" y="44"/>
                      <a:pt x="1" y="43"/>
                    </a:cubicBezTo>
                    <a:cubicBezTo>
                      <a:pt x="0" y="42"/>
                      <a:pt x="0" y="41"/>
                      <a:pt x="0" y="39"/>
                    </a:cubicBezTo>
                    <a:cubicBezTo>
                      <a:pt x="0" y="38"/>
                      <a:pt x="1" y="36"/>
                      <a:pt x="1" y="35"/>
                    </a:cubicBezTo>
                    <a:cubicBezTo>
                      <a:pt x="3" y="33"/>
                      <a:pt x="5" y="32"/>
                      <a:pt x="8" y="31"/>
                    </a:cubicBezTo>
                    <a:cubicBezTo>
                      <a:pt x="10" y="31"/>
                      <a:pt x="12" y="30"/>
                      <a:pt x="15" y="29"/>
                    </a:cubicBezTo>
                    <a:cubicBezTo>
                      <a:pt x="19" y="28"/>
                      <a:pt x="23" y="27"/>
                      <a:pt x="27" y="26"/>
                    </a:cubicBezTo>
                    <a:cubicBezTo>
                      <a:pt x="31" y="25"/>
                      <a:pt x="35" y="24"/>
                      <a:pt x="38" y="23"/>
                    </a:cubicBezTo>
                    <a:cubicBezTo>
                      <a:pt x="43" y="22"/>
                      <a:pt x="47" y="22"/>
                      <a:pt x="51" y="21"/>
                    </a:cubicBezTo>
                    <a:cubicBezTo>
                      <a:pt x="55" y="20"/>
                      <a:pt x="59" y="19"/>
                      <a:pt x="63" y="18"/>
                    </a:cubicBezTo>
                    <a:cubicBezTo>
                      <a:pt x="65" y="17"/>
                      <a:pt x="66" y="17"/>
                      <a:pt x="68" y="16"/>
                    </a:cubicBezTo>
                    <a:cubicBezTo>
                      <a:pt x="69" y="16"/>
                      <a:pt x="71" y="15"/>
                      <a:pt x="72" y="15"/>
                    </a:cubicBezTo>
                    <a:cubicBezTo>
                      <a:pt x="73" y="14"/>
                      <a:pt x="75" y="13"/>
                      <a:pt x="76" y="13"/>
                    </a:cubicBezTo>
                    <a:cubicBezTo>
                      <a:pt x="77" y="12"/>
                      <a:pt x="79" y="11"/>
                      <a:pt x="80" y="10"/>
                    </a:cubicBezTo>
                    <a:cubicBezTo>
                      <a:pt x="80" y="9"/>
                      <a:pt x="80" y="8"/>
                      <a:pt x="81" y="7"/>
                    </a:cubicBezTo>
                    <a:cubicBezTo>
                      <a:pt x="81" y="6"/>
                      <a:pt x="82" y="5"/>
                      <a:pt x="82" y="5"/>
                    </a:cubicBezTo>
                    <a:cubicBezTo>
                      <a:pt x="83" y="4"/>
                      <a:pt x="83" y="3"/>
                      <a:pt x="84" y="2"/>
                    </a:cubicBezTo>
                    <a:cubicBezTo>
                      <a:pt x="85" y="2"/>
                      <a:pt x="86" y="1"/>
                      <a:pt x="87" y="1"/>
                    </a:cubicBezTo>
                    <a:cubicBezTo>
                      <a:pt x="88" y="1"/>
                      <a:pt x="89" y="0"/>
                      <a:pt x="91" y="0"/>
                    </a:cubicBezTo>
                    <a:cubicBezTo>
                      <a:pt x="92" y="0"/>
                      <a:pt x="93" y="0"/>
                      <a:pt x="94" y="1"/>
                    </a:cubicBezTo>
                    <a:cubicBezTo>
                      <a:pt x="96" y="1"/>
                      <a:pt x="97" y="1"/>
                      <a:pt x="98" y="2"/>
                    </a:cubicBezTo>
                    <a:cubicBezTo>
                      <a:pt x="99" y="3"/>
                      <a:pt x="100" y="4"/>
                      <a:pt x="101" y="5"/>
                    </a:cubicBezTo>
                    <a:cubicBezTo>
                      <a:pt x="101" y="7"/>
                      <a:pt x="101" y="9"/>
                      <a:pt x="101" y="11"/>
                    </a:cubicBezTo>
                    <a:cubicBezTo>
                      <a:pt x="100" y="13"/>
                      <a:pt x="100" y="14"/>
                      <a:pt x="99" y="16"/>
                    </a:cubicBezTo>
                    <a:cubicBezTo>
                      <a:pt x="98" y="18"/>
                      <a:pt x="97" y="19"/>
                      <a:pt x="95" y="21"/>
                    </a:cubicBezTo>
                    <a:cubicBezTo>
                      <a:pt x="94" y="22"/>
                      <a:pt x="93" y="23"/>
                      <a:pt x="91" y="24"/>
                    </a:cubicBezTo>
                    <a:cubicBezTo>
                      <a:pt x="87" y="26"/>
                      <a:pt x="83" y="28"/>
                      <a:pt x="79" y="2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9" name="îŝľïḓè">
                <a:extLst>
                  <a:ext uri="{FF2B5EF4-FFF2-40B4-BE49-F238E27FC236}">
                    <a16:creationId xmlns:a16="http://schemas.microsoft.com/office/drawing/2014/main" id="{4EE72DD9-428E-4459-9A18-11E53A0ADA9F}"/>
                  </a:ext>
                </a:extLst>
              </p:cNvPr>
              <p:cNvSpPr/>
              <p:nvPr/>
            </p:nvSpPr>
            <p:spPr>
              <a:xfrm flipH="1">
                <a:off x="10036818" y="3512904"/>
                <a:ext cx="229952" cy="376588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87" extrusionOk="0">
                    <a:moveTo>
                      <a:pt x="174" y="250"/>
                    </a:moveTo>
                    <a:cubicBezTo>
                      <a:pt x="170" y="255"/>
                      <a:pt x="166" y="258"/>
                      <a:pt x="160" y="261"/>
                    </a:cubicBezTo>
                    <a:cubicBezTo>
                      <a:pt x="155" y="264"/>
                      <a:pt x="150" y="266"/>
                      <a:pt x="144" y="268"/>
                    </a:cubicBezTo>
                    <a:cubicBezTo>
                      <a:pt x="139" y="270"/>
                      <a:pt x="133" y="272"/>
                      <a:pt x="127" y="273"/>
                    </a:cubicBezTo>
                    <a:cubicBezTo>
                      <a:pt x="121" y="275"/>
                      <a:pt x="116" y="276"/>
                      <a:pt x="110" y="278"/>
                    </a:cubicBezTo>
                    <a:cubicBezTo>
                      <a:pt x="98" y="280"/>
                      <a:pt x="84" y="282"/>
                      <a:pt x="71" y="284"/>
                    </a:cubicBezTo>
                    <a:cubicBezTo>
                      <a:pt x="58" y="286"/>
                      <a:pt x="45" y="287"/>
                      <a:pt x="32" y="286"/>
                    </a:cubicBezTo>
                    <a:cubicBezTo>
                      <a:pt x="28" y="286"/>
                      <a:pt x="25" y="285"/>
                      <a:pt x="22" y="283"/>
                    </a:cubicBezTo>
                    <a:cubicBezTo>
                      <a:pt x="20" y="281"/>
                      <a:pt x="17" y="278"/>
                      <a:pt x="16" y="275"/>
                    </a:cubicBezTo>
                    <a:cubicBezTo>
                      <a:pt x="14" y="273"/>
                      <a:pt x="13" y="269"/>
                      <a:pt x="12" y="266"/>
                    </a:cubicBezTo>
                    <a:cubicBezTo>
                      <a:pt x="12" y="262"/>
                      <a:pt x="12" y="259"/>
                      <a:pt x="12" y="255"/>
                    </a:cubicBezTo>
                    <a:cubicBezTo>
                      <a:pt x="13" y="244"/>
                      <a:pt x="16" y="234"/>
                      <a:pt x="21" y="224"/>
                    </a:cubicBezTo>
                    <a:cubicBezTo>
                      <a:pt x="26" y="214"/>
                      <a:pt x="31" y="204"/>
                      <a:pt x="37" y="195"/>
                    </a:cubicBezTo>
                    <a:cubicBezTo>
                      <a:pt x="45" y="183"/>
                      <a:pt x="53" y="171"/>
                      <a:pt x="61" y="160"/>
                    </a:cubicBezTo>
                    <a:cubicBezTo>
                      <a:pt x="69" y="148"/>
                      <a:pt x="77" y="136"/>
                      <a:pt x="85" y="125"/>
                    </a:cubicBezTo>
                    <a:cubicBezTo>
                      <a:pt x="88" y="120"/>
                      <a:pt x="91" y="115"/>
                      <a:pt x="94" y="110"/>
                    </a:cubicBezTo>
                    <a:cubicBezTo>
                      <a:pt x="97" y="105"/>
                      <a:pt x="100" y="99"/>
                      <a:pt x="103" y="94"/>
                    </a:cubicBezTo>
                    <a:cubicBezTo>
                      <a:pt x="105" y="88"/>
                      <a:pt x="108" y="83"/>
                      <a:pt x="109" y="78"/>
                    </a:cubicBezTo>
                    <a:cubicBezTo>
                      <a:pt x="111" y="72"/>
                      <a:pt x="112" y="66"/>
                      <a:pt x="113" y="60"/>
                    </a:cubicBezTo>
                    <a:cubicBezTo>
                      <a:pt x="114" y="58"/>
                      <a:pt x="114" y="55"/>
                      <a:pt x="113" y="52"/>
                    </a:cubicBezTo>
                    <a:cubicBezTo>
                      <a:pt x="113" y="49"/>
                      <a:pt x="112" y="47"/>
                      <a:pt x="110" y="45"/>
                    </a:cubicBezTo>
                    <a:cubicBezTo>
                      <a:pt x="108" y="42"/>
                      <a:pt x="106" y="41"/>
                      <a:pt x="104" y="40"/>
                    </a:cubicBezTo>
                    <a:cubicBezTo>
                      <a:pt x="101" y="38"/>
                      <a:pt x="99" y="38"/>
                      <a:pt x="95" y="39"/>
                    </a:cubicBezTo>
                    <a:cubicBezTo>
                      <a:pt x="87" y="39"/>
                      <a:pt x="80" y="40"/>
                      <a:pt x="72" y="43"/>
                    </a:cubicBezTo>
                    <a:cubicBezTo>
                      <a:pt x="65" y="46"/>
                      <a:pt x="58" y="49"/>
                      <a:pt x="50" y="52"/>
                    </a:cubicBezTo>
                    <a:cubicBezTo>
                      <a:pt x="47" y="55"/>
                      <a:pt x="44" y="58"/>
                      <a:pt x="42" y="62"/>
                    </a:cubicBezTo>
                    <a:cubicBezTo>
                      <a:pt x="40" y="66"/>
                      <a:pt x="38" y="70"/>
                      <a:pt x="36" y="74"/>
                    </a:cubicBezTo>
                    <a:cubicBezTo>
                      <a:pt x="35" y="78"/>
                      <a:pt x="32" y="81"/>
                      <a:pt x="28" y="84"/>
                    </a:cubicBezTo>
                    <a:cubicBezTo>
                      <a:pt x="24" y="87"/>
                      <a:pt x="20" y="88"/>
                      <a:pt x="16" y="88"/>
                    </a:cubicBezTo>
                    <a:cubicBezTo>
                      <a:pt x="12" y="89"/>
                      <a:pt x="9" y="88"/>
                      <a:pt x="6" y="86"/>
                    </a:cubicBezTo>
                    <a:cubicBezTo>
                      <a:pt x="4" y="85"/>
                      <a:pt x="3" y="82"/>
                      <a:pt x="2" y="80"/>
                    </a:cubicBezTo>
                    <a:cubicBezTo>
                      <a:pt x="1" y="77"/>
                      <a:pt x="0" y="74"/>
                      <a:pt x="0" y="70"/>
                    </a:cubicBezTo>
                    <a:cubicBezTo>
                      <a:pt x="0" y="67"/>
                      <a:pt x="0" y="64"/>
                      <a:pt x="1" y="61"/>
                    </a:cubicBezTo>
                    <a:cubicBezTo>
                      <a:pt x="2" y="55"/>
                      <a:pt x="4" y="49"/>
                      <a:pt x="8" y="44"/>
                    </a:cubicBezTo>
                    <a:cubicBezTo>
                      <a:pt x="11" y="39"/>
                      <a:pt x="15" y="35"/>
                      <a:pt x="19" y="31"/>
                    </a:cubicBezTo>
                    <a:cubicBezTo>
                      <a:pt x="24" y="27"/>
                      <a:pt x="29" y="24"/>
                      <a:pt x="34" y="21"/>
                    </a:cubicBezTo>
                    <a:cubicBezTo>
                      <a:pt x="40" y="17"/>
                      <a:pt x="45" y="15"/>
                      <a:pt x="50" y="13"/>
                    </a:cubicBezTo>
                    <a:cubicBezTo>
                      <a:pt x="62" y="8"/>
                      <a:pt x="73" y="4"/>
                      <a:pt x="85" y="3"/>
                    </a:cubicBezTo>
                    <a:cubicBezTo>
                      <a:pt x="97" y="1"/>
                      <a:pt x="109" y="0"/>
                      <a:pt x="121" y="1"/>
                    </a:cubicBezTo>
                    <a:cubicBezTo>
                      <a:pt x="125" y="1"/>
                      <a:pt x="128" y="2"/>
                      <a:pt x="131" y="3"/>
                    </a:cubicBezTo>
                    <a:cubicBezTo>
                      <a:pt x="135" y="4"/>
                      <a:pt x="137" y="6"/>
                      <a:pt x="140" y="8"/>
                    </a:cubicBezTo>
                    <a:cubicBezTo>
                      <a:pt x="142" y="11"/>
                      <a:pt x="145" y="13"/>
                      <a:pt x="147" y="16"/>
                    </a:cubicBezTo>
                    <a:cubicBezTo>
                      <a:pt x="148" y="19"/>
                      <a:pt x="150" y="22"/>
                      <a:pt x="151" y="26"/>
                    </a:cubicBezTo>
                    <a:cubicBezTo>
                      <a:pt x="154" y="32"/>
                      <a:pt x="156" y="39"/>
                      <a:pt x="157" y="46"/>
                    </a:cubicBezTo>
                    <a:cubicBezTo>
                      <a:pt x="159" y="54"/>
                      <a:pt x="159" y="61"/>
                      <a:pt x="158" y="68"/>
                    </a:cubicBezTo>
                    <a:cubicBezTo>
                      <a:pt x="158" y="73"/>
                      <a:pt x="157" y="78"/>
                      <a:pt x="156" y="84"/>
                    </a:cubicBezTo>
                    <a:cubicBezTo>
                      <a:pt x="154" y="89"/>
                      <a:pt x="153" y="94"/>
                      <a:pt x="150" y="98"/>
                    </a:cubicBezTo>
                    <a:cubicBezTo>
                      <a:pt x="148" y="103"/>
                      <a:pt x="146" y="108"/>
                      <a:pt x="143" y="113"/>
                    </a:cubicBezTo>
                    <a:cubicBezTo>
                      <a:pt x="141" y="117"/>
                      <a:pt x="138" y="122"/>
                      <a:pt x="135" y="126"/>
                    </a:cubicBezTo>
                    <a:cubicBezTo>
                      <a:pt x="128" y="137"/>
                      <a:pt x="121" y="147"/>
                      <a:pt x="114" y="157"/>
                    </a:cubicBezTo>
                    <a:cubicBezTo>
                      <a:pt x="107" y="167"/>
                      <a:pt x="100" y="177"/>
                      <a:pt x="93" y="187"/>
                    </a:cubicBezTo>
                    <a:cubicBezTo>
                      <a:pt x="90" y="192"/>
                      <a:pt x="87" y="196"/>
                      <a:pt x="84" y="201"/>
                    </a:cubicBezTo>
                    <a:cubicBezTo>
                      <a:pt x="81" y="205"/>
                      <a:pt x="78" y="210"/>
                      <a:pt x="76" y="215"/>
                    </a:cubicBezTo>
                    <a:cubicBezTo>
                      <a:pt x="73" y="220"/>
                      <a:pt x="71" y="225"/>
                      <a:pt x="69" y="230"/>
                    </a:cubicBezTo>
                    <a:cubicBezTo>
                      <a:pt x="67" y="235"/>
                      <a:pt x="66" y="240"/>
                      <a:pt x="65" y="245"/>
                    </a:cubicBezTo>
                    <a:cubicBezTo>
                      <a:pt x="73" y="244"/>
                      <a:pt x="81" y="242"/>
                      <a:pt x="88" y="241"/>
                    </a:cubicBezTo>
                    <a:cubicBezTo>
                      <a:pt x="96" y="240"/>
                      <a:pt x="103" y="238"/>
                      <a:pt x="111" y="236"/>
                    </a:cubicBezTo>
                    <a:cubicBezTo>
                      <a:pt x="118" y="235"/>
                      <a:pt x="126" y="233"/>
                      <a:pt x="133" y="232"/>
                    </a:cubicBezTo>
                    <a:cubicBezTo>
                      <a:pt x="140" y="230"/>
                      <a:pt x="147" y="229"/>
                      <a:pt x="155" y="229"/>
                    </a:cubicBezTo>
                    <a:cubicBezTo>
                      <a:pt x="156" y="229"/>
                      <a:pt x="157" y="229"/>
                      <a:pt x="158" y="229"/>
                    </a:cubicBezTo>
                    <a:cubicBezTo>
                      <a:pt x="160" y="229"/>
                      <a:pt x="161" y="229"/>
                      <a:pt x="162" y="229"/>
                    </a:cubicBezTo>
                    <a:cubicBezTo>
                      <a:pt x="164" y="230"/>
                      <a:pt x="165" y="232"/>
                      <a:pt x="167" y="233"/>
                    </a:cubicBezTo>
                    <a:cubicBezTo>
                      <a:pt x="168" y="235"/>
                      <a:pt x="169" y="237"/>
                      <a:pt x="171" y="239"/>
                    </a:cubicBezTo>
                    <a:cubicBezTo>
                      <a:pt x="172" y="240"/>
                      <a:pt x="173" y="242"/>
                      <a:pt x="174" y="244"/>
                    </a:cubicBezTo>
                    <a:cubicBezTo>
                      <a:pt x="174" y="246"/>
                      <a:pt x="175" y="248"/>
                      <a:pt x="174" y="25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0" name="ï$ḻïḋe">
                <a:extLst>
                  <a:ext uri="{FF2B5EF4-FFF2-40B4-BE49-F238E27FC236}">
                    <a16:creationId xmlns:a16="http://schemas.microsoft.com/office/drawing/2014/main" id="{3E80DC6B-631D-4F54-96E1-3FCDDA83ADA8}"/>
                  </a:ext>
                </a:extLst>
              </p:cNvPr>
              <p:cNvSpPr/>
              <p:nvPr/>
            </p:nvSpPr>
            <p:spPr>
              <a:xfrm flipH="1">
                <a:off x="10300651" y="4003913"/>
                <a:ext cx="58876" cy="93314"/>
              </a:xfrm>
              <a:custGeom>
                <a:avLst/>
                <a:gdLst/>
                <a:ahLst/>
                <a:cxnLst/>
                <a:rect l="l" t="t" r="r" b="b"/>
                <a:pathLst>
                  <a:path w="45" h="71" extrusionOk="0">
                    <a:moveTo>
                      <a:pt x="44" y="42"/>
                    </a:moveTo>
                    <a:cubicBezTo>
                      <a:pt x="44" y="44"/>
                      <a:pt x="44" y="46"/>
                      <a:pt x="43" y="48"/>
                    </a:cubicBezTo>
                    <a:cubicBezTo>
                      <a:pt x="43" y="50"/>
                      <a:pt x="42" y="52"/>
                      <a:pt x="41" y="53"/>
                    </a:cubicBezTo>
                    <a:cubicBezTo>
                      <a:pt x="40" y="55"/>
                      <a:pt x="38" y="57"/>
                      <a:pt x="37" y="58"/>
                    </a:cubicBezTo>
                    <a:cubicBezTo>
                      <a:pt x="36" y="60"/>
                      <a:pt x="34" y="61"/>
                      <a:pt x="33" y="62"/>
                    </a:cubicBezTo>
                    <a:cubicBezTo>
                      <a:pt x="31" y="64"/>
                      <a:pt x="30" y="65"/>
                      <a:pt x="28" y="66"/>
                    </a:cubicBezTo>
                    <a:cubicBezTo>
                      <a:pt x="26" y="67"/>
                      <a:pt x="24" y="68"/>
                      <a:pt x="23" y="69"/>
                    </a:cubicBezTo>
                    <a:cubicBezTo>
                      <a:pt x="21" y="69"/>
                      <a:pt x="19" y="70"/>
                      <a:pt x="17" y="70"/>
                    </a:cubicBezTo>
                    <a:cubicBezTo>
                      <a:pt x="15" y="71"/>
                      <a:pt x="13" y="71"/>
                      <a:pt x="11" y="71"/>
                    </a:cubicBezTo>
                    <a:cubicBezTo>
                      <a:pt x="10" y="71"/>
                      <a:pt x="9" y="70"/>
                      <a:pt x="8" y="70"/>
                    </a:cubicBezTo>
                    <a:cubicBezTo>
                      <a:pt x="8" y="69"/>
                      <a:pt x="7" y="68"/>
                      <a:pt x="6" y="68"/>
                    </a:cubicBezTo>
                    <a:cubicBezTo>
                      <a:pt x="6" y="67"/>
                      <a:pt x="5" y="66"/>
                      <a:pt x="5" y="65"/>
                    </a:cubicBezTo>
                    <a:cubicBezTo>
                      <a:pt x="5" y="64"/>
                      <a:pt x="5" y="63"/>
                      <a:pt x="5" y="62"/>
                    </a:cubicBezTo>
                    <a:cubicBezTo>
                      <a:pt x="5" y="61"/>
                      <a:pt x="5" y="61"/>
                      <a:pt x="5" y="60"/>
                    </a:cubicBezTo>
                    <a:cubicBezTo>
                      <a:pt x="6" y="60"/>
                      <a:pt x="6" y="60"/>
                      <a:pt x="6" y="59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9" y="59"/>
                      <a:pt x="11" y="59"/>
                      <a:pt x="12" y="59"/>
                    </a:cubicBezTo>
                    <a:cubicBezTo>
                      <a:pt x="13" y="59"/>
                      <a:pt x="14" y="59"/>
                      <a:pt x="15" y="59"/>
                    </a:cubicBezTo>
                    <a:cubicBezTo>
                      <a:pt x="17" y="58"/>
                      <a:pt x="19" y="57"/>
                      <a:pt x="21" y="57"/>
                    </a:cubicBezTo>
                    <a:cubicBezTo>
                      <a:pt x="23" y="56"/>
                      <a:pt x="25" y="55"/>
                      <a:pt x="27" y="53"/>
                    </a:cubicBezTo>
                    <a:cubicBezTo>
                      <a:pt x="28" y="53"/>
                      <a:pt x="29" y="52"/>
                      <a:pt x="29" y="51"/>
                    </a:cubicBezTo>
                    <a:cubicBezTo>
                      <a:pt x="30" y="50"/>
                      <a:pt x="31" y="49"/>
                      <a:pt x="32" y="48"/>
                    </a:cubicBezTo>
                    <a:cubicBezTo>
                      <a:pt x="32" y="48"/>
                      <a:pt x="33" y="47"/>
                      <a:pt x="33" y="46"/>
                    </a:cubicBezTo>
                    <a:cubicBezTo>
                      <a:pt x="34" y="45"/>
                      <a:pt x="34" y="44"/>
                      <a:pt x="34" y="42"/>
                    </a:cubicBezTo>
                    <a:cubicBezTo>
                      <a:pt x="34" y="42"/>
                      <a:pt x="34" y="41"/>
                      <a:pt x="34" y="41"/>
                    </a:cubicBezTo>
                    <a:cubicBezTo>
                      <a:pt x="34" y="40"/>
                      <a:pt x="34" y="39"/>
                      <a:pt x="33" y="39"/>
                    </a:cubicBezTo>
                    <a:cubicBezTo>
                      <a:pt x="33" y="38"/>
                      <a:pt x="33" y="38"/>
                      <a:pt x="32" y="38"/>
                    </a:cubicBezTo>
                    <a:cubicBezTo>
                      <a:pt x="32" y="37"/>
                      <a:pt x="31" y="37"/>
                      <a:pt x="30" y="37"/>
                    </a:cubicBezTo>
                    <a:cubicBezTo>
                      <a:pt x="27" y="37"/>
                      <a:pt x="25" y="37"/>
                      <a:pt x="22" y="38"/>
                    </a:cubicBezTo>
                    <a:cubicBezTo>
                      <a:pt x="19" y="38"/>
                      <a:pt x="16" y="39"/>
                      <a:pt x="13" y="41"/>
                    </a:cubicBezTo>
                    <a:cubicBezTo>
                      <a:pt x="12" y="41"/>
                      <a:pt x="12" y="42"/>
                      <a:pt x="11" y="42"/>
                    </a:cubicBezTo>
                    <a:cubicBezTo>
                      <a:pt x="10" y="42"/>
                      <a:pt x="9" y="43"/>
                      <a:pt x="9" y="43"/>
                    </a:cubicBezTo>
                    <a:cubicBezTo>
                      <a:pt x="8" y="43"/>
                      <a:pt x="7" y="43"/>
                      <a:pt x="7" y="42"/>
                    </a:cubicBezTo>
                    <a:cubicBezTo>
                      <a:pt x="6" y="42"/>
                      <a:pt x="6" y="41"/>
                      <a:pt x="5" y="41"/>
                    </a:cubicBezTo>
                    <a:cubicBezTo>
                      <a:pt x="5" y="40"/>
                      <a:pt x="4" y="40"/>
                      <a:pt x="4" y="39"/>
                    </a:cubicBezTo>
                    <a:cubicBezTo>
                      <a:pt x="4" y="38"/>
                      <a:pt x="3" y="38"/>
                      <a:pt x="3" y="37"/>
                    </a:cubicBezTo>
                    <a:cubicBezTo>
                      <a:pt x="4" y="36"/>
                      <a:pt x="4" y="35"/>
                      <a:pt x="4" y="35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6" y="33"/>
                      <a:pt x="7" y="32"/>
                      <a:pt x="7" y="32"/>
                    </a:cubicBezTo>
                    <a:cubicBezTo>
                      <a:pt x="8" y="31"/>
                      <a:pt x="8" y="31"/>
                      <a:pt x="9" y="30"/>
                    </a:cubicBezTo>
                    <a:cubicBezTo>
                      <a:pt x="11" y="29"/>
                      <a:pt x="12" y="28"/>
                      <a:pt x="14" y="27"/>
                    </a:cubicBezTo>
                    <a:cubicBezTo>
                      <a:pt x="16" y="26"/>
                      <a:pt x="17" y="25"/>
                      <a:pt x="19" y="24"/>
                    </a:cubicBezTo>
                    <a:cubicBezTo>
                      <a:pt x="21" y="23"/>
                      <a:pt x="22" y="22"/>
                      <a:pt x="23" y="20"/>
                    </a:cubicBezTo>
                    <a:cubicBezTo>
                      <a:pt x="24" y="19"/>
                      <a:pt x="25" y="17"/>
                      <a:pt x="25" y="15"/>
                    </a:cubicBezTo>
                    <a:cubicBezTo>
                      <a:pt x="25" y="15"/>
                      <a:pt x="25" y="14"/>
                      <a:pt x="25" y="14"/>
                    </a:cubicBezTo>
                    <a:cubicBezTo>
                      <a:pt x="25" y="14"/>
                      <a:pt x="25" y="13"/>
                      <a:pt x="25" y="13"/>
                    </a:cubicBezTo>
                    <a:cubicBezTo>
                      <a:pt x="25" y="12"/>
                      <a:pt x="25" y="12"/>
                      <a:pt x="24" y="12"/>
                    </a:cubicBezTo>
                    <a:cubicBezTo>
                      <a:pt x="24" y="11"/>
                      <a:pt x="24" y="11"/>
                      <a:pt x="23" y="11"/>
                    </a:cubicBezTo>
                    <a:cubicBezTo>
                      <a:pt x="22" y="11"/>
                      <a:pt x="21" y="12"/>
                      <a:pt x="21" y="12"/>
                    </a:cubicBezTo>
                    <a:cubicBezTo>
                      <a:pt x="20" y="12"/>
                      <a:pt x="19" y="13"/>
                      <a:pt x="18" y="13"/>
                    </a:cubicBezTo>
                    <a:cubicBezTo>
                      <a:pt x="17" y="14"/>
                      <a:pt x="16" y="14"/>
                      <a:pt x="15" y="14"/>
                    </a:cubicBezTo>
                    <a:cubicBezTo>
                      <a:pt x="15" y="15"/>
                      <a:pt x="14" y="15"/>
                      <a:pt x="13" y="16"/>
                    </a:cubicBezTo>
                    <a:cubicBezTo>
                      <a:pt x="12" y="17"/>
                      <a:pt x="10" y="18"/>
                      <a:pt x="9" y="18"/>
                    </a:cubicBezTo>
                    <a:cubicBezTo>
                      <a:pt x="8" y="19"/>
                      <a:pt x="7" y="20"/>
                      <a:pt x="5" y="21"/>
                    </a:cubicBezTo>
                    <a:cubicBezTo>
                      <a:pt x="5" y="21"/>
                      <a:pt x="4" y="20"/>
                      <a:pt x="3" y="20"/>
                    </a:cubicBezTo>
                    <a:cubicBezTo>
                      <a:pt x="3" y="20"/>
                      <a:pt x="2" y="19"/>
                      <a:pt x="2" y="19"/>
                    </a:cubicBezTo>
                    <a:cubicBezTo>
                      <a:pt x="1" y="18"/>
                      <a:pt x="1" y="18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2" y="13"/>
                      <a:pt x="2" y="12"/>
                      <a:pt x="3" y="11"/>
                    </a:cubicBezTo>
                    <a:cubicBezTo>
                      <a:pt x="4" y="10"/>
                      <a:pt x="5" y="10"/>
                      <a:pt x="6" y="9"/>
                    </a:cubicBezTo>
                    <a:cubicBezTo>
                      <a:pt x="7" y="8"/>
                      <a:pt x="8" y="7"/>
                      <a:pt x="9" y="7"/>
                    </a:cubicBezTo>
                    <a:cubicBezTo>
                      <a:pt x="10" y="6"/>
                      <a:pt x="11" y="5"/>
                      <a:pt x="12" y="5"/>
                    </a:cubicBezTo>
                    <a:cubicBezTo>
                      <a:pt x="13" y="4"/>
                      <a:pt x="14" y="4"/>
                      <a:pt x="15" y="3"/>
                    </a:cubicBezTo>
                    <a:cubicBezTo>
                      <a:pt x="16" y="3"/>
                      <a:pt x="17" y="2"/>
                      <a:pt x="18" y="2"/>
                    </a:cubicBezTo>
                    <a:cubicBezTo>
                      <a:pt x="19" y="1"/>
                      <a:pt x="21" y="1"/>
                      <a:pt x="22" y="1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7" y="0"/>
                      <a:pt x="29" y="1"/>
                      <a:pt x="30" y="1"/>
                    </a:cubicBezTo>
                    <a:cubicBezTo>
                      <a:pt x="32" y="2"/>
                      <a:pt x="33" y="3"/>
                      <a:pt x="34" y="4"/>
                    </a:cubicBezTo>
                    <a:cubicBezTo>
                      <a:pt x="35" y="5"/>
                      <a:pt x="36" y="6"/>
                      <a:pt x="37" y="8"/>
                    </a:cubicBezTo>
                    <a:cubicBezTo>
                      <a:pt x="38" y="9"/>
                      <a:pt x="38" y="11"/>
                      <a:pt x="38" y="13"/>
                    </a:cubicBezTo>
                    <a:cubicBezTo>
                      <a:pt x="38" y="14"/>
                      <a:pt x="37" y="15"/>
                      <a:pt x="37" y="16"/>
                    </a:cubicBezTo>
                    <a:cubicBezTo>
                      <a:pt x="37" y="17"/>
                      <a:pt x="36" y="19"/>
                      <a:pt x="36" y="20"/>
                    </a:cubicBezTo>
                    <a:cubicBezTo>
                      <a:pt x="35" y="21"/>
                      <a:pt x="34" y="22"/>
                      <a:pt x="34" y="23"/>
                    </a:cubicBezTo>
                    <a:cubicBezTo>
                      <a:pt x="33" y="24"/>
                      <a:pt x="32" y="25"/>
                      <a:pt x="31" y="26"/>
                    </a:cubicBezTo>
                    <a:cubicBezTo>
                      <a:pt x="34" y="26"/>
                      <a:pt x="36" y="26"/>
                      <a:pt x="37" y="27"/>
                    </a:cubicBezTo>
                    <a:cubicBezTo>
                      <a:pt x="39" y="28"/>
                      <a:pt x="41" y="29"/>
                      <a:pt x="42" y="31"/>
                    </a:cubicBezTo>
                    <a:cubicBezTo>
                      <a:pt x="43" y="32"/>
                      <a:pt x="44" y="34"/>
                      <a:pt x="44" y="36"/>
                    </a:cubicBezTo>
                    <a:cubicBezTo>
                      <a:pt x="45" y="38"/>
                      <a:pt x="45" y="40"/>
                      <a:pt x="44" y="4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1" name="ïślîḓè">
                <a:extLst>
                  <a:ext uri="{FF2B5EF4-FFF2-40B4-BE49-F238E27FC236}">
                    <a16:creationId xmlns:a16="http://schemas.microsoft.com/office/drawing/2014/main" id="{2F871F8D-7EAC-4506-BCF2-2B6A52EE76D2}"/>
                  </a:ext>
                </a:extLst>
              </p:cNvPr>
              <p:cNvSpPr/>
              <p:nvPr/>
            </p:nvSpPr>
            <p:spPr>
              <a:xfrm flipH="1">
                <a:off x="10362305" y="3755631"/>
                <a:ext cx="208845" cy="332153"/>
              </a:xfrm>
              <a:custGeom>
                <a:avLst/>
                <a:gdLst/>
                <a:ahLst/>
                <a:cxnLst/>
                <a:rect l="l" t="t" r="r" b="b"/>
                <a:pathLst>
                  <a:path w="159" h="253" extrusionOk="0">
                    <a:moveTo>
                      <a:pt x="158" y="142"/>
                    </a:moveTo>
                    <a:cubicBezTo>
                      <a:pt x="158" y="144"/>
                      <a:pt x="158" y="146"/>
                      <a:pt x="157" y="148"/>
                    </a:cubicBezTo>
                    <a:cubicBezTo>
                      <a:pt x="156" y="150"/>
                      <a:pt x="155" y="152"/>
                      <a:pt x="154" y="154"/>
                    </a:cubicBezTo>
                    <a:cubicBezTo>
                      <a:pt x="153" y="156"/>
                      <a:pt x="151" y="157"/>
                      <a:pt x="149" y="159"/>
                    </a:cubicBezTo>
                    <a:cubicBezTo>
                      <a:pt x="148" y="160"/>
                      <a:pt x="146" y="160"/>
                      <a:pt x="143" y="160"/>
                    </a:cubicBezTo>
                    <a:cubicBezTo>
                      <a:pt x="143" y="163"/>
                      <a:pt x="142" y="166"/>
                      <a:pt x="141" y="168"/>
                    </a:cubicBezTo>
                    <a:cubicBezTo>
                      <a:pt x="141" y="171"/>
                      <a:pt x="140" y="174"/>
                      <a:pt x="140" y="177"/>
                    </a:cubicBezTo>
                    <a:cubicBezTo>
                      <a:pt x="139" y="181"/>
                      <a:pt x="139" y="185"/>
                      <a:pt x="139" y="189"/>
                    </a:cubicBezTo>
                    <a:cubicBezTo>
                      <a:pt x="139" y="193"/>
                      <a:pt x="138" y="197"/>
                      <a:pt x="138" y="201"/>
                    </a:cubicBezTo>
                    <a:cubicBezTo>
                      <a:pt x="138" y="206"/>
                      <a:pt x="138" y="210"/>
                      <a:pt x="137" y="214"/>
                    </a:cubicBezTo>
                    <a:cubicBezTo>
                      <a:pt x="137" y="218"/>
                      <a:pt x="137" y="222"/>
                      <a:pt x="137" y="226"/>
                    </a:cubicBezTo>
                    <a:cubicBezTo>
                      <a:pt x="136" y="229"/>
                      <a:pt x="136" y="231"/>
                      <a:pt x="135" y="234"/>
                    </a:cubicBezTo>
                    <a:cubicBezTo>
                      <a:pt x="134" y="237"/>
                      <a:pt x="132" y="240"/>
                      <a:pt x="131" y="243"/>
                    </a:cubicBezTo>
                    <a:cubicBezTo>
                      <a:pt x="129" y="245"/>
                      <a:pt x="128" y="247"/>
                      <a:pt x="125" y="249"/>
                    </a:cubicBezTo>
                    <a:cubicBezTo>
                      <a:pt x="123" y="251"/>
                      <a:pt x="120" y="252"/>
                      <a:pt x="117" y="253"/>
                    </a:cubicBezTo>
                    <a:cubicBezTo>
                      <a:pt x="115" y="253"/>
                      <a:pt x="113" y="253"/>
                      <a:pt x="111" y="253"/>
                    </a:cubicBezTo>
                    <a:cubicBezTo>
                      <a:pt x="108" y="252"/>
                      <a:pt x="106" y="252"/>
                      <a:pt x="105" y="251"/>
                    </a:cubicBezTo>
                    <a:cubicBezTo>
                      <a:pt x="103" y="250"/>
                      <a:pt x="101" y="248"/>
                      <a:pt x="100" y="246"/>
                    </a:cubicBezTo>
                    <a:cubicBezTo>
                      <a:pt x="99" y="245"/>
                      <a:pt x="98" y="243"/>
                      <a:pt x="98" y="240"/>
                    </a:cubicBezTo>
                    <a:cubicBezTo>
                      <a:pt x="97" y="236"/>
                      <a:pt x="96" y="232"/>
                      <a:pt x="96" y="227"/>
                    </a:cubicBezTo>
                    <a:cubicBezTo>
                      <a:pt x="97" y="222"/>
                      <a:pt x="97" y="218"/>
                      <a:pt x="97" y="213"/>
                    </a:cubicBezTo>
                    <a:cubicBezTo>
                      <a:pt x="98" y="210"/>
                      <a:pt x="99" y="207"/>
                      <a:pt x="99" y="204"/>
                    </a:cubicBezTo>
                    <a:cubicBezTo>
                      <a:pt x="99" y="201"/>
                      <a:pt x="99" y="198"/>
                      <a:pt x="100" y="195"/>
                    </a:cubicBezTo>
                    <a:cubicBezTo>
                      <a:pt x="100" y="192"/>
                      <a:pt x="101" y="189"/>
                      <a:pt x="102" y="186"/>
                    </a:cubicBezTo>
                    <a:cubicBezTo>
                      <a:pt x="102" y="183"/>
                      <a:pt x="103" y="180"/>
                      <a:pt x="103" y="177"/>
                    </a:cubicBezTo>
                    <a:cubicBezTo>
                      <a:pt x="103" y="174"/>
                      <a:pt x="103" y="172"/>
                      <a:pt x="104" y="170"/>
                    </a:cubicBezTo>
                    <a:cubicBezTo>
                      <a:pt x="104" y="167"/>
                      <a:pt x="104" y="165"/>
                      <a:pt x="103" y="162"/>
                    </a:cubicBezTo>
                    <a:cubicBezTo>
                      <a:pt x="99" y="162"/>
                      <a:pt x="95" y="161"/>
                      <a:pt x="91" y="161"/>
                    </a:cubicBezTo>
                    <a:cubicBezTo>
                      <a:pt x="87" y="161"/>
                      <a:pt x="83" y="161"/>
                      <a:pt x="79" y="160"/>
                    </a:cubicBezTo>
                    <a:cubicBezTo>
                      <a:pt x="73" y="160"/>
                      <a:pt x="66" y="159"/>
                      <a:pt x="59" y="159"/>
                    </a:cubicBezTo>
                    <a:cubicBezTo>
                      <a:pt x="52" y="158"/>
                      <a:pt x="45" y="157"/>
                      <a:pt x="39" y="156"/>
                    </a:cubicBezTo>
                    <a:cubicBezTo>
                      <a:pt x="32" y="155"/>
                      <a:pt x="26" y="153"/>
                      <a:pt x="20" y="150"/>
                    </a:cubicBezTo>
                    <a:cubicBezTo>
                      <a:pt x="14" y="147"/>
                      <a:pt x="8" y="144"/>
                      <a:pt x="3" y="139"/>
                    </a:cubicBezTo>
                    <a:cubicBezTo>
                      <a:pt x="2" y="137"/>
                      <a:pt x="1" y="134"/>
                      <a:pt x="0" y="131"/>
                    </a:cubicBezTo>
                    <a:cubicBezTo>
                      <a:pt x="0" y="128"/>
                      <a:pt x="0" y="125"/>
                      <a:pt x="0" y="122"/>
                    </a:cubicBezTo>
                    <a:cubicBezTo>
                      <a:pt x="0" y="115"/>
                      <a:pt x="2" y="107"/>
                      <a:pt x="5" y="100"/>
                    </a:cubicBezTo>
                    <a:cubicBezTo>
                      <a:pt x="7" y="93"/>
                      <a:pt x="10" y="86"/>
                      <a:pt x="13" y="79"/>
                    </a:cubicBezTo>
                    <a:cubicBezTo>
                      <a:pt x="16" y="72"/>
                      <a:pt x="20" y="64"/>
                      <a:pt x="23" y="57"/>
                    </a:cubicBezTo>
                    <a:cubicBezTo>
                      <a:pt x="26" y="50"/>
                      <a:pt x="30" y="43"/>
                      <a:pt x="35" y="37"/>
                    </a:cubicBezTo>
                    <a:cubicBezTo>
                      <a:pt x="37" y="34"/>
                      <a:pt x="39" y="31"/>
                      <a:pt x="41" y="28"/>
                    </a:cubicBezTo>
                    <a:cubicBezTo>
                      <a:pt x="43" y="25"/>
                      <a:pt x="45" y="22"/>
                      <a:pt x="47" y="19"/>
                    </a:cubicBezTo>
                    <a:cubicBezTo>
                      <a:pt x="49" y="16"/>
                      <a:pt x="51" y="13"/>
                      <a:pt x="54" y="11"/>
                    </a:cubicBezTo>
                    <a:cubicBezTo>
                      <a:pt x="56" y="9"/>
                      <a:pt x="59" y="7"/>
                      <a:pt x="62" y="5"/>
                    </a:cubicBezTo>
                    <a:cubicBezTo>
                      <a:pt x="65" y="5"/>
                      <a:pt x="68" y="5"/>
                      <a:pt x="70" y="7"/>
                    </a:cubicBezTo>
                    <a:cubicBezTo>
                      <a:pt x="73" y="8"/>
                      <a:pt x="75" y="10"/>
                      <a:pt x="77" y="12"/>
                    </a:cubicBezTo>
                    <a:cubicBezTo>
                      <a:pt x="79" y="14"/>
                      <a:pt x="80" y="16"/>
                      <a:pt x="82" y="18"/>
                    </a:cubicBezTo>
                    <a:cubicBezTo>
                      <a:pt x="83" y="21"/>
                      <a:pt x="83" y="23"/>
                      <a:pt x="84" y="26"/>
                    </a:cubicBezTo>
                    <a:cubicBezTo>
                      <a:pt x="81" y="33"/>
                      <a:pt x="78" y="40"/>
                      <a:pt x="75" y="46"/>
                    </a:cubicBezTo>
                    <a:cubicBezTo>
                      <a:pt x="71" y="52"/>
                      <a:pt x="68" y="59"/>
                      <a:pt x="64" y="65"/>
                    </a:cubicBezTo>
                    <a:cubicBezTo>
                      <a:pt x="62" y="69"/>
                      <a:pt x="61" y="72"/>
                      <a:pt x="59" y="76"/>
                    </a:cubicBezTo>
                    <a:cubicBezTo>
                      <a:pt x="57" y="79"/>
                      <a:pt x="55" y="83"/>
                      <a:pt x="53" y="86"/>
                    </a:cubicBezTo>
                    <a:cubicBezTo>
                      <a:pt x="51" y="90"/>
                      <a:pt x="50" y="93"/>
                      <a:pt x="48" y="97"/>
                    </a:cubicBezTo>
                    <a:cubicBezTo>
                      <a:pt x="47" y="101"/>
                      <a:pt x="45" y="104"/>
                      <a:pt x="45" y="108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50" y="111"/>
                      <a:pt x="54" y="111"/>
                      <a:pt x="59" y="112"/>
                    </a:cubicBezTo>
                    <a:cubicBezTo>
                      <a:pt x="63" y="112"/>
                      <a:pt x="67" y="113"/>
                      <a:pt x="72" y="114"/>
                    </a:cubicBezTo>
                    <a:cubicBezTo>
                      <a:pt x="76" y="115"/>
                      <a:pt x="81" y="116"/>
                      <a:pt x="85" y="117"/>
                    </a:cubicBezTo>
                    <a:cubicBezTo>
                      <a:pt x="90" y="117"/>
                      <a:pt x="94" y="118"/>
                      <a:pt x="99" y="118"/>
                    </a:cubicBezTo>
                    <a:cubicBezTo>
                      <a:pt x="102" y="118"/>
                      <a:pt x="102" y="118"/>
                      <a:pt x="102" y="118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5" y="106"/>
                      <a:pt x="107" y="94"/>
                      <a:pt x="108" y="82"/>
                    </a:cubicBezTo>
                    <a:cubicBezTo>
                      <a:pt x="109" y="71"/>
                      <a:pt x="110" y="59"/>
                      <a:pt x="111" y="47"/>
                    </a:cubicBezTo>
                    <a:cubicBezTo>
                      <a:pt x="112" y="43"/>
                      <a:pt x="112" y="38"/>
                      <a:pt x="112" y="33"/>
                    </a:cubicBezTo>
                    <a:cubicBezTo>
                      <a:pt x="113" y="28"/>
                      <a:pt x="113" y="23"/>
                      <a:pt x="115" y="18"/>
                    </a:cubicBezTo>
                    <a:cubicBezTo>
                      <a:pt x="115" y="16"/>
                      <a:pt x="116" y="13"/>
                      <a:pt x="117" y="11"/>
                    </a:cubicBezTo>
                    <a:cubicBezTo>
                      <a:pt x="118" y="9"/>
                      <a:pt x="120" y="7"/>
                      <a:pt x="121" y="5"/>
                    </a:cubicBezTo>
                    <a:cubicBezTo>
                      <a:pt x="123" y="4"/>
                      <a:pt x="125" y="2"/>
                      <a:pt x="127" y="1"/>
                    </a:cubicBezTo>
                    <a:cubicBezTo>
                      <a:pt x="129" y="0"/>
                      <a:pt x="132" y="0"/>
                      <a:pt x="134" y="0"/>
                    </a:cubicBezTo>
                    <a:cubicBezTo>
                      <a:pt x="137" y="1"/>
                      <a:pt x="140" y="2"/>
                      <a:pt x="142" y="3"/>
                    </a:cubicBezTo>
                    <a:cubicBezTo>
                      <a:pt x="144" y="5"/>
                      <a:pt x="146" y="6"/>
                      <a:pt x="148" y="9"/>
                    </a:cubicBezTo>
                    <a:cubicBezTo>
                      <a:pt x="149" y="11"/>
                      <a:pt x="151" y="13"/>
                      <a:pt x="151" y="16"/>
                    </a:cubicBezTo>
                    <a:cubicBezTo>
                      <a:pt x="152" y="19"/>
                      <a:pt x="152" y="22"/>
                      <a:pt x="152" y="25"/>
                    </a:cubicBezTo>
                    <a:cubicBezTo>
                      <a:pt x="151" y="32"/>
                      <a:pt x="151" y="39"/>
                      <a:pt x="150" y="46"/>
                    </a:cubicBezTo>
                    <a:cubicBezTo>
                      <a:pt x="150" y="53"/>
                      <a:pt x="149" y="60"/>
                      <a:pt x="148" y="67"/>
                    </a:cubicBezTo>
                    <a:cubicBezTo>
                      <a:pt x="148" y="74"/>
                      <a:pt x="147" y="80"/>
                      <a:pt x="147" y="86"/>
                    </a:cubicBezTo>
                    <a:cubicBezTo>
                      <a:pt x="147" y="92"/>
                      <a:pt x="146" y="98"/>
                      <a:pt x="145" y="104"/>
                    </a:cubicBezTo>
                    <a:cubicBezTo>
                      <a:pt x="144" y="107"/>
                      <a:pt x="144" y="110"/>
                      <a:pt x="144" y="113"/>
                    </a:cubicBezTo>
                    <a:cubicBezTo>
                      <a:pt x="144" y="116"/>
                      <a:pt x="144" y="119"/>
                      <a:pt x="145" y="122"/>
                    </a:cubicBezTo>
                    <a:cubicBezTo>
                      <a:pt x="149" y="124"/>
                      <a:pt x="152" y="126"/>
                      <a:pt x="155" y="130"/>
                    </a:cubicBezTo>
                    <a:cubicBezTo>
                      <a:pt x="158" y="133"/>
                      <a:pt x="159" y="138"/>
                      <a:pt x="158" y="14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2" name="íṧlîḍe">
                <a:extLst>
                  <a:ext uri="{FF2B5EF4-FFF2-40B4-BE49-F238E27FC236}">
                    <a16:creationId xmlns:a16="http://schemas.microsoft.com/office/drawing/2014/main" id="{2CD7AA30-63FA-4B53-94BE-FCF92928008A}"/>
                  </a:ext>
                </a:extLst>
              </p:cNvPr>
              <p:cNvSpPr/>
              <p:nvPr/>
            </p:nvSpPr>
            <p:spPr>
              <a:xfrm flipH="1">
                <a:off x="9869632" y="3311834"/>
                <a:ext cx="164409" cy="244393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86" extrusionOk="0">
                    <a:moveTo>
                      <a:pt x="124" y="102"/>
                    </a:moveTo>
                    <a:cubicBezTo>
                      <a:pt x="123" y="108"/>
                      <a:pt x="122" y="113"/>
                      <a:pt x="119" y="119"/>
                    </a:cubicBezTo>
                    <a:cubicBezTo>
                      <a:pt x="117" y="124"/>
                      <a:pt x="114" y="129"/>
                      <a:pt x="111" y="134"/>
                    </a:cubicBezTo>
                    <a:cubicBezTo>
                      <a:pt x="107" y="139"/>
                      <a:pt x="103" y="144"/>
                      <a:pt x="99" y="148"/>
                    </a:cubicBezTo>
                    <a:cubicBezTo>
                      <a:pt x="95" y="153"/>
                      <a:pt x="90" y="157"/>
                      <a:pt x="86" y="160"/>
                    </a:cubicBezTo>
                    <a:cubicBezTo>
                      <a:pt x="81" y="164"/>
                      <a:pt x="77" y="168"/>
                      <a:pt x="72" y="171"/>
                    </a:cubicBezTo>
                    <a:cubicBezTo>
                      <a:pt x="67" y="175"/>
                      <a:pt x="61" y="177"/>
                      <a:pt x="56" y="180"/>
                    </a:cubicBezTo>
                    <a:cubicBezTo>
                      <a:pt x="51" y="182"/>
                      <a:pt x="45" y="184"/>
                      <a:pt x="39" y="185"/>
                    </a:cubicBezTo>
                    <a:cubicBezTo>
                      <a:pt x="34" y="186"/>
                      <a:pt x="28" y="186"/>
                      <a:pt x="22" y="186"/>
                    </a:cubicBezTo>
                    <a:cubicBezTo>
                      <a:pt x="20" y="185"/>
                      <a:pt x="18" y="184"/>
                      <a:pt x="16" y="183"/>
                    </a:cubicBezTo>
                    <a:cubicBezTo>
                      <a:pt x="13" y="182"/>
                      <a:pt x="12" y="180"/>
                      <a:pt x="11" y="178"/>
                    </a:cubicBezTo>
                    <a:cubicBezTo>
                      <a:pt x="9" y="176"/>
                      <a:pt x="8" y="173"/>
                      <a:pt x="8" y="171"/>
                    </a:cubicBezTo>
                    <a:cubicBezTo>
                      <a:pt x="7" y="169"/>
                      <a:pt x="7" y="166"/>
                      <a:pt x="7" y="164"/>
                    </a:cubicBezTo>
                    <a:cubicBezTo>
                      <a:pt x="7" y="162"/>
                      <a:pt x="7" y="160"/>
                      <a:pt x="8" y="158"/>
                    </a:cubicBezTo>
                    <a:cubicBezTo>
                      <a:pt x="10" y="156"/>
                      <a:pt x="11" y="155"/>
                      <a:pt x="13" y="154"/>
                    </a:cubicBezTo>
                    <a:cubicBezTo>
                      <a:pt x="16" y="154"/>
                      <a:pt x="18" y="154"/>
                      <a:pt x="21" y="154"/>
                    </a:cubicBezTo>
                    <a:cubicBezTo>
                      <a:pt x="23" y="153"/>
                      <a:pt x="26" y="153"/>
                      <a:pt x="29" y="153"/>
                    </a:cubicBezTo>
                    <a:cubicBezTo>
                      <a:pt x="31" y="153"/>
                      <a:pt x="34" y="153"/>
                      <a:pt x="37" y="153"/>
                    </a:cubicBezTo>
                    <a:cubicBezTo>
                      <a:pt x="39" y="153"/>
                      <a:pt x="42" y="153"/>
                      <a:pt x="45" y="152"/>
                    </a:cubicBezTo>
                    <a:cubicBezTo>
                      <a:pt x="50" y="150"/>
                      <a:pt x="56" y="147"/>
                      <a:pt x="60" y="143"/>
                    </a:cubicBezTo>
                    <a:cubicBezTo>
                      <a:pt x="65" y="139"/>
                      <a:pt x="69" y="135"/>
                      <a:pt x="73" y="130"/>
                    </a:cubicBezTo>
                    <a:cubicBezTo>
                      <a:pt x="75" y="128"/>
                      <a:pt x="77" y="126"/>
                      <a:pt x="79" y="124"/>
                    </a:cubicBezTo>
                    <a:cubicBezTo>
                      <a:pt x="80" y="121"/>
                      <a:pt x="82" y="119"/>
                      <a:pt x="84" y="116"/>
                    </a:cubicBezTo>
                    <a:cubicBezTo>
                      <a:pt x="85" y="114"/>
                      <a:pt x="87" y="111"/>
                      <a:pt x="88" y="109"/>
                    </a:cubicBezTo>
                    <a:cubicBezTo>
                      <a:pt x="89" y="106"/>
                      <a:pt x="90" y="103"/>
                      <a:pt x="90" y="100"/>
                    </a:cubicBezTo>
                    <a:cubicBezTo>
                      <a:pt x="91" y="99"/>
                      <a:pt x="91" y="97"/>
                      <a:pt x="91" y="96"/>
                    </a:cubicBezTo>
                    <a:cubicBezTo>
                      <a:pt x="91" y="94"/>
                      <a:pt x="90" y="93"/>
                      <a:pt x="90" y="91"/>
                    </a:cubicBezTo>
                    <a:cubicBezTo>
                      <a:pt x="89" y="90"/>
                      <a:pt x="88" y="89"/>
                      <a:pt x="87" y="88"/>
                    </a:cubicBezTo>
                    <a:cubicBezTo>
                      <a:pt x="86" y="87"/>
                      <a:pt x="85" y="86"/>
                      <a:pt x="83" y="86"/>
                    </a:cubicBezTo>
                    <a:cubicBezTo>
                      <a:pt x="78" y="87"/>
                      <a:pt x="73" y="89"/>
                      <a:pt x="68" y="91"/>
                    </a:cubicBezTo>
                    <a:cubicBezTo>
                      <a:pt x="64" y="94"/>
                      <a:pt x="59" y="97"/>
                      <a:pt x="55" y="100"/>
                    </a:cubicBezTo>
                    <a:cubicBezTo>
                      <a:pt x="51" y="104"/>
                      <a:pt x="46" y="107"/>
                      <a:pt x="42" y="111"/>
                    </a:cubicBezTo>
                    <a:cubicBezTo>
                      <a:pt x="38" y="114"/>
                      <a:pt x="34" y="117"/>
                      <a:pt x="29" y="121"/>
                    </a:cubicBezTo>
                    <a:cubicBezTo>
                      <a:pt x="27" y="122"/>
                      <a:pt x="25" y="124"/>
                      <a:pt x="22" y="125"/>
                    </a:cubicBezTo>
                    <a:cubicBezTo>
                      <a:pt x="20" y="126"/>
                      <a:pt x="17" y="127"/>
                      <a:pt x="15" y="127"/>
                    </a:cubicBezTo>
                    <a:cubicBezTo>
                      <a:pt x="12" y="126"/>
                      <a:pt x="9" y="125"/>
                      <a:pt x="7" y="123"/>
                    </a:cubicBezTo>
                    <a:cubicBezTo>
                      <a:pt x="5" y="122"/>
                      <a:pt x="4" y="119"/>
                      <a:pt x="3" y="117"/>
                    </a:cubicBezTo>
                    <a:cubicBezTo>
                      <a:pt x="2" y="114"/>
                      <a:pt x="1" y="111"/>
                      <a:pt x="1" y="108"/>
                    </a:cubicBezTo>
                    <a:cubicBezTo>
                      <a:pt x="0" y="106"/>
                      <a:pt x="0" y="103"/>
                      <a:pt x="1" y="100"/>
                    </a:cubicBezTo>
                    <a:cubicBezTo>
                      <a:pt x="1" y="94"/>
                      <a:pt x="2" y="88"/>
                      <a:pt x="3" y="82"/>
                    </a:cubicBezTo>
                    <a:cubicBezTo>
                      <a:pt x="3" y="77"/>
                      <a:pt x="4" y="71"/>
                      <a:pt x="5" y="65"/>
                    </a:cubicBezTo>
                    <a:cubicBezTo>
                      <a:pt x="6" y="59"/>
                      <a:pt x="7" y="54"/>
                      <a:pt x="8" y="48"/>
                    </a:cubicBezTo>
                    <a:cubicBezTo>
                      <a:pt x="9" y="42"/>
                      <a:pt x="10" y="37"/>
                      <a:pt x="11" y="31"/>
                    </a:cubicBezTo>
                    <a:cubicBezTo>
                      <a:pt x="12" y="28"/>
                      <a:pt x="12" y="26"/>
                      <a:pt x="13" y="24"/>
                    </a:cubicBezTo>
                    <a:cubicBezTo>
                      <a:pt x="14" y="21"/>
                      <a:pt x="15" y="19"/>
                      <a:pt x="16" y="17"/>
                    </a:cubicBezTo>
                    <a:cubicBezTo>
                      <a:pt x="21" y="13"/>
                      <a:pt x="26" y="9"/>
                      <a:pt x="31" y="7"/>
                    </a:cubicBezTo>
                    <a:cubicBezTo>
                      <a:pt x="36" y="5"/>
                      <a:pt x="41" y="3"/>
                      <a:pt x="47" y="2"/>
                    </a:cubicBezTo>
                    <a:cubicBezTo>
                      <a:pt x="53" y="1"/>
                      <a:pt x="59" y="0"/>
                      <a:pt x="64" y="0"/>
                    </a:cubicBezTo>
                    <a:cubicBezTo>
                      <a:pt x="70" y="0"/>
                      <a:pt x="76" y="0"/>
                      <a:pt x="81" y="0"/>
                    </a:cubicBezTo>
                    <a:cubicBezTo>
                      <a:pt x="84" y="0"/>
                      <a:pt x="86" y="0"/>
                      <a:pt x="88" y="0"/>
                    </a:cubicBezTo>
                    <a:cubicBezTo>
                      <a:pt x="91" y="1"/>
                      <a:pt x="93" y="2"/>
                      <a:pt x="95" y="3"/>
                    </a:cubicBezTo>
                    <a:cubicBezTo>
                      <a:pt x="99" y="7"/>
                      <a:pt x="101" y="11"/>
                      <a:pt x="100" y="16"/>
                    </a:cubicBezTo>
                    <a:cubicBezTo>
                      <a:pt x="100" y="18"/>
                      <a:pt x="100" y="19"/>
                      <a:pt x="99" y="21"/>
                    </a:cubicBezTo>
                    <a:cubicBezTo>
                      <a:pt x="98" y="22"/>
                      <a:pt x="96" y="23"/>
                      <a:pt x="95" y="23"/>
                    </a:cubicBezTo>
                    <a:cubicBezTo>
                      <a:pt x="94" y="24"/>
                      <a:pt x="93" y="24"/>
                      <a:pt x="92" y="23"/>
                    </a:cubicBezTo>
                    <a:cubicBezTo>
                      <a:pt x="90" y="23"/>
                      <a:pt x="89" y="23"/>
                      <a:pt x="88" y="23"/>
                    </a:cubicBezTo>
                    <a:cubicBezTo>
                      <a:pt x="84" y="23"/>
                      <a:pt x="80" y="23"/>
                      <a:pt x="76" y="24"/>
                    </a:cubicBezTo>
                    <a:cubicBezTo>
                      <a:pt x="71" y="24"/>
                      <a:pt x="67" y="24"/>
                      <a:pt x="63" y="25"/>
                    </a:cubicBezTo>
                    <a:cubicBezTo>
                      <a:pt x="59" y="26"/>
                      <a:pt x="55" y="26"/>
                      <a:pt x="51" y="27"/>
                    </a:cubicBezTo>
                    <a:cubicBezTo>
                      <a:pt x="47" y="28"/>
                      <a:pt x="43" y="30"/>
                      <a:pt x="40" y="32"/>
                    </a:cubicBezTo>
                    <a:cubicBezTo>
                      <a:pt x="39" y="36"/>
                      <a:pt x="38" y="40"/>
                      <a:pt x="38" y="44"/>
                    </a:cubicBezTo>
                    <a:cubicBezTo>
                      <a:pt x="37" y="49"/>
                      <a:pt x="36" y="53"/>
                      <a:pt x="35" y="57"/>
                    </a:cubicBezTo>
                    <a:cubicBezTo>
                      <a:pt x="35" y="61"/>
                      <a:pt x="34" y="66"/>
                      <a:pt x="33" y="70"/>
                    </a:cubicBezTo>
                    <a:cubicBezTo>
                      <a:pt x="33" y="74"/>
                      <a:pt x="32" y="78"/>
                      <a:pt x="32" y="83"/>
                    </a:cubicBezTo>
                    <a:cubicBezTo>
                      <a:pt x="31" y="85"/>
                      <a:pt x="31" y="85"/>
                      <a:pt x="31" y="85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35" y="82"/>
                      <a:pt x="38" y="78"/>
                      <a:pt x="42" y="74"/>
                    </a:cubicBezTo>
                    <a:cubicBezTo>
                      <a:pt x="46" y="70"/>
                      <a:pt x="51" y="66"/>
                      <a:pt x="55" y="63"/>
                    </a:cubicBezTo>
                    <a:cubicBezTo>
                      <a:pt x="60" y="61"/>
                      <a:pt x="65" y="58"/>
                      <a:pt x="70" y="57"/>
                    </a:cubicBezTo>
                    <a:cubicBezTo>
                      <a:pt x="76" y="55"/>
                      <a:pt x="81" y="55"/>
                      <a:pt x="86" y="55"/>
                    </a:cubicBezTo>
                    <a:cubicBezTo>
                      <a:pt x="93" y="54"/>
                      <a:pt x="99" y="55"/>
                      <a:pt x="104" y="58"/>
                    </a:cubicBezTo>
                    <a:cubicBezTo>
                      <a:pt x="109" y="60"/>
                      <a:pt x="113" y="64"/>
                      <a:pt x="116" y="68"/>
                    </a:cubicBezTo>
                    <a:cubicBezTo>
                      <a:pt x="120" y="73"/>
                      <a:pt x="122" y="78"/>
                      <a:pt x="123" y="84"/>
                    </a:cubicBezTo>
                    <a:cubicBezTo>
                      <a:pt x="125" y="90"/>
                      <a:pt x="125" y="96"/>
                      <a:pt x="124" y="10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3" name="iŝ1ïďè">
                <a:extLst>
                  <a:ext uri="{FF2B5EF4-FFF2-40B4-BE49-F238E27FC236}">
                    <a16:creationId xmlns:a16="http://schemas.microsoft.com/office/drawing/2014/main" id="{01F67841-4650-46B0-9302-0EC41E2600AB}"/>
                  </a:ext>
                </a:extLst>
              </p:cNvPr>
              <p:cNvSpPr/>
              <p:nvPr/>
            </p:nvSpPr>
            <p:spPr>
              <a:xfrm flipH="1">
                <a:off x="10591145" y="3416812"/>
                <a:ext cx="267721" cy="382143"/>
              </a:xfrm>
              <a:custGeom>
                <a:avLst/>
                <a:gdLst/>
                <a:ahLst/>
                <a:cxnLst/>
                <a:rect l="l" t="t" r="r" b="b"/>
                <a:pathLst>
                  <a:path w="204" h="291" extrusionOk="0">
                    <a:moveTo>
                      <a:pt x="194" y="215"/>
                    </a:moveTo>
                    <a:cubicBezTo>
                      <a:pt x="187" y="228"/>
                      <a:pt x="179" y="239"/>
                      <a:pt x="168" y="250"/>
                    </a:cubicBezTo>
                    <a:cubicBezTo>
                      <a:pt x="157" y="260"/>
                      <a:pt x="145" y="269"/>
                      <a:pt x="132" y="275"/>
                    </a:cubicBezTo>
                    <a:cubicBezTo>
                      <a:pt x="125" y="279"/>
                      <a:pt x="118" y="282"/>
                      <a:pt x="111" y="285"/>
                    </a:cubicBezTo>
                    <a:cubicBezTo>
                      <a:pt x="104" y="287"/>
                      <a:pt x="97" y="289"/>
                      <a:pt x="90" y="290"/>
                    </a:cubicBezTo>
                    <a:cubicBezTo>
                      <a:pt x="82" y="291"/>
                      <a:pt x="75" y="291"/>
                      <a:pt x="68" y="291"/>
                    </a:cubicBezTo>
                    <a:cubicBezTo>
                      <a:pt x="61" y="290"/>
                      <a:pt x="54" y="288"/>
                      <a:pt x="47" y="285"/>
                    </a:cubicBezTo>
                    <a:cubicBezTo>
                      <a:pt x="41" y="283"/>
                      <a:pt x="35" y="280"/>
                      <a:pt x="30" y="276"/>
                    </a:cubicBezTo>
                    <a:cubicBezTo>
                      <a:pt x="26" y="272"/>
                      <a:pt x="22" y="267"/>
                      <a:pt x="18" y="262"/>
                    </a:cubicBezTo>
                    <a:cubicBezTo>
                      <a:pt x="14" y="257"/>
                      <a:pt x="11" y="252"/>
                      <a:pt x="9" y="246"/>
                    </a:cubicBezTo>
                    <a:cubicBezTo>
                      <a:pt x="7" y="240"/>
                      <a:pt x="5" y="234"/>
                      <a:pt x="4" y="228"/>
                    </a:cubicBezTo>
                    <a:cubicBezTo>
                      <a:pt x="1" y="217"/>
                      <a:pt x="0" y="205"/>
                      <a:pt x="1" y="192"/>
                    </a:cubicBezTo>
                    <a:cubicBezTo>
                      <a:pt x="1" y="180"/>
                      <a:pt x="4" y="168"/>
                      <a:pt x="10" y="157"/>
                    </a:cubicBezTo>
                    <a:cubicBezTo>
                      <a:pt x="17" y="141"/>
                      <a:pt x="26" y="126"/>
                      <a:pt x="36" y="113"/>
                    </a:cubicBezTo>
                    <a:cubicBezTo>
                      <a:pt x="47" y="99"/>
                      <a:pt x="58" y="86"/>
                      <a:pt x="69" y="73"/>
                    </a:cubicBezTo>
                    <a:cubicBezTo>
                      <a:pt x="74" y="66"/>
                      <a:pt x="80" y="60"/>
                      <a:pt x="86" y="53"/>
                    </a:cubicBezTo>
                    <a:cubicBezTo>
                      <a:pt x="92" y="47"/>
                      <a:pt x="98" y="41"/>
                      <a:pt x="104" y="35"/>
                    </a:cubicBezTo>
                    <a:cubicBezTo>
                      <a:pt x="110" y="28"/>
                      <a:pt x="116" y="23"/>
                      <a:pt x="123" y="17"/>
                    </a:cubicBezTo>
                    <a:cubicBezTo>
                      <a:pt x="129" y="12"/>
                      <a:pt x="136" y="7"/>
                      <a:pt x="144" y="3"/>
                    </a:cubicBezTo>
                    <a:cubicBezTo>
                      <a:pt x="148" y="1"/>
                      <a:pt x="152" y="0"/>
                      <a:pt x="156" y="0"/>
                    </a:cubicBezTo>
                    <a:cubicBezTo>
                      <a:pt x="161" y="0"/>
                      <a:pt x="165" y="1"/>
                      <a:pt x="169" y="2"/>
                    </a:cubicBezTo>
                    <a:cubicBezTo>
                      <a:pt x="171" y="3"/>
                      <a:pt x="173" y="3"/>
                      <a:pt x="175" y="4"/>
                    </a:cubicBezTo>
                    <a:cubicBezTo>
                      <a:pt x="176" y="5"/>
                      <a:pt x="178" y="6"/>
                      <a:pt x="179" y="8"/>
                    </a:cubicBezTo>
                    <a:cubicBezTo>
                      <a:pt x="179" y="11"/>
                      <a:pt x="180" y="14"/>
                      <a:pt x="180" y="16"/>
                    </a:cubicBezTo>
                    <a:cubicBezTo>
                      <a:pt x="180" y="18"/>
                      <a:pt x="180" y="20"/>
                      <a:pt x="179" y="21"/>
                    </a:cubicBezTo>
                    <a:cubicBezTo>
                      <a:pt x="179" y="23"/>
                      <a:pt x="178" y="25"/>
                      <a:pt x="178" y="28"/>
                    </a:cubicBezTo>
                    <a:cubicBezTo>
                      <a:pt x="177" y="30"/>
                      <a:pt x="176" y="32"/>
                      <a:pt x="175" y="34"/>
                    </a:cubicBezTo>
                    <a:cubicBezTo>
                      <a:pt x="169" y="40"/>
                      <a:pt x="162" y="46"/>
                      <a:pt x="155" y="52"/>
                    </a:cubicBezTo>
                    <a:cubicBezTo>
                      <a:pt x="149" y="58"/>
                      <a:pt x="142" y="64"/>
                      <a:pt x="135" y="70"/>
                    </a:cubicBezTo>
                    <a:cubicBezTo>
                      <a:pt x="126" y="78"/>
                      <a:pt x="118" y="85"/>
                      <a:pt x="110" y="93"/>
                    </a:cubicBezTo>
                    <a:cubicBezTo>
                      <a:pt x="102" y="101"/>
                      <a:pt x="95" y="110"/>
                      <a:pt x="89" y="119"/>
                    </a:cubicBezTo>
                    <a:cubicBezTo>
                      <a:pt x="95" y="117"/>
                      <a:pt x="102" y="115"/>
                      <a:pt x="108" y="114"/>
                    </a:cubicBezTo>
                    <a:cubicBezTo>
                      <a:pt x="114" y="113"/>
                      <a:pt x="120" y="113"/>
                      <a:pt x="127" y="114"/>
                    </a:cubicBezTo>
                    <a:cubicBezTo>
                      <a:pt x="133" y="114"/>
                      <a:pt x="139" y="115"/>
                      <a:pt x="145" y="117"/>
                    </a:cubicBezTo>
                    <a:cubicBezTo>
                      <a:pt x="151" y="119"/>
                      <a:pt x="157" y="120"/>
                      <a:pt x="163" y="123"/>
                    </a:cubicBezTo>
                    <a:cubicBezTo>
                      <a:pt x="172" y="126"/>
                      <a:pt x="180" y="131"/>
                      <a:pt x="187" y="138"/>
                    </a:cubicBezTo>
                    <a:cubicBezTo>
                      <a:pt x="194" y="144"/>
                      <a:pt x="199" y="152"/>
                      <a:pt x="201" y="162"/>
                    </a:cubicBezTo>
                    <a:cubicBezTo>
                      <a:pt x="204" y="171"/>
                      <a:pt x="204" y="180"/>
                      <a:pt x="202" y="189"/>
                    </a:cubicBezTo>
                    <a:cubicBezTo>
                      <a:pt x="201" y="198"/>
                      <a:pt x="198" y="207"/>
                      <a:pt x="194" y="215"/>
                    </a:cubicBezTo>
                    <a:close/>
                    <a:moveTo>
                      <a:pt x="151" y="203"/>
                    </a:moveTo>
                    <a:cubicBezTo>
                      <a:pt x="153" y="200"/>
                      <a:pt x="154" y="196"/>
                      <a:pt x="155" y="192"/>
                    </a:cubicBezTo>
                    <a:cubicBezTo>
                      <a:pt x="156" y="188"/>
                      <a:pt x="156" y="184"/>
                      <a:pt x="156" y="180"/>
                    </a:cubicBezTo>
                    <a:cubicBezTo>
                      <a:pt x="155" y="176"/>
                      <a:pt x="154" y="173"/>
                      <a:pt x="151" y="170"/>
                    </a:cubicBezTo>
                    <a:cubicBezTo>
                      <a:pt x="149" y="166"/>
                      <a:pt x="146" y="164"/>
                      <a:pt x="141" y="163"/>
                    </a:cubicBezTo>
                    <a:cubicBezTo>
                      <a:pt x="135" y="161"/>
                      <a:pt x="128" y="160"/>
                      <a:pt x="121" y="160"/>
                    </a:cubicBezTo>
                    <a:cubicBezTo>
                      <a:pt x="115" y="160"/>
                      <a:pt x="108" y="161"/>
                      <a:pt x="101" y="163"/>
                    </a:cubicBezTo>
                    <a:cubicBezTo>
                      <a:pt x="95" y="164"/>
                      <a:pt x="88" y="166"/>
                      <a:pt x="82" y="168"/>
                    </a:cubicBezTo>
                    <a:cubicBezTo>
                      <a:pt x="75" y="171"/>
                      <a:pt x="69" y="174"/>
                      <a:pt x="64" y="179"/>
                    </a:cubicBezTo>
                    <a:cubicBezTo>
                      <a:pt x="60" y="182"/>
                      <a:pt x="56" y="186"/>
                      <a:pt x="52" y="191"/>
                    </a:cubicBezTo>
                    <a:cubicBezTo>
                      <a:pt x="49" y="195"/>
                      <a:pt x="46" y="200"/>
                      <a:pt x="43" y="205"/>
                    </a:cubicBezTo>
                    <a:cubicBezTo>
                      <a:pt x="41" y="209"/>
                      <a:pt x="40" y="213"/>
                      <a:pt x="41" y="217"/>
                    </a:cubicBezTo>
                    <a:cubicBezTo>
                      <a:pt x="41" y="221"/>
                      <a:pt x="43" y="224"/>
                      <a:pt x="45" y="227"/>
                    </a:cubicBezTo>
                    <a:cubicBezTo>
                      <a:pt x="48" y="230"/>
                      <a:pt x="51" y="233"/>
                      <a:pt x="54" y="235"/>
                    </a:cubicBezTo>
                    <a:cubicBezTo>
                      <a:pt x="57" y="238"/>
                      <a:pt x="61" y="239"/>
                      <a:pt x="65" y="240"/>
                    </a:cubicBezTo>
                    <a:cubicBezTo>
                      <a:pt x="73" y="244"/>
                      <a:pt x="81" y="245"/>
                      <a:pt x="90" y="245"/>
                    </a:cubicBezTo>
                    <a:cubicBezTo>
                      <a:pt x="99" y="245"/>
                      <a:pt x="108" y="243"/>
                      <a:pt x="116" y="240"/>
                    </a:cubicBezTo>
                    <a:cubicBezTo>
                      <a:pt x="124" y="236"/>
                      <a:pt x="131" y="230"/>
                      <a:pt x="136" y="224"/>
                    </a:cubicBezTo>
                    <a:cubicBezTo>
                      <a:pt x="142" y="218"/>
                      <a:pt x="147" y="211"/>
                      <a:pt x="151" y="20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4" name="i$ḻiḓe">
                <a:extLst>
                  <a:ext uri="{FF2B5EF4-FFF2-40B4-BE49-F238E27FC236}">
                    <a16:creationId xmlns:a16="http://schemas.microsoft.com/office/drawing/2014/main" id="{01C4E9C6-A209-4638-97D9-C42E0200D6E7}"/>
                  </a:ext>
                </a:extLst>
              </p:cNvPr>
              <p:cNvSpPr/>
              <p:nvPr/>
            </p:nvSpPr>
            <p:spPr>
              <a:xfrm flipH="1">
                <a:off x="10047371" y="3393484"/>
                <a:ext cx="59987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46" h="75" extrusionOk="0">
                    <a:moveTo>
                      <a:pt x="46" y="9"/>
                    </a:moveTo>
                    <a:cubicBezTo>
                      <a:pt x="45" y="11"/>
                      <a:pt x="45" y="13"/>
                      <a:pt x="44" y="14"/>
                    </a:cubicBezTo>
                    <a:cubicBezTo>
                      <a:pt x="43" y="16"/>
                      <a:pt x="42" y="18"/>
                      <a:pt x="42" y="20"/>
                    </a:cubicBezTo>
                    <a:cubicBezTo>
                      <a:pt x="39" y="26"/>
                      <a:pt x="36" y="32"/>
                      <a:pt x="34" y="38"/>
                    </a:cubicBezTo>
                    <a:cubicBezTo>
                      <a:pt x="31" y="44"/>
                      <a:pt x="28" y="50"/>
                      <a:pt x="25" y="56"/>
                    </a:cubicBezTo>
                    <a:cubicBezTo>
                      <a:pt x="25" y="57"/>
                      <a:pt x="24" y="58"/>
                      <a:pt x="24" y="59"/>
                    </a:cubicBezTo>
                    <a:cubicBezTo>
                      <a:pt x="23" y="60"/>
                      <a:pt x="23" y="61"/>
                      <a:pt x="23" y="62"/>
                    </a:cubicBezTo>
                    <a:cubicBezTo>
                      <a:pt x="22" y="64"/>
                      <a:pt x="22" y="65"/>
                      <a:pt x="22" y="66"/>
                    </a:cubicBezTo>
                    <a:cubicBezTo>
                      <a:pt x="22" y="66"/>
                      <a:pt x="22" y="67"/>
                      <a:pt x="21" y="69"/>
                    </a:cubicBezTo>
                    <a:cubicBezTo>
                      <a:pt x="21" y="69"/>
                      <a:pt x="21" y="70"/>
                      <a:pt x="21" y="71"/>
                    </a:cubicBezTo>
                    <a:cubicBezTo>
                      <a:pt x="20" y="72"/>
                      <a:pt x="20" y="73"/>
                      <a:pt x="20" y="74"/>
                    </a:cubicBezTo>
                    <a:cubicBezTo>
                      <a:pt x="18" y="75"/>
                      <a:pt x="17" y="75"/>
                      <a:pt x="15" y="75"/>
                    </a:cubicBezTo>
                    <a:cubicBezTo>
                      <a:pt x="14" y="75"/>
                      <a:pt x="13" y="75"/>
                      <a:pt x="13" y="74"/>
                    </a:cubicBezTo>
                    <a:cubicBezTo>
                      <a:pt x="12" y="74"/>
                      <a:pt x="11" y="73"/>
                      <a:pt x="11" y="73"/>
                    </a:cubicBezTo>
                    <a:cubicBezTo>
                      <a:pt x="10" y="72"/>
                      <a:pt x="10" y="71"/>
                      <a:pt x="10" y="70"/>
                    </a:cubicBezTo>
                    <a:cubicBezTo>
                      <a:pt x="9" y="69"/>
                      <a:pt x="9" y="68"/>
                      <a:pt x="9" y="67"/>
                    </a:cubicBezTo>
                    <a:cubicBezTo>
                      <a:pt x="10" y="65"/>
                      <a:pt x="10" y="63"/>
                      <a:pt x="11" y="61"/>
                    </a:cubicBezTo>
                    <a:cubicBezTo>
                      <a:pt x="12" y="59"/>
                      <a:pt x="12" y="56"/>
                      <a:pt x="13" y="54"/>
                    </a:cubicBezTo>
                    <a:cubicBezTo>
                      <a:pt x="16" y="49"/>
                      <a:pt x="18" y="43"/>
                      <a:pt x="21" y="38"/>
                    </a:cubicBezTo>
                    <a:cubicBezTo>
                      <a:pt x="24" y="32"/>
                      <a:pt x="26" y="27"/>
                      <a:pt x="28" y="21"/>
                    </a:cubicBezTo>
                    <a:cubicBezTo>
                      <a:pt x="29" y="19"/>
                      <a:pt x="30" y="18"/>
                      <a:pt x="30" y="16"/>
                    </a:cubicBezTo>
                    <a:cubicBezTo>
                      <a:pt x="31" y="14"/>
                      <a:pt x="32" y="13"/>
                      <a:pt x="32" y="11"/>
                    </a:cubicBezTo>
                    <a:cubicBezTo>
                      <a:pt x="32" y="11"/>
                      <a:pt x="31" y="11"/>
                      <a:pt x="30" y="11"/>
                    </a:cubicBezTo>
                    <a:cubicBezTo>
                      <a:pt x="30" y="11"/>
                      <a:pt x="29" y="10"/>
                      <a:pt x="28" y="10"/>
                    </a:cubicBezTo>
                    <a:cubicBezTo>
                      <a:pt x="27" y="10"/>
                      <a:pt x="27" y="10"/>
                      <a:pt x="26" y="10"/>
                    </a:cubicBezTo>
                    <a:cubicBezTo>
                      <a:pt x="25" y="10"/>
                      <a:pt x="25" y="10"/>
                      <a:pt x="24" y="10"/>
                    </a:cubicBezTo>
                    <a:cubicBezTo>
                      <a:pt x="22" y="10"/>
                      <a:pt x="20" y="10"/>
                      <a:pt x="19" y="11"/>
                    </a:cubicBezTo>
                    <a:cubicBezTo>
                      <a:pt x="17" y="11"/>
                      <a:pt x="15" y="12"/>
                      <a:pt x="14" y="12"/>
                    </a:cubicBezTo>
                    <a:cubicBezTo>
                      <a:pt x="13" y="13"/>
                      <a:pt x="12" y="13"/>
                      <a:pt x="12" y="14"/>
                    </a:cubicBezTo>
                    <a:cubicBezTo>
                      <a:pt x="11" y="15"/>
                      <a:pt x="10" y="15"/>
                      <a:pt x="10" y="16"/>
                    </a:cubicBezTo>
                    <a:cubicBezTo>
                      <a:pt x="9" y="17"/>
                      <a:pt x="9" y="17"/>
                      <a:pt x="8" y="18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5" y="18"/>
                      <a:pt x="3" y="18"/>
                      <a:pt x="1" y="17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2"/>
                      <a:pt x="1" y="10"/>
                      <a:pt x="1" y="9"/>
                    </a:cubicBezTo>
                    <a:cubicBezTo>
                      <a:pt x="2" y="8"/>
                      <a:pt x="3" y="7"/>
                      <a:pt x="5" y="6"/>
                    </a:cubicBezTo>
                    <a:cubicBezTo>
                      <a:pt x="6" y="5"/>
                      <a:pt x="7" y="4"/>
                      <a:pt x="9" y="3"/>
                    </a:cubicBezTo>
                    <a:cubicBezTo>
                      <a:pt x="10" y="2"/>
                      <a:pt x="12" y="2"/>
                      <a:pt x="13" y="1"/>
                    </a:cubicBezTo>
                    <a:cubicBezTo>
                      <a:pt x="17" y="0"/>
                      <a:pt x="20" y="0"/>
                      <a:pt x="23" y="0"/>
                    </a:cubicBezTo>
                    <a:cubicBezTo>
                      <a:pt x="26" y="0"/>
                      <a:pt x="30" y="0"/>
                      <a:pt x="33" y="0"/>
                    </a:cubicBezTo>
                    <a:cubicBezTo>
                      <a:pt x="34" y="0"/>
                      <a:pt x="36" y="1"/>
                      <a:pt x="37" y="1"/>
                    </a:cubicBezTo>
                    <a:cubicBezTo>
                      <a:pt x="39" y="1"/>
                      <a:pt x="40" y="2"/>
                      <a:pt x="41" y="2"/>
                    </a:cubicBezTo>
                    <a:cubicBezTo>
                      <a:pt x="43" y="3"/>
                      <a:pt x="44" y="4"/>
                      <a:pt x="44" y="5"/>
                    </a:cubicBezTo>
                    <a:cubicBezTo>
                      <a:pt x="45" y="6"/>
                      <a:pt x="46" y="7"/>
                      <a:pt x="46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5" name="îṥḻíḍê">
                <a:extLst>
                  <a:ext uri="{FF2B5EF4-FFF2-40B4-BE49-F238E27FC236}">
                    <a16:creationId xmlns:a16="http://schemas.microsoft.com/office/drawing/2014/main" id="{88D199DE-651E-412B-9751-AE239CC711AE}"/>
                  </a:ext>
                </a:extLst>
              </p:cNvPr>
              <p:cNvSpPr/>
              <p:nvPr/>
            </p:nvSpPr>
            <p:spPr>
              <a:xfrm flipH="1">
                <a:off x="9709665" y="2346479"/>
                <a:ext cx="984791" cy="930917"/>
              </a:xfrm>
              <a:custGeom>
                <a:avLst/>
                <a:gdLst/>
                <a:ahLst/>
                <a:cxnLst/>
                <a:rect l="l" t="t" r="r" b="b"/>
                <a:pathLst>
                  <a:path w="1773" h="1676" extrusionOk="0">
                    <a:moveTo>
                      <a:pt x="926" y="1672"/>
                    </a:moveTo>
                    <a:lnTo>
                      <a:pt x="971" y="1076"/>
                    </a:lnTo>
                    <a:lnTo>
                      <a:pt x="1773" y="0"/>
                    </a:lnTo>
                    <a:lnTo>
                      <a:pt x="0" y="12"/>
                    </a:lnTo>
                    <a:lnTo>
                      <a:pt x="830" y="1059"/>
                    </a:lnTo>
                    <a:lnTo>
                      <a:pt x="837" y="1676"/>
                    </a:lnTo>
                    <a:lnTo>
                      <a:pt x="926" y="167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>
                  <a:solidFill>
                    <a:schemeClr val="dk1"/>
                  </a:solidFill>
                </a:endParaRPr>
              </a:p>
            </p:txBody>
          </p:sp>
          <p:sp>
            <p:nvSpPr>
              <p:cNvPr id="126" name="íṥļíďè">
                <a:extLst>
                  <a:ext uri="{FF2B5EF4-FFF2-40B4-BE49-F238E27FC236}">
                    <a16:creationId xmlns:a16="http://schemas.microsoft.com/office/drawing/2014/main" id="{AB9A34B4-7E1B-4DD3-B71E-7540D52952F0}"/>
                  </a:ext>
                </a:extLst>
              </p:cNvPr>
              <p:cNvSpPr/>
              <p:nvPr/>
            </p:nvSpPr>
            <p:spPr>
              <a:xfrm flipH="1">
                <a:off x="10496165" y="1888241"/>
                <a:ext cx="189404" cy="239395"/>
              </a:xfrm>
              <a:custGeom>
                <a:avLst/>
                <a:gdLst/>
                <a:ahLst/>
                <a:cxnLst/>
                <a:rect l="l" t="t" r="r" b="b"/>
                <a:pathLst>
                  <a:path w="144" h="182" extrusionOk="0">
                    <a:moveTo>
                      <a:pt x="143" y="45"/>
                    </a:moveTo>
                    <a:cubicBezTo>
                      <a:pt x="142" y="47"/>
                      <a:pt x="141" y="49"/>
                      <a:pt x="139" y="50"/>
                    </a:cubicBezTo>
                    <a:cubicBezTo>
                      <a:pt x="138" y="51"/>
                      <a:pt x="136" y="52"/>
                      <a:pt x="134" y="52"/>
                    </a:cubicBezTo>
                    <a:cubicBezTo>
                      <a:pt x="132" y="53"/>
                      <a:pt x="129" y="53"/>
                      <a:pt x="127" y="53"/>
                    </a:cubicBezTo>
                    <a:cubicBezTo>
                      <a:pt x="125" y="52"/>
                      <a:pt x="123" y="52"/>
                      <a:pt x="121" y="52"/>
                    </a:cubicBezTo>
                    <a:cubicBezTo>
                      <a:pt x="116" y="51"/>
                      <a:pt x="111" y="49"/>
                      <a:pt x="106" y="48"/>
                    </a:cubicBezTo>
                    <a:cubicBezTo>
                      <a:pt x="102" y="46"/>
                      <a:pt x="97" y="45"/>
                      <a:pt x="92" y="43"/>
                    </a:cubicBezTo>
                    <a:cubicBezTo>
                      <a:pt x="88" y="52"/>
                      <a:pt x="83" y="62"/>
                      <a:pt x="79" y="71"/>
                    </a:cubicBezTo>
                    <a:cubicBezTo>
                      <a:pt x="75" y="80"/>
                      <a:pt x="71" y="90"/>
                      <a:pt x="66" y="99"/>
                    </a:cubicBezTo>
                    <a:cubicBezTo>
                      <a:pt x="62" y="108"/>
                      <a:pt x="58" y="118"/>
                      <a:pt x="54" y="127"/>
                    </a:cubicBezTo>
                    <a:cubicBezTo>
                      <a:pt x="49" y="136"/>
                      <a:pt x="45" y="146"/>
                      <a:pt x="40" y="155"/>
                    </a:cubicBezTo>
                    <a:cubicBezTo>
                      <a:pt x="39" y="158"/>
                      <a:pt x="37" y="160"/>
                      <a:pt x="35" y="163"/>
                    </a:cubicBezTo>
                    <a:cubicBezTo>
                      <a:pt x="34" y="167"/>
                      <a:pt x="32" y="169"/>
                      <a:pt x="30" y="172"/>
                    </a:cubicBezTo>
                    <a:cubicBezTo>
                      <a:pt x="28" y="175"/>
                      <a:pt x="26" y="177"/>
                      <a:pt x="23" y="179"/>
                    </a:cubicBezTo>
                    <a:cubicBezTo>
                      <a:pt x="21" y="181"/>
                      <a:pt x="18" y="182"/>
                      <a:pt x="14" y="182"/>
                    </a:cubicBezTo>
                    <a:cubicBezTo>
                      <a:pt x="12" y="182"/>
                      <a:pt x="9" y="181"/>
                      <a:pt x="7" y="179"/>
                    </a:cubicBezTo>
                    <a:cubicBezTo>
                      <a:pt x="5" y="178"/>
                      <a:pt x="3" y="176"/>
                      <a:pt x="2" y="174"/>
                    </a:cubicBezTo>
                    <a:cubicBezTo>
                      <a:pt x="1" y="173"/>
                      <a:pt x="0" y="170"/>
                      <a:pt x="0" y="168"/>
                    </a:cubicBezTo>
                    <a:cubicBezTo>
                      <a:pt x="0" y="166"/>
                      <a:pt x="0" y="163"/>
                      <a:pt x="1" y="161"/>
                    </a:cubicBezTo>
                    <a:cubicBezTo>
                      <a:pt x="3" y="157"/>
                      <a:pt x="5" y="153"/>
                      <a:pt x="6" y="149"/>
                    </a:cubicBezTo>
                    <a:cubicBezTo>
                      <a:pt x="8" y="145"/>
                      <a:pt x="10" y="141"/>
                      <a:pt x="12" y="138"/>
                    </a:cubicBezTo>
                    <a:cubicBezTo>
                      <a:pt x="16" y="130"/>
                      <a:pt x="20" y="122"/>
                      <a:pt x="25" y="114"/>
                    </a:cubicBezTo>
                    <a:cubicBezTo>
                      <a:pt x="29" y="107"/>
                      <a:pt x="33" y="99"/>
                      <a:pt x="36" y="91"/>
                    </a:cubicBezTo>
                    <a:cubicBezTo>
                      <a:pt x="40" y="81"/>
                      <a:pt x="43" y="71"/>
                      <a:pt x="46" y="61"/>
                    </a:cubicBezTo>
                    <a:cubicBezTo>
                      <a:pt x="50" y="51"/>
                      <a:pt x="52" y="41"/>
                      <a:pt x="53" y="31"/>
                    </a:cubicBezTo>
                    <a:cubicBezTo>
                      <a:pt x="47" y="29"/>
                      <a:pt x="40" y="28"/>
                      <a:pt x="34" y="26"/>
                    </a:cubicBezTo>
                    <a:cubicBezTo>
                      <a:pt x="27" y="25"/>
                      <a:pt x="20" y="23"/>
                      <a:pt x="14" y="22"/>
                    </a:cubicBezTo>
                    <a:cubicBezTo>
                      <a:pt x="13" y="21"/>
                      <a:pt x="12" y="20"/>
                      <a:pt x="12" y="19"/>
                    </a:cubicBezTo>
                    <a:cubicBezTo>
                      <a:pt x="12" y="17"/>
                      <a:pt x="12" y="16"/>
                      <a:pt x="12" y="15"/>
                    </a:cubicBezTo>
                    <a:cubicBezTo>
                      <a:pt x="12" y="15"/>
                      <a:pt x="12" y="14"/>
                      <a:pt x="12" y="13"/>
                    </a:cubicBezTo>
                    <a:cubicBezTo>
                      <a:pt x="12" y="12"/>
                      <a:pt x="12" y="10"/>
                      <a:pt x="13" y="9"/>
                    </a:cubicBezTo>
                    <a:cubicBezTo>
                      <a:pt x="13" y="7"/>
                      <a:pt x="14" y="6"/>
                      <a:pt x="14" y="4"/>
                    </a:cubicBezTo>
                    <a:cubicBezTo>
                      <a:pt x="15" y="3"/>
                      <a:pt x="16" y="2"/>
                      <a:pt x="17" y="1"/>
                    </a:cubicBezTo>
                    <a:cubicBezTo>
                      <a:pt x="18" y="1"/>
                      <a:pt x="19" y="0"/>
                      <a:pt x="20" y="0"/>
                    </a:cubicBezTo>
                    <a:cubicBezTo>
                      <a:pt x="22" y="0"/>
                      <a:pt x="23" y="0"/>
                      <a:pt x="24" y="0"/>
                    </a:cubicBezTo>
                    <a:cubicBezTo>
                      <a:pt x="26" y="0"/>
                      <a:pt x="27" y="0"/>
                      <a:pt x="28" y="0"/>
                    </a:cubicBezTo>
                    <a:cubicBezTo>
                      <a:pt x="38" y="2"/>
                      <a:pt x="48" y="3"/>
                      <a:pt x="58" y="5"/>
                    </a:cubicBezTo>
                    <a:cubicBezTo>
                      <a:pt x="68" y="7"/>
                      <a:pt x="78" y="9"/>
                      <a:pt x="88" y="11"/>
                    </a:cubicBezTo>
                    <a:cubicBezTo>
                      <a:pt x="96" y="13"/>
                      <a:pt x="103" y="15"/>
                      <a:pt x="110" y="17"/>
                    </a:cubicBezTo>
                    <a:cubicBezTo>
                      <a:pt x="118" y="19"/>
                      <a:pt x="125" y="22"/>
                      <a:pt x="132" y="24"/>
                    </a:cubicBezTo>
                    <a:cubicBezTo>
                      <a:pt x="134" y="25"/>
                      <a:pt x="136" y="26"/>
                      <a:pt x="137" y="28"/>
                    </a:cubicBezTo>
                    <a:cubicBezTo>
                      <a:pt x="138" y="29"/>
                      <a:pt x="140" y="31"/>
                      <a:pt x="141" y="33"/>
                    </a:cubicBezTo>
                    <a:cubicBezTo>
                      <a:pt x="142" y="35"/>
                      <a:pt x="142" y="37"/>
                      <a:pt x="143" y="39"/>
                    </a:cubicBezTo>
                    <a:cubicBezTo>
                      <a:pt x="143" y="41"/>
                      <a:pt x="144" y="43"/>
                      <a:pt x="143" y="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7" name="ís1îḋé">
                <a:extLst>
                  <a:ext uri="{FF2B5EF4-FFF2-40B4-BE49-F238E27FC236}">
                    <a16:creationId xmlns:a16="http://schemas.microsoft.com/office/drawing/2014/main" id="{C3EF21CF-A8C1-4A7D-8826-4807A301AC54}"/>
                  </a:ext>
                </a:extLst>
              </p:cNvPr>
              <p:cNvSpPr/>
              <p:nvPr/>
            </p:nvSpPr>
            <p:spPr>
              <a:xfrm flipH="1">
                <a:off x="10256216" y="2049874"/>
                <a:ext cx="320488" cy="399362"/>
              </a:xfrm>
              <a:custGeom>
                <a:avLst/>
                <a:gdLst/>
                <a:ahLst/>
                <a:cxnLst/>
                <a:rect l="l" t="t" r="r" b="b"/>
                <a:pathLst>
                  <a:path w="244" h="304" extrusionOk="0">
                    <a:moveTo>
                      <a:pt x="239" y="111"/>
                    </a:moveTo>
                    <a:cubicBezTo>
                      <a:pt x="237" y="119"/>
                      <a:pt x="233" y="127"/>
                      <a:pt x="228" y="133"/>
                    </a:cubicBezTo>
                    <a:cubicBezTo>
                      <a:pt x="222" y="139"/>
                      <a:pt x="216" y="145"/>
                      <a:pt x="209" y="149"/>
                    </a:cubicBezTo>
                    <a:cubicBezTo>
                      <a:pt x="202" y="154"/>
                      <a:pt x="194" y="157"/>
                      <a:pt x="186" y="160"/>
                    </a:cubicBezTo>
                    <a:cubicBezTo>
                      <a:pt x="177" y="162"/>
                      <a:pt x="169" y="164"/>
                      <a:pt x="161" y="164"/>
                    </a:cubicBezTo>
                    <a:cubicBezTo>
                      <a:pt x="166" y="168"/>
                      <a:pt x="171" y="173"/>
                      <a:pt x="176" y="179"/>
                    </a:cubicBezTo>
                    <a:cubicBezTo>
                      <a:pt x="180" y="185"/>
                      <a:pt x="184" y="191"/>
                      <a:pt x="186" y="198"/>
                    </a:cubicBezTo>
                    <a:cubicBezTo>
                      <a:pt x="188" y="205"/>
                      <a:pt x="190" y="212"/>
                      <a:pt x="189" y="219"/>
                    </a:cubicBezTo>
                    <a:cubicBezTo>
                      <a:pt x="189" y="226"/>
                      <a:pt x="188" y="234"/>
                      <a:pt x="184" y="241"/>
                    </a:cubicBezTo>
                    <a:cubicBezTo>
                      <a:pt x="179" y="252"/>
                      <a:pt x="172" y="261"/>
                      <a:pt x="163" y="270"/>
                    </a:cubicBezTo>
                    <a:cubicBezTo>
                      <a:pt x="154" y="279"/>
                      <a:pt x="143" y="286"/>
                      <a:pt x="132" y="291"/>
                    </a:cubicBezTo>
                    <a:cubicBezTo>
                      <a:pt x="121" y="296"/>
                      <a:pt x="109" y="300"/>
                      <a:pt x="97" y="302"/>
                    </a:cubicBezTo>
                    <a:cubicBezTo>
                      <a:pt x="84" y="304"/>
                      <a:pt x="72" y="303"/>
                      <a:pt x="61" y="299"/>
                    </a:cubicBezTo>
                    <a:cubicBezTo>
                      <a:pt x="50" y="295"/>
                      <a:pt x="40" y="290"/>
                      <a:pt x="32" y="283"/>
                    </a:cubicBezTo>
                    <a:cubicBezTo>
                      <a:pt x="23" y="277"/>
                      <a:pt x="16" y="268"/>
                      <a:pt x="11" y="259"/>
                    </a:cubicBezTo>
                    <a:cubicBezTo>
                      <a:pt x="6" y="249"/>
                      <a:pt x="2" y="239"/>
                      <a:pt x="1" y="228"/>
                    </a:cubicBezTo>
                    <a:cubicBezTo>
                      <a:pt x="0" y="217"/>
                      <a:pt x="1" y="206"/>
                      <a:pt x="4" y="196"/>
                    </a:cubicBezTo>
                    <a:cubicBezTo>
                      <a:pt x="7" y="188"/>
                      <a:pt x="11" y="182"/>
                      <a:pt x="16" y="175"/>
                    </a:cubicBezTo>
                    <a:cubicBezTo>
                      <a:pt x="22" y="169"/>
                      <a:pt x="28" y="164"/>
                      <a:pt x="35" y="160"/>
                    </a:cubicBezTo>
                    <a:cubicBezTo>
                      <a:pt x="43" y="155"/>
                      <a:pt x="51" y="152"/>
                      <a:pt x="59" y="149"/>
                    </a:cubicBezTo>
                    <a:cubicBezTo>
                      <a:pt x="68" y="146"/>
                      <a:pt x="76" y="145"/>
                      <a:pt x="85" y="145"/>
                    </a:cubicBezTo>
                    <a:cubicBezTo>
                      <a:pt x="79" y="141"/>
                      <a:pt x="73" y="136"/>
                      <a:pt x="68" y="130"/>
                    </a:cubicBezTo>
                    <a:cubicBezTo>
                      <a:pt x="63" y="124"/>
                      <a:pt x="59" y="118"/>
                      <a:pt x="56" y="111"/>
                    </a:cubicBezTo>
                    <a:cubicBezTo>
                      <a:pt x="52" y="105"/>
                      <a:pt x="51" y="97"/>
                      <a:pt x="50" y="90"/>
                    </a:cubicBezTo>
                    <a:cubicBezTo>
                      <a:pt x="50" y="82"/>
                      <a:pt x="52" y="75"/>
                      <a:pt x="55" y="67"/>
                    </a:cubicBezTo>
                    <a:cubicBezTo>
                      <a:pt x="61" y="56"/>
                      <a:pt x="68" y="46"/>
                      <a:pt x="78" y="37"/>
                    </a:cubicBezTo>
                    <a:cubicBezTo>
                      <a:pt x="88" y="28"/>
                      <a:pt x="99" y="21"/>
                      <a:pt x="110" y="15"/>
                    </a:cubicBezTo>
                    <a:cubicBezTo>
                      <a:pt x="122" y="9"/>
                      <a:pt x="135" y="4"/>
                      <a:pt x="148" y="2"/>
                    </a:cubicBezTo>
                    <a:cubicBezTo>
                      <a:pt x="161" y="0"/>
                      <a:pt x="174" y="1"/>
                      <a:pt x="186" y="5"/>
                    </a:cubicBezTo>
                    <a:cubicBezTo>
                      <a:pt x="197" y="8"/>
                      <a:pt x="206" y="14"/>
                      <a:pt x="214" y="21"/>
                    </a:cubicBezTo>
                    <a:cubicBezTo>
                      <a:pt x="222" y="29"/>
                      <a:pt x="229" y="38"/>
                      <a:pt x="233" y="48"/>
                    </a:cubicBezTo>
                    <a:cubicBezTo>
                      <a:pt x="238" y="58"/>
                      <a:pt x="241" y="68"/>
                      <a:pt x="242" y="79"/>
                    </a:cubicBezTo>
                    <a:cubicBezTo>
                      <a:pt x="244" y="89"/>
                      <a:pt x="243" y="100"/>
                      <a:pt x="239" y="111"/>
                    </a:cubicBezTo>
                    <a:close/>
                    <a:moveTo>
                      <a:pt x="129" y="234"/>
                    </a:moveTo>
                    <a:cubicBezTo>
                      <a:pt x="131" y="230"/>
                      <a:pt x="132" y="226"/>
                      <a:pt x="131" y="222"/>
                    </a:cubicBezTo>
                    <a:cubicBezTo>
                      <a:pt x="131" y="217"/>
                      <a:pt x="130" y="213"/>
                      <a:pt x="128" y="209"/>
                    </a:cubicBezTo>
                    <a:cubicBezTo>
                      <a:pt x="126" y="205"/>
                      <a:pt x="124" y="201"/>
                      <a:pt x="120" y="199"/>
                    </a:cubicBezTo>
                    <a:cubicBezTo>
                      <a:pt x="117" y="196"/>
                      <a:pt x="113" y="194"/>
                      <a:pt x="109" y="192"/>
                    </a:cubicBezTo>
                    <a:cubicBezTo>
                      <a:pt x="104" y="191"/>
                      <a:pt x="98" y="190"/>
                      <a:pt x="92" y="191"/>
                    </a:cubicBezTo>
                    <a:cubicBezTo>
                      <a:pt x="87" y="191"/>
                      <a:pt x="81" y="193"/>
                      <a:pt x="76" y="195"/>
                    </a:cubicBezTo>
                    <a:cubicBezTo>
                      <a:pt x="71" y="197"/>
                      <a:pt x="66" y="199"/>
                      <a:pt x="62" y="203"/>
                    </a:cubicBezTo>
                    <a:cubicBezTo>
                      <a:pt x="58" y="206"/>
                      <a:pt x="55" y="210"/>
                      <a:pt x="53" y="215"/>
                    </a:cubicBezTo>
                    <a:cubicBezTo>
                      <a:pt x="52" y="219"/>
                      <a:pt x="51" y="223"/>
                      <a:pt x="52" y="227"/>
                    </a:cubicBezTo>
                    <a:cubicBezTo>
                      <a:pt x="54" y="231"/>
                      <a:pt x="55" y="235"/>
                      <a:pt x="58" y="238"/>
                    </a:cubicBezTo>
                    <a:cubicBezTo>
                      <a:pt x="60" y="241"/>
                      <a:pt x="64" y="244"/>
                      <a:pt x="68" y="246"/>
                    </a:cubicBezTo>
                    <a:cubicBezTo>
                      <a:pt x="71" y="248"/>
                      <a:pt x="75" y="250"/>
                      <a:pt x="79" y="251"/>
                    </a:cubicBezTo>
                    <a:cubicBezTo>
                      <a:pt x="89" y="254"/>
                      <a:pt x="98" y="255"/>
                      <a:pt x="109" y="253"/>
                    </a:cubicBezTo>
                    <a:cubicBezTo>
                      <a:pt x="113" y="251"/>
                      <a:pt x="117" y="249"/>
                      <a:pt x="121" y="246"/>
                    </a:cubicBezTo>
                    <a:cubicBezTo>
                      <a:pt x="125" y="243"/>
                      <a:pt x="128" y="239"/>
                      <a:pt x="129" y="234"/>
                    </a:cubicBezTo>
                    <a:close/>
                    <a:moveTo>
                      <a:pt x="189" y="87"/>
                    </a:moveTo>
                    <a:cubicBezTo>
                      <a:pt x="190" y="83"/>
                      <a:pt x="191" y="80"/>
                      <a:pt x="191" y="75"/>
                    </a:cubicBezTo>
                    <a:cubicBezTo>
                      <a:pt x="191" y="71"/>
                      <a:pt x="190" y="67"/>
                      <a:pt x="189" y="64"/>
                    </a:cubicBezTo>
                    <a:cubicBezTo>
                      <a:pt x="188" y="60"/>
                      <a:pt x="186" y="57"/>
                      <a:pt x="183" y="54"/>
                    </a:cubicBezTo>
                    <a:cubicBezTo>
                      <a:pt x="180" y="51"/>
                      <a:pt x="177" y="49"/>
                      <a:pt x="173" y="48"/>
                    </a:cubicBezTo>
                    <a:cubicBezTo>
                      <a:pt x="167" y="46"/>
                      <a:pt x="161" y="46"/>
                      <a:pt x="155" y="47"/>
                    </a:cubicBezTo>
                    <a:cubicBezTo>
                      <a:pt x="149" y="48"/>
                      <a:pt x="144" y="49"/>
                      <a:pt x="139" y="52"/>
                    </a:cubicBezTo>
                    <a:cubicBezTo>
                      <a:pt x="134" y="55"/>
                      <a:pt x="129" y="58"/>
                      <a:pt x="124" y="62"/>
                    </a:cubicBezTo>
                    <a:cubicBezTo>
                      <a:pt x="120" y="66"/>
                      <a:pt x="116" y="70"/>
                      <a:pt x="114" y="75"/>
                    </a:cubicBezTo>
                    <a:cubicBezTo>
                      <a:pt x="112" y="79"/>
                      <a:pt x="111" y="83"/>
                      <a:pt x="111" y="88"/>
                    </a:cubicBezTo>
                    <a:cubicBezTo>
                      <a:pt x="111" y="92"/>
                      <a:pt x="112" y="96"/>
                      <a:pt x="113" y="100"/>
                    </a:cubicBezTo>
                    <a:cubicBezTo>
                      <a:pt x="115" y="104"/>
                      <a:pt x="118" y="108"/>
                      <a:pt x="121" y="110"/>
                    </a:cubicBezTo>
                    <a:cubicBezTo>
                      <a:pt x="124" y="113"/>
                      <a:pt x="128" y="115"/>
                      <a:pt x="132" y="117"/>
                    </a:cubicBezTo>
                    <a:cubicBezTo>
                      <a:pt x="138" y="118"/>
                      <a:pt x="144" y="119"/>
                      <a:pt x="149" y="117"/>
                    </a:cubicBezTo>
                    <a:cubicBezTo>
                      <a:pt x="155" y="116"/>
                      <a:pt x="161" y="114"/>
                      <a:pt x="166" y="111"/>
                    </a:cubicBezTo>
                    <a:cubicBezTo>
                      <a:pt x="171" y="108"/>
                      <a:pt x="175" y="105"/>
                      <a:pt x="179" y="101"/>
                    </a:cubicBezTo>
                    <a:cubicBezTo>
                      <a:pt x="184" y="97"/>
                      <a:pt x="187" y="93"/>
                      <a:pt x="189" y="8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8" name="îşliḓe">
                <a:extLst>
                  <a:ext uri="{FF2B5EF4-FFF2-40B4-BE49-F238E27FC236}">
                    <a16:creationId xmlns:a16="http://schemas.microsoft.com/office/drawing/2014/main" id="{AA5CDBD1-A36A-42AE-9BD4-468C567CBC59}"/>
                  </a:ext>
                </a:extLst>
              </p:cNvPr>
              <p:cNvSpPr/>
              <p:nvPr/>
            </p:nvSpPr>
            <p:spPr>
              <a:xfrm flipH="1">
                <a:off x="9804089" y="2079868"/>
                <a:ext cx="283829" cy="450462"/>
              </a:xfrm>
              <a:custGeom>
                <a:avLst/>
                <a:gdLst/>
                <a:ahLst/>
                <a:cxnLst/>
                <a:rect l="l" t="t" r="r" b="b"/>
                <a:pathLst>
                  <a:path w="216" h="343" extrusionOk="0">
                    <a:moveTo>
                      <a:pt x="215" y="119"/>
                    </a:moveTo>
                    <a:cubicBezTo>
                      <a:pt x="214" y="130"/>
                      <a:pt x="213" y="140"/>
                      <a:pt x="211" y="151"/>
                    </a:cubicBezTo>
                    <a:cubicBezTo>
                      <a:pt x="209" y="162"/>
                      <a:pt x="206" y="172"/>
                      <a:pt x="203" y="183"/>
                    </a:cubicBezTo>
                    <a:cubicBezTo>
                      <a:pt x="200" y="193"/>
                      <a:pt x="196" y="203"/>
                      <a:pt x="192" y="214"/>
                    </a:cubicBezTo>
                    <a:cubicBezTo>
                      <a:pt x="188" y="224"/>
                      <a:pt x="184" y="234"/>
                      <a:pt x="180" y="244"/>
                    </a:cubicBezTo>
                    <a:cubicBezTo>
                      <a:pt x="176" y="253"/>
                      <a:pt x="172" y="262"/>
                      <a:pt x="168" y="272"/>
                    </a:cubicBezTo>
                    <a:cubicBezTo>
                      <a:pt x="164" y="281"/>
                      <a:pt x="159" y="291"/>
                      <a:pt x="154" y="300"/>
                    </a:cubicBezTo>
                    <a:cubicBezTo>
                      <a:pt x="149" y="309"/>
                      <a:pt x="143" y="317"/>
                      <a:pt x="137" y="325"/>
                    </a:cubicBezTo>
                    <a:cubicBezTo>
                      <a:pt x="130" y="332"/>
                      <a:pt x="122" y="338"/>
                      <a:pt x="113" y="343"/>
                    </a:cubicBezTo>
                    <a:cubicBezTo>
                      <a:pt x="108" y="343"/>
                      <a:pt x="104" y="342"/>
                      <a:pt x="101" y="339"/>
                    </a:cubicBezTo>
                    <a:cubicBezTo>
                      <a:pt x="98" y="335"/>
                      <a:pt x="97" y="331"/>
                      <a:pt x="97" y="326"/>
                    </a:cubicBezTo>
                    <a:cubicBezTo>
                      <a:pt x="98" y="319"/>
                      <a:pt x="98" y="319"/>
                      <a:pt x="98" y="319"/>
                    </a:cubicBezTo>
                    <a:cubicBezTo>
                      <a:pt x="98" y="318"/>
                      <a:pt x="99" y="317"/>
                      <a:pt x="99" y="316"/>
                    </a:cubicBezTo>
                    <a:cubicBezTo>
                      <a:pt x="99" y="315"/>
                      <a:pt x="99" y="313"/>
                      <a:pt x="99" y="312"/>
                    </a:cubicBezTo>
                    <a:cubicBezTo>
                      <a:pt x="101" y="305"/>
                      <a:pt x="104" y="298"/>
                      <a:pt x="107" y="291"/>
                    </a:cubicBezTo>
                    <a:cubicBezTo>
                      <a:pt x="110" y="284"/>
                      <a:pt x="113" y="277"/>
                      <a:pt x="116" y="270"/>
                    </a:cubicBezTo>
                    <a:cubicBezTo>
                      <a:pt x="119" y="263"/>
                      <a:pt x="123" y="256"/>
                      <a:pt x="126" y="249"/>
                    </a:cubicBezTo>
                    <a:cubicBezTo>
                      <a:pt x="130" y="242"/>
                      <a:pt x="134" y="236"/>
                      <a:pt x="137" y="229"/>
                    </a:cubicBezTo>
                    <a:cubicBezTo>
                      <a:pt x="142" y="219"/>
                      <a:pt x="147" y="209"/>
                      <a:pt x="151" y="198"/>
                    </a:cubicBezTo>
                    <a:cubicBezTo>
                      <a:pt x="155" y="188"/>
                      <a:pt x="159" y="178"/>
                      <a:pt x="161" y="167"/>
                    </a:cubicBezTo>
                    <a:cubicBezTo>
                      <a:pt x="156" y="174"/>
                      <a:pt x="150" y="181"/>
                      <a:pt x="143" y="187"/>
                    </a:cubicBezTo>
                    <a:cubicBezTo>
                      <a:pt x="136" y="192"/>
                      <a:pt x="129" y="197"/>
                      <a:pt x="121" y="201"/>
                    </a:cubicBezTo>
                    <a:cubicBezTo>
                      <a:pt x="113" y="205"/>
                      <a:pt x="104" y="208"/>
                      <a:pt x="96" y="210"/>
                    </a:cubicBezTo>
                    <a:cubicBezTo>
                      <a:pt x="87" y="213"/>
                      <a:pt x="78" y="214"/>
                      <a:pt x="70" y="214"/>
                    </a:cubicBezTo>
                    <a:cubicBezTo>
                      <a:pt x="59" y="214"/>
                      <a:pt x="48" y="212"/>
                      <a:pt x="38" y="208"/>
                    </a:cubicBezTo>
                    <a:cubicBezTo>
                      <a:pt x="28" y="203"/>
                      <a:pt x="20" y="197"/>
                      <a:pt x="14" y="188"/>
                    </a:cubicBezTo>
                    <a:cubicBezTo>
                      <a:pt x="8" y="180"/>
                      <a:pt x="4" y="171"/>
                      <a:pt x="3" y="161"/>
                    </a:cubicBezTo>
                    <a:cubicBezTo>
                      <a:pt x="1" y="150"/>
                      <a:pt x="0" y="140"/>
                      <a:pt x="1" y="130"/>
                    </a:cubicBezTo>
                    <a:cubicBezTo>
                      <a:pt x="2" y="118"/>
                      <a:pt x="5" y="107"/>
                      <a:pt x="9" y="95"/>
                    </a:cubicBezTo>
                    <a:cubicBezTo>
                      <a:pt x="13" y="84"/>
                      <a:pt x="18" y="73"/>
                      <a:pt x="25" y="62"/>
                    </a:cubicBezTo>
                    <a:cubicBezTo>
                      <a:pt x="31" y="52"/>
                      <a:pt x="39" y="43"/>
                      <a:pt x="48" y="34"/>
                    </a:cubicBezTo>
                    <a:cubicBezTo>
                      <a:pt x="56" y="26"/>
                      <a:pt x="66" y="19"/>
                      <a:pt x="77" y="13"/>
                    </a:cubicBezTo>
                    <a:cubicBezTo>
                      <a:pt x="84" y="8"/>
                      <a:pt x="92" y="5"/>
                      <a:pt x="100" y="3"/>
                    </a:cubicBezTo>
                    <a:cubicBezTo>
                      <a:pt x="108" y="1"/>
                      <a:pt x="116" y="0"/>
                      <a:pt x="125" y="0"/>
                    </a:cubicBezTo>
                    <a:cubicBezTo>
                      <a:pt x="132" y="0"/>
                      <a:pt x="139" y="1"/>
                      <a:pt x="146" y="3"/>
                    </a:cubicBezTo>
                    <a:cubicBezTo>
                      <a:pt x="153" y="5"/>
                      <a:pt x="159" y="7"/>
                      <a:pt x="165" y="11"/>
                    </a:cubicBezTo>
                    <a:cubicBezTo>
                      <a:pt x="171" y="14"/>
                      <a:pt x="176" y="19"/>
                      <a:pt x="181" y="24"/>
                    </a:cubicBezTo>
                    <a:cubicBezTo>
                      <a:pt x="186" y="28"/>
                      <a:pt x="191" y="34"/>
                      <a:pt x="194" y="40"/>
                    </a:cubicBezTo>
                    <a:cubicBezTo>
                      <a:pt x="202" y="51"/>
                      <a:pt x="208" y="63"/>
                      <a:pt x="211" y="77"/>
                    </a:cubicBezTo>
                    <a:cubicBezTo>
                      <a:pt x="215" y="91"/>
                      <a:pt x="216" y="105"/>
                      <a:pt x="215" y="119"/>
                    </a:cubicBezTo>
                    <a:close/>
                    <a:moveTo>
                      <a:pt x="160" y="82"/>
                    </a:moveTo>
                    <a:cubicBezTo>
                      <a:pt x="161" y="78"/>
                      <a:pt x="160" y="74"/>
                      <a:pt x="158" y="70"/>
                    </a:cubicBezTo>
                    <a:cubicBezTo>
                      <a:pt x="156" y="67"/>
                      <a:pt x="153" y="65"/>
                      <a:pt x="150" y="63"/>
                    </a:cubicBezTo>
                    <a:cubicBezTo>
                      <a:pt x="147" y="61"/>
                      <a:pt x="143" y="59"/>
                      <a:pt x="139" y="59"/>
                    </a:cubicBezTo>
                    <a:cubicBezTo>
                      <a:pt x="134" y="58"/>
                      <a:pt x="130" y="57"/>
                      <a:pt x="126" y="58"/>
                    </a:cubicBezTo>
                    <a:cubicBezTo>
                      <a:pt x="116" y="57"/>
                      <a:pt x="107" y="58"/>
                      <a:pt x="98" y="62"/>
                    </a:cubicBezTo>
                    <a:cubicBezTo>
                      <a:pt x="89" y="66"/>
                      <a:pt x="81" y="71"/>
                      <a:pt x="74" y="78"/>
                    </a:cubicBezTo>
                    <a:cubicBezTo>
                      <a:pt x="67" y="85"/>
                      <a:pt x="61" y="93"/>
                      <a:pt x="57" y="102"/>
                    </a:cubicBezTo>
                    <a:cubicBezTo>
                      <a:pt x="53" y="112"/>
                      <a:pt x="51" y="121"/>
                      <a:pt x="50" y="131"/>
                    </a:cubicBezTo>
                    <a:cubicBezTo>
                      <a:pt x="50" y="135"/>
                      <a:pt x="49" y="139"/>
                      <a:pt x="50" y="144"/>
                    </a:cubicBezTo>
                    <a:cubicBezTo>
                      <a:pt x="50" y="148"/>
                      <a:pt x="51" y="152"/>
                      <a:pt x="53" y="156"/>
                    </a:cubicBezTo>
                    <a:cubicBezTo>
                      <a:pt x="55" y="160"/>
                      <a:pt x="57" y="163"/>
                      <a:pt x="60" y="165"/>
                    </a:cubicBezTo>
                    <a:cubicBezTo>
                      <a:pt x="63" y="167"/>
                      <a:pt x="67" y="168"/>
                      <a:pt x="73" y="168"/>
                    </a:cubicBezTo>
                    <a:cubicBezTo>
                      <a:pt x="80" y="168"/>
                      <a:pt x="88" y="166"/>
                      <a:pt x="95" y="163"/>
                    </a:cubicBezTo>
                    <a:cubicBezTo>
                      <a:pt x="103" y="159"/>
                      <a:pt x="109" y="155"/>
                      <a:pt x="116" y="150"/>
                    </a:cubicBezTo>
                    <a:cubicBezTo>
                      <a:pt x="122" y="146"/>
                      <a:pt x="128" y="141"/>
                      <a:pt x="134" y="135"/>
                    </a:cubicBezTo>
                    <a:cubicBezTo>
                      <a:pt x="139" y="130"/>
                      <a:pt x="144" y="124"/>
                      <a:pt x="148" y="117"/>
                    </a:cubicBezTo>
                    <a:cubicBezTo>
                      <a:pt x="150" y="112"/>
                      <a:pt x="153" y="106"/>
                      <a:pt x="155" y="100"/>
                    </a:cubicBezTo>
                    <a:cubicBezTo>
                      <a:pt x="158" y="95"/>
                      <a:pt x="159" y="89"/>
                      <a:pt x="160" y="8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9" name="işlîďê">
                <a:extLst>
                  <a:ext uri="{FF2B5EF4-FFF2-40B4-BE49-F238E27FC236}">
                    <a16:creationId xmlns:a16="http://schemas.microsoft.com/office/drawing/2014/main" id="{4C31E86E-2E7A-4677-AE11-087AFA0E2127}"/>
                  </a:ext>
                </a:extLst>
              </p:cNvPr>
              <p:cNvSpPr/>
              <p:nvPr/>
            </p:nvSpPr>
            <p:spPr>
              <a:xfrm flipH="1">
                <a:off x="10715563" y="1288366"/>
                <a:ext cx="319377" cy="424356"/>
              </a:xfrm>
              <a:custGeom>
                <a:avLst/>
                <a:gdLst/>
                <a:ahLst/>
                <a:cxnLst/>
                <a:rect l="l" t="t" r="r" b="b"/>
                <a:pathLst>
                  <a:path w="243" h="323" extrusionOk="0">
                    <a:moveTo>
                      <a:pt x="215" y="114"/>
                    </a:moveTo>
                    <a:cubicBezTo>
                      <a:pt x="223" y="130"/>
                      <a:pt x="229" y="147"/>
                      <a:pt x="234" y="164"/>
                    </a:cubicBezTo>
                    <a:cubicBezTo>
                      <a:pt x="239" y="181"/>
                      <a:pt x="242" y="199"/>
                      <a:pt x="243" y="217"/>
                    </a:cubicBezTo>
                    <a:cubicBezTo>
                      <a:pt x="243" y="226"/>
                      <a:pt x="242" y="235"/>
                      <a:pt x="241" y="245"/>
                    </a:cubicBezTo>
                    <a:cubicBezTo>
                      <a:pt x="239" y="254"/>
                      <a:pt x="236" y="263"/>
                      <a:pt x="233" y="271"/>
                    </a:cubicBezTo>
                    <a:cubicBezTo>
                      <a:pt x="229" y="280"/>
                      <a:pt x="225" y="288"/>
                      <a:pt x="219" y="295"/>
                    </a:cubicBezTo>
                    <a:cubicBezTo>
                      <a:pt x="214" y="302"/>
                      <a:pt x="207" y="308"/>
                      <a:pt x="199" y="312"/>
                    </a:cubicBezTo>
                    <a:cubicBezTo>
                      <a:pt x="191" y="318"/>
                      <a:pt x="183" y="321"/>
                      <a:pt x="174" y="322"/>
                    </a:cubicBezTo>
                    <a:cubicBezTo>
                      <a:pt x="166" y="323"/>
                      <a:pt x="157" y="323"/>
                      <a:pt x="149" y="321"/>
                    </a:cubicBezTo>
                    <a:cubicBezTo>
                      <a:pt x="141" y="320"/>
                      <a:pt x="132" y="317"/>
                      <a:pt x="124" y="313"/>
                    </a:cubicBezTo>
                    <a:cubicBezTo>
                      <a:pt x="116" y="309"/>
                      <a:pt x="109" y="305"/>
                      <a:pt x="102" y="301"/>
                    </a:cubicBezTo>
                    <a:cubicBezTo>
                      <a:pt x="88" y="291"/>
                      <a:pt x="75" y="280"/>
                      <a:pt x="63" y="267"/>
                    </a:cubicBezTo>
                    <a:cubicBezTo>
                      <a:pt x="52" y="254"/>
                      <a:pt x="42" y="239"/>
                      <a:pt x="33" y="224"/>
                    </a:cubicBezTo>
                    <a:cubicBezTo>
                      <a:pt x="16" y="191"/>
                      <a:pt x="5" y="156"/>
                      <a:pt x="1" y="118"/>
                    </a:cubicBezTo>
                    <a:cubicBezTo>
                      <a:pt x="0" y="109"/>
                      <a:pt x="0" y="100"/>
                      <a:pt x="0" y="90"/>
                    </a:cubicBezTo>
                    <a:cubicBezTo>
                      <a:pt x="0" y="81"/>
                      <a:pt x="1" y="71"/>
                      <a:pt x="3" y="62"/>
                    </a:cubicBezTo>
                    <a:cubicBezTo>
                      <a:pt x="5" y="53"/>
                      <a:pt x="8" y="44"/>
                      <a:pt x="13" y="36"/>
                    </a:cubicBezTo>
                    <a:cubicBezTo>
                      <a:pt x="17" y="28"/>
                      <a:pt x="24" y="22"/>
                      <a:pt x="31" y="16"/>
                    </a:cubicBezTo>
                    <a:cubicBezTo>
                      <a:pt x="44" y="8"/>
                      <a:pt x="57" y="3"/>
                      <a:pt x="69" y="2"/>
                    </a:cubicBezTo>
                    <a:cubicBezTo>
                      <a:pt x="82" y="0"/>
                      <a:pt x="94" y="1"/>
                      <a:pt x="106" y="5"/>
                    </a:cubicBezTo>
                    <a:cubicBezTo>
                      <a:pt x="118" y="8"/>
                      <a:pt x="129" y="14"/>
                      <a:pt x="140" y="22"/>
                    </a:cubicBezTo>
                    <a:cubicBezTo>
                      <a:pt x="151" y="29"/>
                      <a:pt x="161" y="38"/>
                      <a:pt x="170" y="48"/>
                    </a:cubicBezTo>
                    <a:cubicBezTo>
                      <a:pt x="179" y="58"/>
                      <a:pt x="188" y="69"/>
                      <a:pt x="195" y="80"/>
                    </a:cubicBezTo>
                    <a:cubicBezTo>
                      <a:pt x="203" y="92"/>
                      <a:pt x="209" y="103"/>
                      <a:pt x="215" y="114"/>
                    </a:cubicBezTo>
                    <a:close/>
                    <a:moveTo>
                      <a:pt x="169" y="135"/>
                    </a:moveTo>
                    <a:cubicBezTo>
                      <a:pt x="163" y="124"/>
                      <a:pt x="156" y="113"/>
                      <a:pt x="150" y="102"/>
                    </a:cubicBezTo>
                    <a:cubicBezTo>
                      <a:pt x="143" y="92"/>
                      <a:pt x="135" y="82"/>
                      <a:pt x="127" y="73"/>
                    </a:cubicBezTo>
                    <a:cubicBezTo>
                      <a:pt x="122" y="69"/>
                      <a:pt x="117" y="64"/>
                      <a:pt x="112" y="61"/>
                    </a:cubicBezTo>
                    <a:cubicBezTo>
                      <a:pt x="107" y="57"/>
                      <a:pt x="101" y="55"/>
                      <a:pt x="96" y="53"/>
                    </a:cubicBezTo>
                    <a:cubicBezTo>
                      <a:pt x="90" y="51"/>
                      <a:pt x="85" y="50"/>
                      <a:pt x="79" y="51"/>
                    </a:cubicBezTo>
                    <a:cubicBezTo>
                      <a:pt x="74" y="51"/>
                      <a:pt x="69" y="53"/>
                      <a:pt x="64" y="57"/>
                    </a:cubicBezTo>
                    <a:cubicBezTo>
                      <a:pt x="58" y="61"/>
                      <a:pt x="54" y="66"/>
                      <a:pt x="52" y="72"/>
                    </a:cubicBezTo>
                    <a:cubicBezTo>
                      <a:pt x="50" y="78"/>
                      <a:pt x="49" y="84"/>
                      <a:pt x="49" y="91"/>
                    </a:cubicBezTo>
                    <a:cubicBezTo>
                      <a:pt x="49" y="98"/>
                      <a:pt x="49" y="104"/>
                      <a:pt x="50" y="111"/>
                    </a:cubicBezTo>
                    <a:cubicBezTo>
                      <a:pt x="52" y="118"/>
                      <a:pt x="53" y="124"/>
                      <a:pt x="54" y="130"/>
                    </a:cubicBezTo>
                    <a:cubicBezTo>
                      <a:pt x="57" y="144"/>
                      <a:pt x="61" y="157"/>
                      <a:pt x="66" y="169"/>
                    </a:cubicBezTo>
                    <a:cubicBezTo>
                      <a:pt x="70" y="182"/>
                      <a:pt x="76" y="195"/>
                      <a:pt x="82" y="207"/>
                    </a:cubicBezTo>
                    <a:cubicBezTo>
                      <a:pt x="85" y="212"/>
                      <a:pt x="88" y="217"/>
                      <a:pt x="92" y="223"/>
                    </a:cubicBezTo>
                    <a:cubicBezTo>
                      <a:pt x="95" y="228"/>
                      <a:pt x="99" y="234"/>
                      <a:pt x="103" y="239"/>
                    </a:cubicBezTo>
                    <a:cubicBezTo>
                      <a:pt x="107" y="245"/>
                      <a:pt x="111" y="250"/>
                      <a:pt x="116" y="254"/>
                    </a:cubicBezTo>
                    <a:cubicBezTo>
                      <a:pt x="121" y="259"/>
                      <a:pt x="126" y="262"/>
                      <a:pt x="131" y="265"/>
                    </a:cubicBezTo>
                    <a:cubicBezTo>
                      <a:pt x="136" y="268"/>
                      <a:pt x="142" y="269"/>
                      <a:pt x="148" y="269"/>
                    </a:cubicBezTo>
                    <a:cubicBezTo>
                      <a:pt x="154" y="269"/>
                      <a:pt x="160" y="268"/>
                      <a:pt x="167" y="264"/>
                    </a:cubicBezTo>
                    <a:cubicBezTo>
                      <a:pt x="172" y="261"/>
                      <a:pt x="176" y="258"/>
                      <a:pt x="180" y="253"/>
                    </a:cubicBezTo>
                    <a:cubicBezTo>
                      <a:pt x="183" y="248"/>
                      <a:pt x="186" y="243"/>
                      <a:pt x="188" y="237"/>
                    </a:cubicBezTo>
                    <a:cubicBezTo>
                      <a:pt x="189" y="232"/>
                      <a:pt x="191" y="226"/>
                      <a:pt x="191" y="220"/>
                    </a:cubicBezTo>
                    <a:cubicBezTo>
                      <a:pt x="191" y="214"/>
                      <a:pt x="191" y="208"/>
                      <a:pt x="190" y="202"/>
                    </a:cubicBezTo>
                    <a:cubicBezTo>
                      <a:pt x="189" y="190"/>
                      <a:pt x="186" y="179"/>
                      <a:pt x="182" y="167"/>
                    </a:cubicBezTo>
                    <a:cubicBezTo>
                      <a:pt x="179" y="156"/>
                      <a:pt x="174" y="145"/>
                      <a:pt x="169" y="1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0" name="iŝļiďè">
                <a:extLst>
                  <a:ext uri="{FF2B5EF4-FFF2-40B4-BE49-F238E27FC236}">
                    <a16:creationId xmlns:a16="http://schemas.microsoft.com/office/drawing/2014/main" id="{9E062AD0-1207-4E25-80B4-58F5AB920AC1}"/>
                  </a:ext>
                </a:extLst>
              </p:cNvPr>
              <p:cNvSpPr/>
              <p:nvPr/>
            </p:nvSpPr>
            <p:spPr>
              <a:xfrm flipH="1">
                <a:off x="10076254" y="1799370"/>
                <a:ext cx="288827" cy="307158"/>
              </a:xfrm>
              <a:custGeom>
                <a:avLst/>
                <a:gdLst/>
                <a:ahLst/>
                <a:cxnLst/>
                <a:rect l="l" t="t" r="r" b="b"/>
                <a:pathLst>
                  <a:path w="220" h="234" extrusionOk="0">
                    <a:moveTo>
                      <a:pt x="150" y="19"/>
                    </a:moveTo>
                    <a:cubicBezTo>
                      <a:pt x="157" y="24"/>
                      <a:pt x="164" y="30"/>
                      <a:pt x="171" y="37"/>
                    </a:cubicBezTo>
                    <a:cubicBezTo>
                      <a:pt x="178" y="44"/>
                      <a:pt x="184" y="51"/>
                      <a:pt x="189" y="59"/>
                    </a:cubicBezTo>
                    <a:cubicBezTo>
                      <a:pt x="194" y="67"/>
                      <a:pt x="199" y="76"/>
                      <a:pt x="203" y="85"/>
                    </a:cubicBezTo>
                    <a:cubicBezTo>
                      <a:pt x="207" y="94"/>
                      <a:pt x="210" y="103"/>
                      <a:pt x="212" y="112"/>
                    </a:cubicBezTo>
                    <a:cubicBezTo>
                      <a:pt x="215" y="121"/>
                      <a:pt x="217" y="130"/>
                      <a:pt x="219" y="140"/>
                    </a:cubicBezTo>
                    <a:cubicBezTo>
                      <a:pt x="220" y="150"/>
                      <a:pt x="220" y="159"/>
                      <a:pt x="220" y="169"/>
                    </a:cubicBezTo>
                    <a:cubicBezTo>
                      <a:pt x="219" y="178"/>
                      <a:pt x="217" y="187"/>
                      <a:pt x="214" y="196"/>
                    </a:cubicBezTo>
                    <a:cubicBezTo>
                      <a:pt x="211" y="205"/>
                      <a:pt x="207" y="213"/>
                      <a:pt x="201" y="220"/>
                    </a:cubicBezTo>
                    <a:cubicBezTo>
                      <a:pt x="198" y="224"/>
                      <a:pt x="195" y="227"/>
                      <a:pt x="191" y="229"/>
                    </a:cubicBezTo>
                    <a:cubicBezTo>
                      <a:pt x="188" y="232"/>
                      <a:pt x="184" y="233"/>
                      <a:pt x="179" y="234"/>
                    </a:cubicBezTo>
                    <a:cubicBezTo>
                      <a:pt x="175" y="234"/>
                      <a:pt x="171" y="234"/>
                      <a:pt x="166" y="233"/>
                    </a:cubicBezTo>
                    <a:cubicBezTo>
                      <a:pt x="162" y="232"/>
                      <a:pt x="158" y="231"/>
                      <a:pt x="154" y="228"/>
                    </a:cubicBezTo>
                    <a:cubicBezTo>
                      <a:pt x="151" y="226"/>
                      <a:pt x="149" y="225"/>
                      <a:pt x="147" y="223"/>
                    </a:cubicBezTo>
                    <a:cubicBezTo>
                      <a:pt x="144" y="221"/>
                      <a:pt x="142" y="220"/>
                      <a:pt x="140" y="218"/>
                    </a:cubicBezTo>
                    <a:cubicBezTo>
                      <a:pt x="138" y="216"/>
                      <a:pt x="135" y="214"/>
                      <a:pt x="133" y="212"/>
                    </a:cubicBezTo>
                    <a:cubicBezTo>
                      <a:pt x="130" y="210"/>
                      <a:pt x="128" y="208"/>
                      <a:pt x="126" y="207"/>
                    </a:cubicBezTo>
                    <a:cubicBezTo>
                      <a:pt x="123" y="204"/>
                      <a:pt x="120" y="202"/>
                      <a:pt x="118" y="201"/>
                    </a:cubicBezTo>
                    <a:cubicBezTo>
                      <a:pt x="115" y="199"/>
                      <a:pt x="112" y="197"/>
                      <a:pt x="109" y="195"/>
                    </a:cubicBezTo>
                    <a:cubicBezTo>
                      <a:pt x="105" y="192"/>
                      <a:pt x="101" y="189"/>
                      <a:pt x="97" y="186"/>
                    </a:cubicBezTo>
                    <a:cubicBezTo>
                      <a:pt x="93" y="183"/>
                      <a:pt x="89" y="181"/>
                      <a:pt x="85" y="178"/>
                    </a:cubicBezTo>
                    <a:cubicBezTo>
                      <a:pt x="81" y="175"/>
                      <a:pt x="77" y="172"/>
                      <a:pt x="74" y="169"/>
                    </a:cubicBezTo>
                    <a:cubicBezTo>
                      <a:pt x="70" y="166"/>
                      <a:pt x="66" y="164"/>
                      <a:pt x="62" y="161"/>
                    </a:cubicBezTo>
                    <a:cubicBezTo>
                      <a:pt x="57" y="156"/>
                      <a:pt x="51" y="152"/>
                      <a:pt x="46" y="147"/>
                    </a:cubicBezTo>
                    <a:cubicBezTo>
                      <a:pt x="40" y="143"/>
                      <a:pt x="35" y="138"/>
                      <a:pt x="29" y="134"/>
                    </a:cubicBezTo>
                    <a:cubicBezTo>
                      <a:pt x="24" y="129"/>
                      <a:pt x="19" y="124"/>
                      <a:pt x="14" y="119"/>
                    </a:cubicBezTo>
                    <a:cubicBezTo>
                      <a:pt x="9" y="114"/>
                      <a:pt x="4" y="109"/>
                      <a:pt x="0" y="103"/>
                    </a:cubicBezTo>
                    <a:cubicBezTo>
                      <a:pt x="1" y="98"/>
                      <a:pt x="3" y="93"/>
                      <a:pt x="5" y="88"/>
                    </a:cubicBezTo>
                    <a:cubicBezTo>
                      <a:pt x="6" y="84"/>
                      <a:pt x="8" y="79"/>
                      <a:pt x="10" y="74"/>
                    </a:cubicBezTo>
                    <a:cubicBezTo>
                      <a:pt x="12" y="68"/>
                      <a:pt x="15" y="63"/>
                      <a:pt x="17" y="58"/>
                    </a:cubicBezTo>
                    <a:cubicBezTo>
                      <a:pt x="19" y="53"/>
                      <a:pt x="22" y="48"/>
                      <a:pt x="24" y="43"/>
                    </a:cubicBezTo>
                    <a:cubicBezTo>
                      <a:pt x="28" y="35"/>
                      <a:pt x="33" y="28"/>
                      <a:pt x="39" y="22"/>
                    </a:cubicBezTo>
                    <a:cubicBezTo>
                      <a:pt x="45" y="17"/>
                      <a:pt x="51" y="12"/>
                      <a:pt x="58" y="9"/>
                    </a:cubicBezTo>
                    <a:cubicBezTo>
                      <a:pt x="65" y="5"/>
                      <a:pt x="73" y="3"/>
                      <a:pt x="81" y="2"/>
                    </a:cubicBezTo>
                    <a:cubicBezTo>
                      <a:pt x="89" y="0"/>
                      <a:pt x="97" y="0"/>
                      <a:pt x="105" y="1"/>
                    </a:cubicBezTo>
                    <a:cubicBezTo>
                      <a:pt x="112" y="2"/>
                      <a:pt x="120" y="3"/>
                      <a:pt x="128" y="6"/>
                    </a:cubicBezTo>
                    <a:cubicBezTo>
                      <a:pt x="136" y="9"/>
                      <a:pt x="143" y="13"/>
                      <a:pt x="150" y="19"/>
                    </a:cubicBezTo>
                    <a:close/>
                    <a:moveTo>
                      <a:pt x="122" y="46"/>
                    </a:moveTo>
                    <a:cubicBezTo>
                      <a:pt x="117" y="42"/>
                      <a:pt x="112" y="39"/>
                      <a:pt x="107" y="37"/>
                    </a:cubicBezTo>
                    <a:cubicBezTo>
                      <a:pt x="101" y="34"/>
                      <a:pt x="96" y="32"/>
                      <a:pt x="90" y="33"/>
                    </a:cubicBezTo>
                    <a:cubicBezTo>
                      <a:pt x="87" y="33"/>
                      <a:pt x="84" y="34"/>
                      <a:pt x="82" y="35"/>
                    </a:cubicBezTo>
                    <a:cubicBezTo>
                      <a:pt x="79" y="37"/>
                      <a:pt x="77" y="38"/>
                      <a:pt x="75" y="40"/>
                    </a:cubicBezTo>
                    <a:cubicBezTo>
                      <a:pt x="73" y="42"/>
                      <a:pt x="71" y="44"/>
                      <a:pt x="69" y="47"/>
                    </a:cubicBezTo>
                    <a:cubicBezTo>
                      <a:pt x="67" y="49"/>
                      <a:pt x="65" y="52"/>
                      <a:pt x="64" y="54"/>
                    </a:cubicBezTo>
                    <a:cubicBezTo>
                      <a:pt x="62" y="57"/>
                      <a:pt x="61" y="59"/>
                      <a:pt x="59" y="62"/>
                    </a:cubicBezTo>
                    <a:cubicBezTo>
                      <a:pt x="58" y="65"/>
                      <a:pt x="56" y="67"/>
                      <a:pt x="55" y="70"/>
                    </a:cubicBezTo>
                    <a:cubicBezTo>
                      <a:pt x="54" y="73"/>
                      <a:pt x="52" y="75"/>
                      <a:pt x="51" y="78"/>
                    </a:cubicBezTo>
                    <a:cubicBezTo>
                      <a:pt x="50" y="81"/>
                      <a:pt x="48" y="83"/>
                      <a:pt x="47" y="86"/>
                    </a:cubicBezTo>
                    <a:cubicBezTo>
                      <a:pt x="49" y="93"/>
                      <a:pt x="52" y="99"/>
                      <a:pt x="57" y="105"/>
                    </a:cubicBezTo>
                    <a:cubicBezTo>
                      <a:pt x="61" y="111"/>
                      <a:pt x="66" y="116"/>
                      <a:pt x="72" y="121"/>
                    </a:cubicBezTo>
                    <a:cubicBezTo>
                      <a:pt x="78" y="125"/>
                      <a:pt x="84" y="130"/>
                      <a:pt x="90" y="134"/>
                    </a:cubicBezTo>
                    <a:cubicBezTo>
                      <a:pt x="96" y="139"/>
                      <a:pt x="102" y="143"/>
                      <a:pt x="107" y="148"/>
                    </a:cubicBezTo>
                    <a:cubicBezTo>
                      <a:pt x="117" y="154"/>
                      <a:pt x="126" y="161"/>
                      <a:pt x="136" y="167"/>
                    </a:cubicBezTo>
                    <a:cubicBezTo>
                      <a:pt x="146" y="174"/>
                      <a:pt x="156" y="179"/>
                      <a:pt x="167" y="183"/>
                    </a:cubicBezTo>
                    <a:cubicBezTo>
                      <a:pt x="170" y="177"/>
                      <a:pt x="172" y="171"/>
                      <a:pt x="173" y="165"/>
                    </a:cubicBezTo>
                    <a:cubicBezTo>
                      <a:pt x="174" y="159"/>
                      <a:pt x="174" y="153"/>
                      <a:pt x="173" y="147"/>
                    </a:cubicBezTo>
                    <a:cubicBezTo>
                      <a:pt x="172" y="140"/>
                      <a:pt x="171" y="134"/>
                      <a:pt x="169" y="128"/>
                    </a:cubicBezTo>
                    <a:cubicBezTo>
                      <a:pt x="168" y="121"/>
                      <a:pt x="166" y="115"/>
                      <a:pt x="164" y="109"/>
                    </a:cubicBezTo>
                    <a:cubicBezTo>
                      <a:pt x="162" y="103"/>
                      <a:pt x="159" y="97"/>
                      <a:pt x="156" y="91"/>
                    </a:cubicBezTo>
                    <a:cubicBezTo>
                      <a:pt x="154" y="85"/>
                      <a:pt x="151" y="80"/>
                      <a:pt x="147" y="74"/>
                    </a:cubicBezTo>
                    <a:cubicBezTo>
                      <a:pt x="144" y="69"/>
                      <a:pt x="140" y="63"/>
                      <a:pt x="136" y="59"/>
                    </a:cubicBezTo>
                    <a:cubicBezTo>
                      <a:pt x="132" y="54"/>
                      <a:pt x="127" y="49"/>
                      <a:pt x="122" y="4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1" name="íṧľíḋê">
                <a:extLst>
                  <a:ext uri="{FF2B5EF4-FFF2-40B4-BE49-F238E27FC236}">
                    <a16:creationId xmlns:a16="http://schemas.microsoft.com/office/drawing/2014/main" id="{AC9C9699-8427-4629-8440-95F2DF34D892}"/>
                  </a:ext>
                </a:extLst>
              </p:cNvPr>
              <p:cNvSpPr/>
              <p:nvPr/>
            </p:nvSpPr>
            <p:spPr>
              <a:xfrm flipH="1">
                <a:off x="10144573" y="2223171"/>
                <a:ext cx="128306" cy="178852"/>
              </a:xfrm>
              <a:custGeom>
                <a:avLst/>
                <a:gdLst/>
                <a:ahLst/>
                <a:cxnLst/>
                <a:rect l="l" t="t" r="r" b="b"/>
                <a:pathLst>
                  <a:path w="98" h="136" extrusionOk="0">
                    <a:moveTo>
                      <a:pt x="97" y="19"/>
                    </a:moveTo>
                    <a:cubicBezTo>
                      <a:pt x="97" y="20"/>
                      <a:pt x="97" y="21"/>
                      <a:pt x="96" y="21"/>
                    </a:cubicBezTo>
                    <a:cubicBezTo>
                      <a:pt x="95" y="21"/>
                      <a:pt x="94" y="21"/>
                      <a:pt x="93" y="21"/>
                    </a:cubicBezTo>
                    <a:cubicBezTo>
                      <a:pt x="91" y="21"/>
                      <a:pt x="89" y="21"/>
                      <a:pt x="88" y="21"/>
                    </a:cubicBezTo>
                    <a:cubicBezTo>
                      <a:pt x="86" y="21"/>
                      <a:pt x="85" y="21"/>
                      <a:pt x="83" y="22"/>
                    </a:cubicBezTo>
                    <a:cubicBezTo>
                      <a:pt x="82" y="22"/>
                      <a:pt x="80" y="22"/>
                      <a:pt x="79" y="23"/>
                    </a:cubicBezTo>
                    <a:cubicBezTo>
                      <a:pt x="78" y="24"/>
                      <a:pt x="78" y="26"/>
                      <a:pt x="78" y="27"/>
                    </a:cubicBezTo>
                    <a:cubicBezTo>
                      <a:pt x="78" y="28"/>
                      <a:pt x="78" y="29"/>
                      <a:pt x="78" y="30"/>
                    </a:cubicBezTo>
                    <a:cubicBezTo>
                      <a:pt x="78" y="30"/>
                      <a:pt x="78" y="31"/>
                      <a:pt x="78" y="32"/>
                    </a:cubicBezTo>
                    <a:cubicBezTo>
                      <a:pt x="79" y="40"/>
                      <a:pt x="79" y="48"/>
                      <a:pt x="79" y="56"/>
                    </a:cubicBezTo>
                    <a:cubicBezTo>
                      <a:pt x="79" y="65"/>
                      <a:pt x="79" y="73"/>
                      <a:pt x="78" y="81"/>
                    </a:cubicBezTo>
                    <a:cubicBezTo>
                      <a:pt x="78" y="85"/>
                      <a:pt x="77" y="89"/>
                      <a:pt x="76" y="93"/>
                    </a:cubicBezTo>
                    <a:cubicBezTo>
                      <a:pt x="76" y="97"/>
                      <a:pt x="75" y="101"/>
                      <a:pt x="74" y="105"/>
                    </a:cubicBezTo>
                    <a:cubicBezTo>
                      <a:pt x="73" y="109"/>
                      <a:pt x="72" y="113"/>
                      <a:pt x="70" y="116"/>
                    </a:cubicBezTo>
                    <a:cubicBezTo>
                      <a:pt x="69" y="120"/>
                      <a:pt x="67" y="124"/>
                      <a:pt x="64" y="127"/>
                    </a:cubicBezTo>
                    <a:cubicBezTo>
                      <a:pt x="62" y="130"/>
                      <a:pt x="59" y="132"/>
                      <a:pt x="56" y="134"/>
                    </a:cubicBezTo>
                    <a:cubicBezTo>
                      <a:pt x="52" y="135"/>
                      <a:pt x="49" y="136"/>
                      <a:pt x="45" y="136"/>
                    </a:cubicBezTo>
                    <a:cubicBezTo>
                      <a:pt x="41" y="136"/>
                      <a:pt x="38" y="135"/>
                      <a:pt x="35" y="134"/>
                    </a:cubicBezTo>
                    <a:cubicBezTo>
                      <a:pt x="32" y="132"/>
                      <a:pt x="29" y="130"/>
                      <a:pt x="27" y="128"/>
                    </a:cubicBezTo>
                    <a:cubicBezTo>
                      <a:pt x="24" y="126"/>
                      <a:pt x="22" y="123"/>
                      <a:pt x="20" y="120"/>
                    </a:cubicBezTo>
                    <a:cubicBezTo>
                      <a:pt x="18" y="118"/>
                      <a:pt x="16" y="115"/>
                      <a:pt x="15" y="112"/>
                    </a:cubicBezTo>
                    <a:cubicBezTo>
                      <a:pt x="12" y="106"/>
                      <a:pt x="9" y="100"/>
                      <a:pt x="6" y="93"/>
                    </a:cubicBezTo>
                    <a:cubicBezTo>
                      <a:pt x="4" y="87"/>
                      <a:pt x="2" y="80"/>
                      <a:pt x="1" y="74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8"/>
                      <a:pt x="0" y="67"/>
                      <a:pt x="1" y="66"/>
                    </a:cubicBezTo>
                    <a:cubicBezTo>
                      <a:pt x="1" y="65"/>
                      <a:pt x="2" y="65"/>
                      <a:pt x="3" y="64"/>
                    </a:cubicBezTo>
                    <a:cubicBezTo>
                      <a:pt x="3" y="64"/>
                      <a:pt x="4" y="63"/>
                      <a:pt x="5" y="63"/>
                    </a:cubicBezTo>
                    <a:cubicBezTo>
                      <a:pt x="6" y="63"/>
                      <a:pt x="7" y="63"/>
                      <a:pt x="8" y="63"/>
                    </a:cubicBezTo>
                    <a:cubicBezTo>
                      <a:pt x="10" y="63"/>
                      <a:pt x="11" y="63"/>
                      <a:pt x="13" y="64"/>
                    </a:cubicBezTo>
                    <a:cubicBezTo>
                      <a:pt x="15" y="65"/>
                      <a:pt x="16" y="66"/>
                      <a:pt x="17" y="67"/>
                    </a:cubicBezTo>
                    <a:cubicBezTo>
                      <a:pt x="18" y="68"/>
                      <a:pt x="19" y="70"/>
                      <a:pt x="20" y="71"/>
                    </a:cubicBezTo>
                    <a:cubicBezTo>
                      <a:pt x="21" y="73"/>
                      <a:pt x="21" y="74"/>
                      <a:pt x="22" y="76"/>
                    </a:cubicBezTo>
                    <a:cubicBezTo>
                      <a:pt x="23" y="80"/>
                      <a:pt x="24" y="84"/>
                      <a:pt x="25" y="88"/>
                    </a:cubicBezTo>
                    <a:cubicBezTo>
                      <a:pt x="26" y="92"/>
                      <a:pt x="28" y="96"/>
                      <a:pt x="29" y="100"/>
                    </a:cubicBezTo>
                    <a:cubicBezTo>
                      <a:pt x="29" y="101"/>
                      <a:pt x="30" y="103"/>
                      <a:pt x="31" y="105"/>
                    </a:cubicBezTo>
                    <a:cubicBezTo>
                      <a:pt x="32" y="106"/>
                      <a:pt x="33" y="108"/>
                      <a:pt x="34" y="109"/>
                    </a:cubicBezTo>
                    <a:cubicBezTo>
                      <a:pt x="35" y="110"/>
                      <a:pt x="36" y="111"/>
                      <a:pt x="38" y="112"/>
                    </a:cubicBezTo>
                    <a:cubicBezTo>
                      <a:pt x="39" y="112"/>
                      <a:pt x="41" y="113"/>
                      <a:pt x="43" y="113"/>
                    </a:cubicBezTo>
                    <a:cubicBezTo>
                      <a:pt x="45" y="112"/>
                      <a:pt x="46" y="111"/>
                      <a:pt x="48" y="110"/>
                    </a:cubicBezTo>
                    <a:cubicBezTo>
                      <a:pt x="49" y="108"/>
                      <a:pt x="50" y="107"/>
                      <a:pt x="51" y="105"/>
                    </a:cubicBezTo>
                    <a:cubicBezTo>
                      <a:pt x="52" y="103"/>
                      <a:pt x="52" y="101"/>
                      <a:pt x="53" y="99"/>
                    </a:cubicBezTo>
                    <a:cubicBezTo>
                      <a:pt x="53" y="97"/>
                      <a:pt x="54" y="95"/>
                      <a:pt x="54" y="93"/>
                    </a:cubicBezTo>
                    <a:cubicBezTo>
                      <a:pt x="57" y="84"/>
                      <a:pt x="58" y="75"/>
                      <a:pt x="59" y="66"/>
                    </a:cubicBezTo>
                    <a:cubicBezTo>
                      <a:pt x="59" y="59"/>
                      <a:pt x="60" y="52"/>
                      <a:pt x="60" y="45"/>
                    </a:cubicBezTo>
                    <a:cubicBezTo>
                      <a:pt x="60" y="38"/>
                      <a:pt x="59" y="32"/>
                      <a:pt x="58" y="25"/>
                    </a:cubicBezTo>
                    <a:cubicBezTo>
                      <a:pt x="57" y="24"/>
                      <a:pt x="57" y="23"/>
                      <a:pt x="56" y="21"/>
                    </a:cubicBezTo>
                    <a:cubicBezTo>
                      <a:pt x="56" y="20"/>
                      <a:pt x="54" y="19"/>
                      <a:pt x="53" y="19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49" y="19"/>
                      <a:pt x="47" y="19"/>
                      <a:pt x="46" y="19"/>
                    </a:cubicBezTo>
                    <a:cubicBezTo>
                      <a:pt x="44" y="19"/>
                      <a:pt x="42" y="18"/>
                      <a:pt x="41" y="18"/>
                    </a:cubicBezTo>
                    <a:cubicBezTo>
                      <a:pt x="39" y="17"/>
                      <a:pt x="38" y="16"/>
                      <a:pt x="37" y="15"/>
                    </a:cubicBezTo>
                    <a:cubicBezTo>
                      <a:pt x="36" y="13"/>
                      <a:pt x="36" y="12"/>
                      <a:pt x="36" y="10"/>
                    </a:cubicBezTo>
                    <a:cubicBezTo>
                      <a:pt x="37" y="9"/>
                      <a:pt x="37" y="7"/>
                      <a:pt x="37" y="6"/>
                    </a:cubicBezTo>
                    <a:cubicBezTo>
                      <a:pt x="38" y="5"/>
                      <a:pt x="39" y="4"/>
                      <a:pt x="39" y="3"/>
                    </a:cubicBezTo>
                    <a:cubicBezTo>
                      <a:pt x="40" y="2"/>
                      <a:pt x="41" y="2"/>
                      <a:pt x="42" y="1"/>
                    </a:cubicBezTo>
                    <a:cubicBezTo>
                      <a:pt x="44" y="1"/>
                      <a:pt x="45" y="1"/>
                      <a:pt x="46" y="1"/>
                    </a:cubicBezTo>
                    <a:cubicBezTo>
                      <a:pt x="53" y="0"/>
                      <a:pt x="60" y="1"/>
                      <a:pt x="67" y="1"/>
                    </a:cubicBezTo>
                    <a:cubicBezTo>
                      <a:pt x="74" y="1"/>
                      <a:pt x="80" y="2"/>
                      <a:pt x="87" y="3"/>
                    </a:cubicBezTo>
                    <a:cubicBezTo>
                      <a:pt x="89" y="4"/>
                      <a:pt x="91" y="5"/>
                      <a:pt x="93" y="7"/>
                    </a:cubicBezTo>
                    <a:cubicBezTo>
                      <a:pt x="95" y="9"/>
                      <a:pt x="96" y="11"/>
                      <a:pt x="97" y="13"/>
                    </a:cubicBezTo>
                    <a:cubicBezTo>
                      <a:pt x="97" y="14"/>
                      <a:pt x="97" y="15"/>
                      <a:pt x="97" y="16"/>
                    </a:cubicBezTo>
                    <a:cubicBezTo>
                      <a:pt x="97" y="17"/>
                      <a:pt x="98" y="18"/>
                      <a:pt x="97" y="1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2" name="îṧḻïḍê">
                <a:extLst>
                  <a:ext uri="{FF2B5EF4-FFF2-40B4-BE49-F238E27FC236}">
                    <a16:creationId xmlns:a16="http://schemas.microsoft.com/office/drawing/2014/main" id="{B6A5CA15-F737-4D80-A4E6-CC0ECA6793D5}"/>
                  </a:ext>
                </a:extLst>
              </p:cNvPr>
              <p:cNvSpPr/>
              <p:nvPr/>
            </p:nvSpPr>
            <p:spPr>
              <a:xfrm flipH="1">
                <a:off x="10563374" y="2162628"/>
                <a:ext cx="112754" cy="131639"/>
              </a:xfrm>
              <a:custGeom>
                <a:avLst/>
                <a:gdLst/>
                <a:ahLst/>
                <a:cxnLst/>
                <a:rect l="l" t="t" r="r" b="b"/>
                <a:pathLst>
                  <a:path w="86" h="100" extrusionOk="0">
                    <a:moveTo>
                      <a:pt x="77" y="65"/>
                    </a:moveTo>
                    <a:cubicBezTo>
                      <a:pt x="76" y="66"/>
                      <a:pt x="76" y="67"/>
                      <a:pt x="75" y="68"/>
                    </a:cubicBezTo>
                    <a:cubicBezTo>
                      <a:pt x="75" y="70"/>
                      <a:pt x="74" y="71"/>
                      <a:pt x="73" y="72"/>
                    </a:cubicBezTo>
                    <a:cubicBezTo>
                      <a:pt x="71" y="76"/>
                      <a:pt x="67" y="80"/>
                      <a:pt x="64" y="84"/>
                    </a:cubicBezTo>
                    <a:cubicBezTo>
                      <a:pt x="60" y="87"/>
                      <a:pt x="56" y="91"/>
                      <a:pt x="51" y="93"/>
                    </a:cubicBezTo>
                    <a:cubicBezTo>
                      <a:pt x="49" y="95"/>
                      <a:pt x="46" y="96"/>
                      <a:pt x="44" y="97"/>
                    </a:cubicBezTo>
                    <a:cubicBezTo>
                      <a:pt x="42" y="98"/>
                      <a:pt x="39" y="99"/>
                      <a:pt x="37" y="99"/>
                    </a:cubicBezTo>
                    <a:cubicBezTo>
                      <a:pt x="34" y="100"/>
                      <a:pt x="31" y="100"/>
                      <a:pt x="29" y="100"/>
                    </a:cubicBezTo>
                    <a:cubicBezTo>
                      <a:pt x="26" y="100"/>
                      <a:pt x="24" y="100"/>
                      <a:pt x="21" y="99"/>
                    </a:cubicBezTo>
                    <a:cubicBezTo>
                      <a:pt x="18" y="98"/>
                      <a:pt x="15" y="96"/>
                      <a:pt x="13" y="94"/>
                    </a:cubicBezTo>
                    <a:cubicBezTo>
                      <a:pt x="11" y="92"/>
                      <a:pt x="9" y="90"/>
                      <a:pt x="7" y="87"/>
                    </a:cubicBezTo>
                    <a:cubicBezTo>
                      <a:pt x="6" y="85"/>
                      <a:pt x="5" y="82"/>
                      <a:pt x="4" y="79"/>
                    </a:cubicBezTo>
                    <a:cubicBezTo>
                      <a:pt x="3" y="76"/>
                      <a:pt x="2" y="73"/>
                      <a:pt x="1" y="70"/>
                    </a:cubicBezTo>
                    <a:cubicBezTo>
                      <a:pt x="0" y="64"/>
                      <a:pt x="0" y="58"/>
                      <a:pt x="0" y="52"/>
                    </a:cubicBezTo>
                    <a:cubicBezTo>
                      <a:pt x="1" y="46"/>
                      <a:pt x="3" y="40"/>
                      <a:pt x="5" y="34"/>
                    </a:cubicBezTo>
                    <a:cubicBezTo>
                      <a:pt x="8" y="29"/>
                      <a:pt x="11" y="24"/>
                      <a:pt x="15" y="20"/>
                    </a:cubicBezTo>
                    <a:cubicBezTo>
                      <a:pt x="19" y="16"/>
                      <a:pt x="23" y="12"/>
                      <a:pt x="28" y="9"/>
                    </a:cubicBezTo>
                    <a:cubicBezTo>
                      <a:pt x="31" y="8"/>
                      <a:pt x="33" y="6"/>
                      <a:pt x="36" y="5"/>
                    </a:cubicBezTo>
                    <a:cubicBezTo>
                      <a:pt x="38" y="3"/>
                      <a:pt x="41" y="2"/>
                      <a:pt x="44" y="2"/>
                    </a:cubicBezTo>
                    <a:cubicBezTo>
                      <a:pt x="47" y="1"/>
                      <a:pt x="50" y="0"/>
                      <a:pt x="52" y="0"/>
                    </a:cubicBezTo>
                    <a:cubicBezTo>
                      <a:pt x="55" y="0"/>
                      <a:pt x="58" y="1"/>
                      <a:pt x="61" y="2"/>
                    </a:cubicBezTo>
                    <a:cubicBezTo>
                      <a:pt x="65" y="3"/>
                      <a:pt x="70" y="6"/>
                      <a:pt x="73" y="9"/>
                    </a:cubicBezTo>
                    <a:cubicBezTo>
                      <a:pt x="77" y="12"/>
                      <a:pt x="80" y="15"/>
                      <a:pt x="83" y="19"/>
                    </a:cubicBezTo>
                    <a:cubicBezTo>
                      <a:pt x="83" y="20"/>
                      <a:pt x="84" y="20"/>
                      <a:pt x="84" y="21"/>
                    </a:cubicBezTo>
                    <a:cubicBezTo>
                      <a:pt x="85" y="22"/>
                      <a:pt x="85" y="22"/>
                      <a:pt x="85" y="23"/>
                    </a:cubicBezTo>
                    <a:cubicBezTo>
                      <a:pt x="86" y="24"/>
                      <a:pt x="86" y="25"/>
                      <a:pt x="86" y="26"/>
                    </a:cubicBezTo>
                    <a:cubicBezTo>
                      <a:pt x="86" y="27"/>
                      <a:pt x="86" y="28"/>
                      <a:pt x="86" y="28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3" y="31"/>
                      <a:pt x="83" y="31"/>
                      <a:pt x="83" y="31"/>
                    </a:cubicBezTo>
                    <a:cubicBezTo>
                      <a:pt x="82" y="32"/>
                      <a:pt x="81" y="32"/>
                      <a:pt x="80" y="32"/>
                    </a:cubicBezTo>
                    <a:cubicBezTo>
                      <a:pt x="78" y="31"/>
                      <a:pt x="77" y="30"/>
                      <a:pt x="75" y="29"/>
                    </a:cubicBezTo>
                    <a:cubicBezTo>
                      <a:pt x="74" y="28"/>
                      <a:pt x="73" y="26"/>
                      <a:pt x="72" y="25"/>
                    </a:cubicBezTo>
                    <a:cubicBezTo>
                      <a:pt x="70" y="24"/>
                      <a:pt x="69" y="23"/>
                      <a:pt x="68" y="22"/>
                    </a:cubicBezTo>
                    <a:cubicBezTo>
                      <a:pt x="67" y="21"/>
                      <a:pt x="65" y="20"/>
                      <a:pt x="63" y="19"/>
                    </a:cubicBezTo>
                    <a:cubicBezTo>
                      <a:pt x="61" y="18"/>
                      <a:pt x="59" y="17"/>
                      <a:pt x="57" y="17"/>
                    </a:cubicBezTo>
                    <a:cubicBezTo>
                      <a:pt x="54" y="17"/>
                      <a:pt x="52" y="17"/>
                      <a:pt x="50" y="17"/>
                    </a:cubicBezTo>
                    <a:cubicBezTo>
                      <a:pt x="48" y="17"/>
                      <a:pt x="45" y="18"/>
                      <a:pt x="43" y="19"/>
                    </a:cubicBezTo>
                    <a:cubicBezTo>
                      <a:pt x="41" y="20"/>
                      <a:pt x="39" y="21"/>
                      <a:pt x="37" y="22"/>
                    </a:cubicBezTo>
                    <a:cubicBezTo>
                      <a:pt x="33" y="25"/>
                      <a:pt x="29" y="28"/>
                      <a:pt x="26" y="31"/>
                    </a:cubicBezTo>
                    <a:cubicBezTo>
                      <a:pt x="23" y="35"/>
                      <a:pt x="21" y="39"/>
                      <a:pt x="19" y="43"/>
                    </a:cubicBezTo>
                    <a:cubicBezTo>
                      <a:pt x="17" y="47"/>
                      <a:pt x="16" y="51"/>
                      <a:pt x="15" y="55"/>
                    </a:cubicBezTo>
                    <a:cubicBezTo>
                      <a:pt x="14" y="58"/>
                      <a:pt x="14" y="62"/>
                      <a:pt x="14" y="66"/>
                    </a:cubicBezTo>
                    <a:cubicBezTo>
                      <a:pt x="14" y="68"/>
                      <a:pt x="15" y="70"/>
                      <a:pt x="15" y="72"/>
                    </a:cubicBezTo>
                    <a:cubicBezTo>
                      <a:pt x="16" y="74"/>
                      <a:pt x="17" y="75"/>
                      <a:pt x="18" y="77"/>
                    </a:cubicBezTo>
                    <a:cubicBezTo>
                      <a:pt x="19" y="78"/>
                      <a:pt x="21" y="80"/>
                      <a:pt x="22" y="81"/>
                    </a:cubicBezTo>
                    <a:cubicBezTo>
                      <a:pt x="24" y="82"/>
                      <a:pt x="26" y="83"/>
                      <a:pt x="28" y="83"/>
                    </a:cubicBezTo>
                    <a:cubicBezTo>
                      <a:pt x="29" y="84"/>
                      <a:pt x="31" y="84"/>
                      <a:pt x="32" y="84"/>
                    </a:cubicBezTo>
                    <a:cubicBezTo>
                      <a:pt x="34" y="84"/>
                      <a:pt x="35" y="84"/>
                      <a:pt x="37" y="84"/>
                    </a:cubicBezTo>
                    <a:cubicBezTo>
                      <a:pt x="38" y="84"/>
                      <a:pt x="40" y="83"/>
                      <a:pt x="41" y="83"/>
                    </a:cubicBezTo>
                    <a:cubicBezTo>
                      <a:pt x="43" y="82"/>
                      <a:pt x="44" y="81"/>
                      <a:pt x="45" y="80"/>
                    </a:cubicBezTo>
                    <a:cubicBezTo>
                      <a:pt x="48" y="78"/>
                      <a:pt x="51" y="76"/>
                      <a:pt x="53" y="74"/>
                    </a:cubicBezTo>
                    <a:cubicBezTo>
                      <a:pt x="55" y="71"/>
                      <a:pt x="56" y="69"/>
                      <a:pt x="57" y="66"/>
                    </a:cubicBezTo>
                    <a:cubicBezTo>
                      <a:pt x="58" y="65"/>
                      <a:pt x="59" y="64"/>
                      <a:pt x="59" y="62"/>
                    </a:cubicBezTo>
                    <a:cubicBezTo>
                      <a:pt x="59" y="61"/>
                      <a:pt x="60" y="60"/>
                      <a:pt x="60" y="58"/>
                    </a:cubicBezTo>
                    <a:cubicBezTo>
                      <a:pt x="58" y="58"/>
                      <a:pt x="56" y="58"/>
                      <a:pt x="54" y="57"/>
                    </a:cubicBezTo>
                    <a:cubicBezTo>
                      <a:pt x="52" y="57"/>
                      <a:pt x="50" y="57"/>
                      <a:pt x="48" y="57"/>
                    </a:cubicBezTo>
                    <a:cubicBezTo>
                      <a:pt x="46" y="56"/>
                      <a:pt x="44" y="56"/>
                      <a:pt x="42" y="56"/>
                    </a:cubicBezTo>
                    <a:cubicBezTo>
                      <a:pt x="40" y="56"/>
                      <a:pt x="38" y="55"/>
                      <a:pt x="36" y="55"/>
                    </a:cubicBezTo>
                    <a:cubicBezTo>
                      <a:pt x="35" y="54"/>
                      <a:pt x="34" y="54"/>
                      <a:pt x="34" y="53"/>
                    </a:cubicBezTo>
                    <a:cubicBezTo>
                      <a:pt x="33" y="52"/>
                      <a:pt x="33" y="51"/>
                      <a:pt x="32" y="50"/>
                    </a:cubicBezTo>
                    <a:cubicBezTo>
                      <a:pt x="32" y="48"/>
                      <a:pt x="32" y="47"/>
                      <a:pt x="32" y="46"/>
                    </a:cubicBezTo>
                    <a:cubicBezTo>
                      <a:pt x="33" y="45"/>
                      <a:pt x="33" y="44"/>
                      <a:pt x="33" y="43"/>
                    </a:cubicBezTo>
                    <a:cubicBezTo>
                      <a:pt x="34" y="42"/>
                      <a:pt x="34" y="41"/>
                      <a:pt x="35" y="41"/>
                    </a:cubicBezTo>
                    <a:cubicBezTo>
                      <a:pt x="38" y="40"/>
                      <a:pt x="41" y="40"/>
                      <a:pt x="45" y="40"/>
                    </a:cubicBezTo>
                    <a:cubicBezTo>
                      <a:pt x="48" y="40"/>
                      <a:pt x="51" y="41"/>
                      <a:pt x="54" y="41"/>
                    </a:cubicBezTo>
                    <a:cubicBezTo>
                      <a:pt x="57" y="41"/>
                      <a:pt x="60" y="41"/>
                      <a:pt x="64" y="42"/>
                    </a:cubicBezTo>
                    <a:cubicBezTo>
                      <a:pt x="67" y="42"/>
                      <a:pt x="70" y="43"/>
                      <a:pt x="73" y="44"/>
                    </a:cubicBezTo>
                    <a:cubicBezTo>
                      <a:pt x="75" y="44"/>
                      <a:pt x="77" y="46"/>
                      <a:pt x="78" y="47"/>
                    </a:cubicBezTo>
                    <a:cubicBezTo>
                      <a:pt x="79" y="49"/>
                      <a:pt x="80" y="51"/>
                      <a:pt x="80" y="53"/>
                    </a:cubicBezTo>
                    <a:cubicBezTo>
                      <a:pt x="80" y="55"/>
                      <a:pt x="80" y="57"/>
                      <a:pt x="79" y="59"/>
                    </a:cubicBezTo>
                    <a:cubicBezTo>
                      <a:pt x="79" y="61"/>
                      <a:pt x="78" y="63"/>
                      <a:pt x="77" y="6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3" name="íṥ1iḍé">
                <a:extLst>
                  <a:ext uri="{FF2B5EF4-FFF2-40B4-BE49-F238E27FC236}">
                    <a16:creationId xmlns:a16="http://schemas.microsoft.com/office/drawing/2014/main" id="{A61C9C8C-27C2-4036-A56E-F5D2D2B2D47C}"/>
                  </a:ext>
                </a:extLst>
              </p:cNvPr>
              <p:cNvSpPr/>
              <p:nvPr/>
            </p:nvSpPr>
            <p:spPr>
              <a:xfrm flipH="1">
                <a:off x="10701122" y="1924900"/>
                <a:ext cx="104977" cy="152746"/>
              </a:xfrm>
              <a:custGeom>
                <a:avLst/>
                <a:gdLst/>
                <a:ahLst/>
                <a:cxnLst/>
                <a:rect l="l" t="t" r="r" b="b"/>
                <a:pathLst>
                  <a:path w="80" h="116" extrusionOk="0">
                    <a:moveTo>
                      <a:pt x="63" y="7"/>
                    </a:moveTo>
                    <a:cubicBezTo>
                      <a:pt x="65" y="10"/>
                      <a:pt x="66" y="13"/>
                      <a:pt x="66" y="16"/>
                    </a:cubicBezTo>
                    <a:cubicBezTo>
                      <a:pt x="66" y="18"/>
                      <a:pt x="66" y="19"/>
                      <a:pt x="66" y="21"/>
                    </a:cubicBezTo>
                    <a:cubicBezTo>
                      <a:pt x="66" y="22"/>
                      <a:pt x="66" y="24"/>
                      <a:pt x="66" y="26"/>
                    </a:cubicBezTo>
                    <a:cubicBezTo>
                      <a:pt x="67" y="29"/>
                      <a:pt x="67" y="32"/>
                      <a:pt x="68" y="35"/>
                    </a:cubicBezTo>
                    <a:cubicBezTo>
                      <a:pt x="68" y="38"/>
                      <a:pt x="69" y="40"/>
                      <a:pt x="70" y="43"/>
                    </a:cubicBezTo>
                    <a:cubicBezTo>
                      <a:pt x="71" y="47"/>
                      <a:pt x="72" y="51"/>
                      <a:pt x="73" y="55"/>
                    </a:cubicBezTo>
                    <a:cubicBezTo>
                      <a:pt x="74" y="60"/>
                      <a:pt x="75" y="64"/>
                      <a:pt x="76" y="68"/>
                    </a:cubicBezTo>
                    <a:cubicBezTo>
                      <a:pt x="76" y="72"/>
                      <a:pt x="77" y="76"/>
                      <a:pt x="78" y="80"/>
                    </a:cubicBezTo>
                    <a:cubicBezTo>
                      <a:pt x="79" y="84"/>
                      <a:pt x="79" y="88"/>
                      <a:pt x="80" y="92"/>
                    </a:cubicBezTo>
                    <a:cubicBezTo>
                      <a:pt x="80" y="94"/>
                      <a:pt x="80" y="97"/>
                      <a:pt x="80" y="99"/>
                    </a:cubicBezTo>
                    <a:cubicBezTo>
                      <a:pt x="80" y="101"/>
                      <a:pt x="79" y="103"/>
                      <a:pt x="79" y="105"/>
                    </a:cubicBezTo>
                    <a:cubicBezTo>
                      <a:pt x="78" y="107"/>
                      <a:pt x="78" y="109"/>
                      <a:pt x="77" y="111"/>
                    </a:cubicBezTo>
                    <a:cubicBezTo>
                      <a:pt x="75" y="113"/>
                      <a:pt x="74" y="114"/>
                      <a:pt x="72" y="115"/>
                    </a:cubicBezTo>
                    <a:cubicBezTo>
                      <a:pt x="71" y="116"/>
                      <a:pt x="70" y="116"/>
                      <a:pt x="69" y="116"/>
                    </a:cubicBezTo>
                    <a:cubicBezTo>
                      <a:pt x="67" y="116"/>
                      <a:pt x="66" y="115"/>
                      <a:pt x="65" y="115"/>
                    </a:cubicBezTo>
                    <a:cubicBezTo>
                      <a:pt x="64" y="114"/>
                      <a:pt x="63" y="113"/>
                      <a:pt x="62" y="112"/>
                    </a:cubicBezTo>
                    <a:cubicBezTo>
                      <a:pt x="61" y="111"/>
                      <a:pt x="61" y="110"/>
                      <a:pt x="60" y="109"/>
                    </a:cubicBezTo>
                    <a:cubicBezTo>
                      <a:pt x="57" y="107"/>
                      <a:pt x="55" y="105"/>
                      <a:pt x="53" y="102"/>
                    </a:cubicBezTo>
                    <a:cubicBezTo>
                      <a:pt x="51" y="100"/>
                      <a:pt x="48" y="97"/>
                      <a:pt x="46" y="94"/>
                    </a:cubicBezTo>
                    <a:cubicBezTo>
                      <a:pt x="44" y="92"/>
                      <a:pt x="42" y="89"/>
                      <a:pt x="40" y="86"/>
                    </a:cubicBezTo>
                    <a:cubicBezTo>
                      <a:pt x="38" y="84"/>
                      <a:pt x="36" y="81"/>
                      <a:pt x="34" y="78"/>
                    </a:cubicBezTo>
                    <a:cubicBezTo>
                      <a:pt x="28" y="72"/>
                      <a:pt x="23" y="66"/>
                      <a:pt x="18" y="60"/>
                    </a:cubicBezTo>
                    <a:cubicBezTo>
                      <a:pt x="12" y="54"/>
                      <a:pt x="7" y="48"/>
                      <a:pt x="1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1" y="37"/>
                      <a:pt x="1" y="36"/>
                      <a:pt x="1" y="35"/>
                    </a:cubicBezTo>
                    <a:cubicBezTo>
                      <a:pt x="2" y="35"/>
                      <a:pt x="2" y="34"/>
                      <a:pt x="3" y="33"/>
                    </a:cubicBezTo>
                    <a:cubicBezTo>
                      <a:pt x="4" y="32"/>
                      <a:pt x="4" y="31"/>
                      <a:pt x="5" y="30"/>
                    </a:cubicBezTo>
                    <a:cubicBezTo>
                      <a:pt x="7" y="29"/>
                      <a:pt x="9" y="29"/>
                      <a:pt x="10" y="30"/>
                    </a:cubicBezTo>
                    <a:cubicBezTo>
                      <a:pt x="12" y="30"/>
                      <a:pt x="13" y="31"/>
                      <a:pt x="15" y="32"/>
                    </a:cubicBezTo>
                    <a:cubicBezTo>
                      <a:pt x="16" y="33"/>
                      <a:pt x="18" y="35"/>
                      <a:pt x="19" y="36"/>
                    </a:cubicBezTo>
                    <a:cubicBezTo>
                      <a:pt x="20" y="38"/>
                      <a:pt x="21" y="39"/>
                      <a:pt x="22" y="40"/>
                    </a:cubicBezTo>
                    <a:cubicBezTo>
                      <a:pt x="26" y="46"/>
                      <a:pt x="29" y="51"/>
                      <a:pt x="33" y="56"/>
                    </a:cubicBezTo>
                    <a:cubicBezTo>
                      <a:pt x="36" y="61"/>
                      <a:pt x="40" y="66"/>
                      <a:pt x="44" y="71"/>
                    </a:cubicBezTo>
                    <a:cubicBezTo>
                      <a:pt x="45" y="72"/>
                      <a:pt x="46" y="73"/>
                      <a:pt x="46" y="75"/>
                    </a:cubicBezTo>
                    <a:cubicBezTo>
                      <a:pt x="47" y="76"/>
                      <a:pt x="48" y="77"/>
                      <a:pt x="50" y="78"/>
                    </a:cubicBezTo>
                    <a:cubicBezTo>
                      <a:pt x="51" y="79"/>
                      <a:pt x="51" y="80"/>
                      <a:pt x="52" y="81"/>
                    </a:cubicBezTo>
                    <a:cubicBezTo>
                      <a:pt x="53" y="82"/>
                      <a:pt x="54" y="83"/>
                      <a:pt x="55" y="83"/>
                    </a:cubicBezTo>
                    <a:cubicBezTo>
                      <a:pt x="56" y="84"/>
                      <a:pt x="56" y="84"/>
                      <a:pt x="57" y="84"/>
                    </a:cubicBezTo>
                    <a:cubicBezTo>
                      <a:pt x="58" y="85"/>
                      <a:pt x="59" y="84"/>
                      <a:pt x="60" y="84"/>
                    </a:cubicBezTo>
                    <a:cubicBezTo>
                      <a:pt x="60" y="82"/>
                      <a:pt x="60" y="80"/>
                      <a:pt x="60" y="79"/>
                    </a:cubicBezTo>
                    <a:cubicBezTo>
                      <a:pt x="60" y="77"/>
                      <a:pt x="60" y="75"/>
                      <a:pt x="59" y="73"/>
                    </a:cubicBezTo>
                    <a:cubicBezTo>
                      <a:pt x="59" y="71"/>
                      <a:pt x="59" y="69"/>
                      <a:pt x="58" y="67"/>
                    </a:cubicBezTo>
                    <a:cubicBezTo>
                      <a:pt x="57" y="65"/>
                      <a:pt x="57" y="64"/>
                      <a:pt x="57" y="62"/>
                    </a:cubicBezTo>
                    <a:cubicBezTo>
                      <a:pt x="56" y="57"/>
                      <a:pt x="54" y="53"/>
                      <a:pt x="53" y="49"/>
                    </a:cubicBezTo>
                    <a:cubicBezTo>
                      <a:pt x="52" y="45"/>
                      <a:pt x="51" y="40"/>
                      <a:pt x="49" y="36"/>
                    </a:cubicBezTo>
                    <a:cubicBezTo>
                      <a:pt x="49" y="33"/>
                      <a:pt x="48" y="30"/>
                      <a:pt x="47" y="26"/>
                    </a:cubicBezTo>
                    <a:cubicBezTo>
                      <a:pt x="47" y="23"/>
                      <a:pt x="46" y="20"/>
                      <a:pt x="45" y="17"/>
                    </a:cubicBezTo>
                    <a:cubicBezTo>
                      <a:pt x="45" y="15"/>
                      <a:pt x="45" y="14"/>
                      <a:pt x="45" y="12"/>
                    </a:cubicBezTo>
                    <a:cubicBezTo>
                      <a:pt x="45" y="11"/>
                      <a:pt x="45" y="10"/>
                      <a:pt x="45" y="8"/>
                    </a:cubicBezTo>
                    <a:cubicBezTo>
                      <a:pt x="45" y="7"/>
                      <a:pt x="45" y="5"/>
                      <a:pt x="45" y="4"/>
                    </a:cubicBezTo>
                    <a:cubicBezTo>
                      <a:pt x="46" y="3"/>
                      <a:pt x="46" y="1"/>
                      <a:pt x="47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3" y="0"/>
                      <a:pt x="54" y="1"/>
                      <a:pt x="56" y="1"/>
                    </a:cubicBezTo>
                    <a:cubicBezTo>
                      <a:pt x="57" y="2"/>
                      <a:pt x="59" y="3"/>
                      <a:pt x="60" y="4"/>
                    </a:cubicBezTo>
                    <a:cubicBezTo>
                      <a:pt x="61" y="5"/>
                      <a:pt x="62" y="6"/>
                      <a:pt x="63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4" name="ïṩḷïḋè">
                <a:extLst>
                  <a:ext uri="{FF2B5EF4-FFF2-40B4-BE49-F238E27FC236}">
                    <a16:creationId xmlns:a16="http://schemas.microsoft.com/office/drawing/2014/main" id="{4FB7CFB3-27D2-4BFA-9BAE-D82EF603B9A8}"/>
                  </a:ext>
                </a:extLst>
              </p:cNvPr>
              <p:cNvSpPr/>
              <p:nvPr/>
            </p:nvSpPr>
            <p:spPr>
              <a:xfrm flipH="1">
                <a:off x="10421737" y="1933232"/>
                <a:ext cx="140526" cy="136638"/>
              </a:xfrm>
              <a:custGeom>
                <a:avLst/>
                <a:gdLst/>
                <a:ahLst/>
                <a:cxnLst/>
                <a:rect l="l" t="t" r="r" b="b"/>
                <a:pathLst>
                  <a:path w="107" h="104" extrusionOk="0">
                    <a:moveTo>
                      <a:pt x="90" y="43"/>
                    </a:moveTo>
                    <a:cubicBezTo>
                      <a:pt x="85" y="47"/>
                      <a:pt x="81" y="50"/>
                      <a:pt x="76" y="54"/>
                    </a:cubicBezTo>
                    <a:cubicBezTo>
                      <a:pt x="72" y="58"/>
                      <a:pt x="67" y="61"/>
                      <a:pt x="62" y="65"/>
                    </a:cubicBezTo>
                    <a:cubicBezTo>
                      <a:pt x="57" y="69"/>
                      <a:pt x="53" y="72"/>
                      <a:pt x="48" y="76"/>
                    </a:cubicBezTo>
                    <a:cubicBezTo>
                      <a:pt x="43" y="79"/>
                      <a:pt x="38" y="83"/>
                      <a:pt x="34" y="87"/>
                    </a:cubicBezTo>
                    <a:cubicBezTo>
                      <a:pt x="32" y="88"/>
                      <a:pt x="31" y="89"/>
                      <a:pt x="30" y="90"/>
                    </a:cubicBezTo>
                    <a:cubicBezTo>
                      <a:pt x="29" y="91"/>
                      <a:pt x="28" y="92"/>
                      <a:pt x="27" y="93"/>
                    </a:cubicBezTo>
                    <a:cubicBezTo>
                      <a:pt x="26" y="94"/>
                      <a:pt x="24" y="95"/>
                      <a:pt x="23" y="96"/>
                    </a:cubicBezTo>
                    <a:cubicBezTo>
                      <a:pt x="22" y="97"/>
                      <a:pt x="21" y="98"/>
                      <a:pt x="20" y="99"/>
                    </a:cubicBezTo>
                    <a:cubicBezTo>
                      <a:pt x="19" y="100"/>
                      <a:pt x="18" y="100"/>
                      <a:pt x="17" y="101"/>
                    </a:cubicBezTo>
                    <a:cubicBezTo>
                      <a:pt x="15" y="102"/>
                      <a:pt x="14" y="103"/>
                      <a:pt x="13" y="103"/>
                    </a:cubicBezTo>
                    <a:cubicBezTo>
                      <a:pt x="12" y="104"/>
                      <a:pt x="10" y="104"/>
                      <a:pt x="9" y="104"/>
                    </a:cubicBezTo>
                    <a:cubicBezTo>
                      <a:pt x="7" y="104"/>
                      <a:pt x="6" y="104"/>
                      <a:pt x="5" y="103"/>
                    </a:cubicBezTo>
                    <a:cubicBezTo>
                      <a:pt x="3" y="102"/>
                      <a:pt x="2" y="100"/>
                      <a:pt x="1" y="98"/>
                    </a:cubicBezTo>
                    <a:cubicBezTo>
                      <a:pt x="0" y="96"/>
                      <a:pt x="0" y="94"/>
                      <a:pt x="0" y="92"/>
                    </a:cubicBezTo>
                    <a:cubicBezTo>
                      <a:pt x="2" y="90"/>
                      <a:pt x="4" y="87"/>
                      <a:pt x="6" y="85"/>
                    </a:cubicBezTo>
                    <a:cubicBezTo>
                      <a:pt x="8" y="83"/>
                      <a:pt x="11" y="80"/>
                      <a:pt x="13" y="78"/>
                    </a:cubicBezTo>
                    <a:cubicBezTo>
                      <a:pt x="17" y="75"/>
                      <a:pt x="21" y="71"/>
                      <a:pt x="26" y="68"/>
                    </a:cubicBezTo>
                    <a:cubicBezTo>
                      <a:pt x="30" y="65"/>
                      <a:pt x="34" y="62"/>
                      <a:pt x="38" y="58"/>
                    </a:cubicBezTo>
                    <a:cubicBezTo>
                      <a:pt x="43" y="55"/>
                      <a:pt x="47" y="52"/>
                      <a:pt x="52" y="48"/>
                    </a:cubicBezTo>
                    <a:cubicBezTo>
                      <a:pt x="56" y="45"/>
                      <a:pt x="60" y="42"/>
                      <a:pt x="65" y="38"/>
                    </a:cubicBezTo>
                    <a:cubicBezTo>
                      <a:pt x="66" y="37"/>
                      <a:pt x="68" y="35"/>
                      <a:pt x="69" y="34"/>
                    </a:cubicBezTo>
                    <a:cubicBezTo>
                      <a:pt x="71" y="33"/>
                      <a:pt x="72" y="31"/>
                      <a:pt x="74" y="30"/>
                    </a:cubicBezTo>
                    <a:cubicBezTo>
                      <a:pt x="75" y="28"/>
                      <a:pt x="76" y="27"/>
                      <a:pt x="78" y="25"/>
                    </a:cubicBezTo>
                    <a:cubicBezTo>
                      <a:pt x="79" y="23"/>
                      <a:pt x="80" y="22"/>
                      <a:pt x="80" y="20"/>
                    </a:cubicBezTo>
                    <a:cubicBezTo>
                      <a:pt x="80" y="18"/>
                      <a:pt x="80" y="17"/>
                      <a:pt x="80" y="16"/>
                    </a:cubicBezTo>
                    <a:cubicBezTo>
                      <a:pt x="80" y="15"/>
                      <a:pt x="80" y="13"/>
                      <a:pt x="80" y="12"/>
                    </a:cubicBezTo>
                    <a:cubicBezTo>
                      <a:pt x="80" y="11"/>
                      <a:pt x="81" y="9"/>
                      <a:pt x="81" y="8"/>
                    </a:cubicBezTo>
                    <a:cubicBezTo>
                      <a:pt x="82" y="7"/>
                      <a:pt x="83" y="6"/>
                      <a:pt x="84" y="5"/>
                    </a:cubicBezTo>
                    <a:cubicBezTo>
                      <a:pt x="85" y="4"/>
                      <a:pt x="86" y="3"/>
                      <a:pt x="88" y="2"/>
                    </a:cubicBezTo>
                    <a:cubicBezTo>
                      <a:pt x="90" y="1"/>
                      <a:pt x="91" y="1"/>
                      <a:pt x="93" y="1"/>
                    </a:cubicBezTo>
                    <a:cubicBezTo>
                      <a:pt x="95" y="0"/>
                      <a:pt x="96" y="0"/>
                      <a:pt x="98" y="0"/>
                    </a:cubicBezTo>
                    <a:cubicBezTo>
                      <a:pt x="100" y="1"/>
                      <a:pt x="101" y="1"/>
                      <a:pt x="103" y="2"/>
                    </a:cubicBezTo>
                    <a:cubicBezTo>
                      <a:pt x="104" y="4"/>
                      <a:pt x="105" y="7"/>
                      <a:pt x="106" y="9"/>
                    </a:cubicBezTo>
                    <a:cubicBezTo>
                      <a:pt x="106" y="12"/>
                      <a:pt x="107" y="14"/>
                      <a:pt x="106" y="17"/>
                    </a:cubicBezTo>
                    <a:cubicBezTo>
                      <a:pt x="106" y="19"/>
                      <a:pt x="106" y="22"/>
                      <a:pt x="105" y="24"/>
                    </a:cubicBezTo>
                    <a:cubicBezTo>
                      <a:pt x="104" y="26"/>
                      <a:pt x="103" y="29"/>
                      <a:pt x="102" y="31"/>
                    </a:cubicBezTo>
                    <a:cubicBezTo>
                      <a:pt x="98" y="35"/>
                      <a:pt x="94" y="39"/>
                      <a:pt x="90" y="4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5" name="îšḷîḋe">
                <a:extLst>
                  <a:ext uri="{FF2B5EF4-FFF2-40B4-BE49-F238E27FC236}">
                    <a16:creationId xmlns:a16="http://schemas.microsoft.com/office/drawing/2014/main" id="{BE6110D5-D17A-4802-B00D-5A367DCE8C49}"/>
                  </a:ext>
                </a:extLst>
              </p:cNvPr>
              <p:cNvSpPr/>
              <p:nvPr/>
            </p:nvSpPr>
            <p:spPr>
              <a:xfrm flipH="1">
                <a:off x="9813532" y="1837140"/>
                <a:ext cx="245504" cy="245504"/>
              </a:xfrm>
              <a:custGeom>
                <a:avLst/>
                <a:gdLst/>
                <a:ahLst/>
                <a:cxnLst/>
                <a:rect l="l" t="t" r="r" b="b"/>
                <a:pathLst>
                  <a:path w="187" h="187" extrusionOk="0">
                    <a:moveTo>
                      <a:pt x="185" y="67"/>
                    </a:moveTo>
                    <a:cubicBezTo>
                      <a:pt x="183" y="70"/>
                      <a:pt x="180" y="73"/>
                      <a:pt x="178" y="75"/>
                    </a:cubicBezTo>
                    <a:cubicBezTo>
                      <a:pt x="175" y="78"/>
                      <a:pt x="172" y="80"/>
                      <a:pt x="169" y="82"/>
                    </a:cubicBezTo>
                    <a:cubicBezTo>
                      <a:pt x="166" y="84"/>
                      <a:pt x="163" y="86"/>
                      <a:pt x="159" y="88"/>
                    </a:cubicBezTo>
                    <a:cubicBezTo>
                      <a:pt x="156" y="90"/>
                      <a:pt x="153" y="92"/>
                      <a:pt x="150" y="94"/>
                    </a:cubicBezTo>
                    <a:cubicBezTo>
                      <a:pt x="142" y="98"/>
                      <a:pt x="134" y="102"/>
                      <a:pt x="126" y="106"/>
                    </a:cubicBezTo>
                    <a:cubicBezTo>
                      <a:pt x="119" y="111"/>
                      <a:pt x="111" y="115"/>
                      <a:pt x="103" y="120"/>
                    </a:cubicBezTo>
                    <a:cubicBezTo>
                      <a:pt x="95" y="126"/>
                      <a:pt x="86" y="132"/>
                      <a:pt x="78" y="139"/>
                    </a:cubicBezTo>
                    <a:cubicBezTo>
                      <a:pt x="70" y="146"/>
                      <a:pt x="62" y="152"/>
                      <a:pt x="53" y="159"/>
                    </a:cubicBezTo>
                    <a:cubicBezTo>
                      <a:pt x="50" y="162"/>
                      <a:pt x="46" y="165"/>
                      <a:pt x="43" y="168"/>
                    </a:cubicBezTo>
                    <a:cubicBezTo>
                      <a:pt x="39" y="171"/>
                      <a:pt x="36" y="174"/>
                      <a:pt x="33" y="177"/>
                    </a:cubicBezTo>
                    <a:cubicBezTo>
                      <a:pt x="31" y="178"/>
                      <a:pt x="29" y="179"/>
                      <a:pt x="27" y="181"/>
                    </a:cubicBezTo>
                    <a:cubicBezTo>
                      <a:pt x="26" y="182"/>
                      <a:pt x="24" y="183"/>
                      <a:pt x="22" y="184"/>
                    </a:cubicBezTo>
                    <a:cubicBezTo>
                      <a:pt x="20" y="185"/>
                      <a:pt x="18" y="186"/>
                      <a:pt x="16" y="186"/>
                    </a:cubicBezTo>
                    <a:cubicBezTo>
                      <a:pt x="14" y="187"/>
                      <a:pt x="12" y="187"/>
                      <a:pt x="10" y="186"/>
                    </a:cubicBezTo>
                    <a:cubicBezTo>
                      <a:pt x="7" y="185"/>
                      <a:pt x="5" y="183"/>
                      <a:pt x="3" y="180"/>
                    </a:cubicBezTo>
                    <a:cubicBezTo>
                      <a:pt x="1" y="178"/>
                      <a:pt x="0" y="175"/>
                      <a:pt x="0" y="172"/>
                    </a:cubicBezTo>
                    <a:cubicBezTo>
                      <a:pt x="0" y="169"/>
                      <a:pt x="0" y="166"/>
                      <a:pt x="1" y="163"/>
                    </a:cubicBezTo>
                    <a:cubicBezTo>
                      <a:pt x="1" y="160"/>
                      <a:pt x="3" y="157"/>
                      <a:pt x="5" y="155"/>
                    </a:cubicBezTo>
                    <a:cubicBezTo>
                      <a:pt x="8" y="150"/>
                      <a:pt x="12" y="145"/>
                      <a:pt x="16" y="141"/>
                    </a:cubicBezTo>
                    <a:cubicBezTo>
                      <a:pt x="21" y="137"/>
                      <a:pt x="25" y="133"/>
                      <a:pt x="30" y="130"/>
                    </a:cubicBezTo>
                    <a:cubicBezTo>
                      <a:pt x="35" y="126"/>
                      <a:pt x="40" y="122"/>
                      <a:pt x="45" y="119"/>
                    </a:cubicBezTo>
                    <a:cubicBezTo>
                      <a:pt x="50" y="116"/>
                      <a:pt x="56" y="113"/>
                      <a:pt x="61" y="109"/>
                    </a:cubicBezTo>
                    <a:cubicBezTo>
                      <a:pt x="56" y="107"/>
                      <a:pt x="52" y="104"/>
                      <a:pt x="50" y="100"/>
                    </a:cubicBezTo>
                    <a:cubicBezTo>
                      <a:pt x="47" y="96"/>
                      <a:pt x="46" y="92"/>
                      <a:pt x="45" y="88"/>
                    </a:cubicBezTo>
                    <a:cubicBezTo>
                      <a:pt x="44" y="83"/>
                      <a:pt x="43" y="79"/>
                      <a:pt x="43" y="74"/>
                    </a:cubicBezTo>
                    <a:cubicBezTo>
                      <a:pt x="44" y="69"/>
                      <a:pt x="45" y="64"/>
                      <a:pt x="46" y="60"/>
                    </a:cubicBezTo>
                    <a:cubicBezTo>
                      <a:pt x="48" y="51"/>
                      <a:pt x="51" y="43"/>
                      <a:pt x="56" y="34"/>
                    </a:cubicBezTo>
                    <a:cubicBezTo>
                      <a:pt x="60" y="26"/>
                      <a:pt x="65" y="18"/>
                      <a:pt x="70" y="11"/>
                    </a:cubicBezTo>
                    <a:cubicBezTo>
                      <a:pt x="72" y="9"/>
                      <a:pt x="73" y="7"/>
                      <a:pt x="75" y="6"/>
                    </a:cubicBezTo>
                    <a:cubicBezTo>
                      <a:pt x="77" y="4"/>
                      <a:pt x="79" y="3"/>
                      <a:pt x="81" y="2"/>
                    </a:cubicBezTo>
                    <a:cubicBezTo>
                      <a:pt x="84" y="1"/>
                      <a:pt x="86" y="0"/>
                      <a:pt x="89" y="0"/>
                    </a:cubicBezTo>
                    <a:cubicBezTo>
                      <a:pt x="91" y="0"/>
                      <a:pt x="93" y="0"/>
                      <a:pt x="96" y="1"/>
                    </a:cubicBezTo>
                    <a:cubicBezTo>
                      <a:pt x="98" y="2"/>
                      <a:pt x="100" y="4"/>
                      <a:pt x="100" y="5"/>
                    </a:cubicBezTo>
                    <a:cubicBezTo>
                      <a:pt x="101" y="7"/>
                      <a:pt x="101" y="9"/>
                      <a:pt x="101" y="11"/>
                    </a:cubicBezTo>
                    <a:cubicBezTo>
                      <a:pt x="101" y="13"/>
                      <a:pt x="101" y="15"/>
                      <a:pt x="100" y="17"/>
                    </a:cubicBezTo>
                    <a:cubicBezTo>
                      <a:pt x="99" y="19"/>
                      <a:pt x="99" y="21"/>
                      <a:pt x="98" y="23"/>
                    </a:cubicBezTo>
                    <a:cubicBezTo>
                      <a:pt x="95" y="29"/>
                      <a:pt x="92" y="35"/>
                      <a:pt x="89" y="41"/>
                    </a:cubicBezTo>
                    <a:cubicBezTo>
                      <a:pt x="86" y="46"/>
                      <a:pt x="83" y="52"/>
                      <a:pt x="80" y="58"/>
                    </a:cubicBezTo>
                    <a:cubicBezTo>
                      <a:pt x="80" y="60"/>
                      <a:pt x="79" y="63"/>
                      <a:pt x="78" y="65"/>
                    </a:cubicBezTo>
                    <a:cubicBezTo>
                      <a:pt x="78" y="68"/>
                      <a:pt x="77" y="70"/>
                      <a:pt x="78" y="73"/>
                    </a:cubicBezTo>
                    <a:cubicBezTo>
                      <a:pt x="78" y="75"/>
                      <a:pt x="78" y="77"/>
                      <a:pt x="79" y="79"/>
                    </a:cubicBezTo>
                    <a:cubicBezTo>
                      <a:pt x="81" y="81"/>
                      <a:pt x="82" y="83"/>
                      <a:pt x="85" y="84"/>
                    </a:cubicBezTo>
                    <a:cubicBezTo>
                      <a:pt x="89" y="85"/>
                      <a:pt x="93" y="84"/>
                      <a:pt x="97" y="83"/>
                    </a:cubicBezTo>
                    <a:cubicBezTo>
                      <a:pt x="100" y="82"/>
                      <a:pt x="104" y="80"/>
                      <a:pt x="108" y="78"/>
                    </a:cubicBezTo>
                    <a:cubicBezTo>
                      <a:pt x="111" y="76"/>
                      <a:pt x="115" y="73"/>
                      <a:pt x="118" y="71"/>
                    </a:cubicBezTo>
                    <a:cubicBezTo>
                      <a:pt x="121" y="69"/>
                      <a:pt x="125" y="66"/>
                      <a:pt x="128" y="64"/>
                    </a:cubicBezTo>
                    <a:cubicBezTo>
                      <a:pt x="131" y="62"/>
                      <a:pt x="135" y="60"/>
                      <a:pt x="138" y="57"/>
                    </a:cubicBezTo>
                    <a:cubicBezTo>
                      <a:pt x="141" y="55"/>
                      <a:pt x="145" y="52"/>
                      <a:pt x="148" y="50"/>
                    </a:cubicBezTo>
                    <a:cubicBezTo>
                      <a:pt x="151" y="48"/>
                      <a:pt x="155" y="45"/>
                      <a:pt x="158" y="43"/>
                    </a:cubicBezTo>
                    <a:cubicBezTo>
                      <a:pt x="162" y="41"/>
                      <a:pt x="165" y="39"/>
                      <a:pt x="169" y="38"/>
                    </a:cubicBezTo>
                    <a:cubicBezTo>
                      <a:pt x="171" y="37"/>
                      <a:pt x="173" y="37"/>
                      <a:pt x="174" y="38"/>
                    </a:cubicBezTo>
                    <a:cubicBezTo>
                      <a:pt x="176" y="38"/>
                      <a:pt x="177" y="39"/>
                      <a:pt x="179" y="40"/>
                    </a:cubicBezTo>
                    <a:cubicBezTo>
                      <a:pt x="181" y="42"/>
                      <a:pt x="182" y="43"/>
                      <a:pt x="184" y="46"/>
                    </a:cubicBezTo>
                    <a:cubicBezTo>
                      <a:pt x="185" y="48"/>
                      <a:pt x="186" y="50"/>
                      <a:pt x="187" y="52"/>
                    </a:cubicBezTo>
                    <a:cubicBezTo>
                      <a:pt x="187" y="55"/>
                      <a:pt x="187" y="57"/>
                      <a:pt x="187" y="60"/>
                    </a:cubicBezTo>
                    <a:cubicBezTo>
                      <a:pt x="187" y="62"/>
                      <a:pt x="186" y="64"/>
                      <a:pt x="185" y="6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6" name="îślïdè">
                <a:extLst>
                  <a:ext uri="{FF2B5EF4-FFF2-40B4-BE49-F238E27FC236}">
                    <a16:creationId xmlns:a16="http://schemas.microsoft.com/office/drawing/2014/main" id="{5234ADB6-14D8-40C1-92F1-00B6E169EBA2}"/>
                  </a:ext>
                </a:extLst>
              </p:cNvPr>
              <p:cNvSpPr/>
              <p:nvPr/>
            </p:nvSpPr>
            <p:spPr>
              <a:xfrm flipH="1">
                <a:off x="9979053" y="1629962"/>
                <a:ext cx="166631" cy="225508"/>
              </a:xfrm>
              <a:custGeom>
                <a:avLst/>
                <a:gdLst/>
                <a:ahLst/>
                <a:cxnLst/>
                <a:rect l="l" t="t" r="r" b="b"/>
                <a:pathLst>
                  <a:path w="127" h="172" extrusionOk="0">
                    <a:moveTo>
                      <a:pt x="122" y="79"/>
                    </a:moveTo>
                    <a:cubicBezTo>
                      <a:pt x="124" y="83"/>
                      <a:pt x="125" y="87"/>
                      <a:pt x="126" y="91"/>
                    </a:cubicBezTo>
                    <a:cubicBezTo>
                      <a:pt x="127" y="95"/>
                      <a:pt x="127" y="99"/>
                      <a:pt x="126" y="103"/>
                    </a:cubicBezTo>
                    <a:cubicBezTo>
                      <a:pt x="126" y="108"/>
                      <a:pt x="125" y="112"/>
                      <a:pt x="124" y="116"/>
                    </a:cubicBezTo>
                    <a:cubicBezTo>
                      <a:pt x="123" y="120"/>
                      <a:pt x="121" y="124"/>
                      <a:pt x="120" y="128"/>
                    </a:cubicBezTo>
                    <a:cubicBezTo>
                      <a:pt x="116" y="135"/>
                      <a:pt x="112" y="142"/>
                      <a:pt x="107" y="149"/>
                    </a:cubicBezTo>
                    <a:cubicBezTo>
                      <a:pt x="101" y="155"/>
                      <a:pt x="95" y="160"/>
                      <a:pt x="88" y="164"/>
                    </a:cubicBezTo>
                    <a:cubicBezTo>
                      <a:pt x="84" y="167"/>
                      <a:pt x="79" y="168"/>
                      <a:pt x="75" y="170"/>
                    </a:cubicBezTo>
                    <a:cubicBezTo>
                      <a:pt x="70" y="171"/>
                      <a:pt x="65" y="172"/>
                      <a:pt x="61" y="172"/>
                    </a:cubicBezTo>
                    <a:cubicBezTo>
                      <a:pt x="58" y="170"/>
                      <a:pt x="56" y="168"/>
                      <a:pt x="53" y="166"/>
                    </a:cubicBezTo>
                    <a:cubicBezTo>
                      <a:pt x="51" y="163"/>
                      <a:pt x="49" y="161"/>
                      <a:pt x="47" y="158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4"/>
                      <a:pt x="51" y="153"/>
                      <a:pt x="53" y="153"/>
                    </a:cubicBezTo>
                    <a:cubicBezTo>
                      <a:pt x="55" y="152"/>
                      <a:pt x="57" y="152"/>
                      <a:pt x="59" y="151"/>
                    </a:cubicBezTo>
                    <a:cubicBezTo>
                      <a:pt x="61" y="151"/>
                      <a:pt x="63" y="150"/>
                      <a:pt x="65" y="149"/>
                    </a:cubicBezTo>
                    <a:cubicBezTo>
                      <a:pt x="66" y="149"/>
                      <a:pt x="68" y="148"/>
                      <a:pt x="70" y="147"/>
                    </a:cubicBezTo>
                    <a:cubicBezTo>
                      <a:pt x="73" y="145"/>
                      <a:pt x="76" y="143"/>
                      <a:pt x="80" y="141"/>
                    </a:cubicBezTo>
                    <a:cubicBezTo>
                      <a:pt x="83" y="139"/>
                      <a:pt x="86" y="136"/>
                      <a:pt x="89" y="133"/>
                    </a:cubicBezTo>
                    <a:cubicBezTo>
                      <a:pt x="92" y="130"/>
                      <a:pt x="94" y="127"/>
                      <a:pt x="96" y="124"/>
                    </a:cubicBezTo>
                    <a:cubicBezTo>
                      <a:pt x="99" y="120"/>
                      <a:pt x="100" y="117"/>
                      <a:pt x="102" y="113"/>
                    </a:cubicBezTo>
                    <a:cubicBezTo>
                      <a:pt x="103" y="110"/>
                      <a:pt x="103" y="106"/>
                      <a:pt x="103" y="102"/>
                    </a:cubicBezTo>
                    <a:cubicBezTo>
                      <a:pt x="103" y="98"/>
                      <a:pt x="102" y="94"/>
                      <a:pt x="100" y="91"/>
                    </a:cubicBezTo>
                    <a:cubicBezTo>
                      <a:pt x="99" y="90"/>
                      <a:pt x="98" y="89"/>
                      <a:pt x="98" y="88"/>
                    </a:cubicBezTo>
                    <a:cubicBezTo>
                      <a:pt x="97" y="86"/>
                      <a:pt x="96" y="85"/>
                      <a:pt x="96" y="84"/>
                    </a:cubicBezTo>
                    <a:cubicBezTo>
                      <a:pt x="95" y="83"/>
                      <a:pt x="94" y="83"/>
                      <a:pt x="93" y="82"/>
                    </a:cubicBezTo>
                    <a:cubicBezTo>
                      <a:pt x="92" y="82"/>
                      <a:pt x="91" y="82"/>
                      <a:pt x="90" y="83"/>
                    </a:cubicBezTo>
                    <a:cubicBezTo>
                      <a:pt x="87" y="84"/>
                      <a:pt x="84" y="86"/>
                      <a:pt x="82" y="88"/>
                    </a:cubicBezTo>
                    <a:cubicBezTo>
                      <a:pt x="79" y="90"/>
                      <a:pt x="77" y="92"/>
                      <a:pt x="74" y="94"/>
                    </a:cubicBezTo>
                    <a:cubicBezTo>
                      <a:pt x="72" y="96"/>
                      <a:pt x="69" y="98"/>
                      <a:pt x="67" y="100"/>
                    </a:cubicBezTo>
                    <a:cubicBezTo>
                      <a:pt x="64" y="101"/>
                      <a:pt x="61" y="103"/>
                      <a:pt x="59" y="105"/>
                    </a:cubicBezTo>
                    <a:cubicBezTo>
                      <a:pt x="57" y="107"/>
                      <a:pt x="54" y="108"/>
                      <a:pt x="52" y="109"/>
                    </a:cubicBezTo>
                    <a:cubicBezTo>
                      <a:pt x="50" y="111"/>
                      <a:pt x="47" y="112"/>
                      <a:pt x="45" y="113"/>
                    </a:cubicBezTo>
                    <a:cubicBezTo>
                      <a:pt x="42" y="114"/>
                      <a:pt x="40" y="115"/>
                      <a:pt x="37" y="115"/>
                    </a:cubicBezTo>
                    <a:cubicBezTo>
                      <a:pt x="35" y="115"/>
                      <a:pt x="32" y="116"/>
                      <a:pt x="29" y="115"/>
                    </a:cubicBezTo>
                    <a:cubicBezTo>
                      <a:pt x="27" y="115"/>
                      <a:pt x="24" y="114"/>
                      <a:pt x="22" y="113"/>
                    </a:cubicBezTo>
                    <a:cubicBezTo>
                      <a:pt x="20" y="112"/>
                      <a:pt x="18" y="110"/>
                      <a:pt x="16" y="109"/>
                    </a:cubicBezTo>
                    <a:cubicBezTo>
                      <a:pt x="14" y="107"/>
                      <a:pt x="13" y="105"/>
                      <a:pt x="11" y="103"/>
                    </a:cubicBezTo>
                    <a:cubicBezTo>
                      <a:pt x="10" y="101"/>
                      <a:pt x="9" y="98"/>
                      <a:pt x="7" y="96"/>
                    </a:cubicBezTo>
                    <a:cubicBezTo>
                      <a:pt x="4" y="89"/>
                      <a:pt x="1" y="82"/>
                      <a:pt x="1" y="74"/>
                    </a:cubicBezTo>
                    <a:cubicBezTo>
                      <a:pt x="0" y="66"/>
                      <a:pt x="0" y="58"/>
                      <a:pt x="2" y="50"/>
                    </a:cubicBezTo>
                    <a:cubicBezTo>
                      <a:pt x="2" y="46"/>
                      <a:pt x="3" y="42"/>
                      <a:pt x="5" y="38"/>
                    </a:cubicBezTo>
                    <a:cubicBezTo>
                      <a:pt x="6" y="34"/>
                      <a:pt x="8" y="31"/>
                      <a:pt x="10" y="27"/>
                    </a:cubicBezTo>
                    <a:cubicBezTo>
                      <a:pt x="12" y="24"/>
                      <a:pt x="14" y="21"/>
                      <a:pt x="17" y="18"/>
                    </a:cubicBezTo>
                    <a:cubicBezTo>
                      <a:pt x="20" y="15"/>
                      <a:pt x="23" y="12"/>
                      <a:pt x="26" y="10"/>
                    </a:cubicBezTo>
                    <a:cubicBezTo>
                      <a:pt x="30" y="8"/>
                      <a:pt x="34" y="5"/>
                      <a:pt x="39" y="4"/>
                    </a:cubicBezTo>
                    <a:cubicBezTo>
                      <a:pt x="43" y="2"/>
                      <a:pt x="48" y="1"/>
                      <a:pt x="53" y="0"/>
                    </a:cubicBezTo>
                    <a:cubicBezTo>
                      <a:pt x="58" y="0"/>
                      <a:pt x="62" y="0"/>
                      <a:pt x="67" y="2"/>
                    </a:cubicBezTo>
                    <a:cubicBezTo>
                      <a:pt x="71" y="3"/>
                      <a:pt x="76" y="5"/>
                      <a:pt x="79" y="8"/>
                    </a:cubicBezTo>
                    <a:cubicBezTo>
                      <a:pt x="80" y="8"/>
                      <a:pt x="80" y="9"/>
                      <a:pt x="81" y="9"/>
                    </a:cubicBezTo>
                    <a:cubicBezTo>
                      <a:pt x="81" y="10"/>
                      <a:pt x="82" y="10"/>
                      <a:pt x="82" y="11"/>
                    </a:cubicBezTo>
                    <a:cubicBezTo>
                      <a:pt x="83" y="11"/>
                      <a:pt x="83" y="12"/>
                      <a:pt x="83" y="13"/>
                    </a:cubicBezTo>
                    <a:cubicBezTo>
                      <a:pt x="83" y="14"/>
                      <a:pt x="82" y="14"/>
                      <a:pt x="82" y="15"/>
                    </a:cubicBezTo>
                    <a:cubicBezTo>
                      <a:pt x="82" y="15"/>
                      <a:pt x="81" y="16"/>
                      <a:pt x="81" y="16"/>
                    </a:cubicBezTo>
                    <a:cubicBezTo>
                      <a:pt x="80" y="17"/>
                      <a:pt x="79" y="17"/>
                      <a:pt x="79" y="17"/>
                    </a:cubicBezTo>
                    <a:cubicBezTo>
                      <a:pt x="76" y="19"/>
                      <a:pt x="74" y="20"/>
                      <a:pt x="71" y="20"/>
                    </a:cubicBezTo>
                    <a:cubicBezTo>
                      <a:pt x="68" y="21"/>
                      <a:pt x="66" y="22"/>
                      <a:pt x="63" y="22"/>
                    </a:cubicBezTo>
                    <a:cubicBezTo>
                      <a:pt x="60" y="23"/>
                      <a:pt x="57" y="24"/>
                      <a:pt x="54" y="24"/>
                    </a:cubicBezTo>
                    <a:cubicBezTo>
                      <a:pt x="52" y="25"/>
                      <a:pt x="49" y="26"/>
                      <a:pt x="47" y="28"/>
                    </a:cubicBezTo>
                    <a:cubicBezTo>
                      <a:pt x="42" y="30"/>
                      <a:pt x="39" y="33"/>
                      <a:pt x="35" y="37"/>
                    </a:cubicBezTo>
                    <a:cubicBezTo>
                      <a:pt x="32" y="41"/>
                      <a:pt x="30" y="46"/>
                      <a:pt x="28" y="50"/>
                    </a:cubicBezTo>
                    <a:cubicBezTo>
                      <a:pt x="27" y="53"/>
                      <a:pt x="26" y="55"/>
                      <a:pt x="25" y="57"/>
                    </a:cubicBezTo>
                    <a:cubicBezTo>
                      <a:pt x="25" y="60"/>
                      <a:pt x="25" y="62"/>
                      <a:pt x="25" y="65"/>
                    </a:cubicBezTo>
                    <a:cubicBezTo>
                      <a:pt x="24" y="67"/>
                      <a:pt x="25" y="70"/>
                      <a:pt x="25" y="72"/>
                    </a:cubicBezTo>
                    <a:cubicBezTo>
                      <a:pt x="26" y="74"/>
                      <a:pt x="27" y="77"/>
                      <a:pt x="28" y="79"/>
                    </a:cubicBezTo>
                    <a:cubicBezTo>
                      <a:pt x="28" y="81"/>
                      <a:pt x="29" y="82"/>
                      <a:pt x="31" y="83"/>
                    </a:cubicBezTo>
                    <a:cubicBezTo>
                      <a:pt x="32" y="84"/>
                      <a:pt x="33" y="85"/>
                      <a:pt x="35" y="85"/>
                    </a:cubicBezTo>
                    <a:cubicBezTo>
                      <a:pt x="36" y="86"/>
                      <a:pt x="38" y="86"/>
                      <a:pt x="40" y="85"/>
                    </a:cubicBezTo>
                    <a:cubicBezTo>
                      <a:pt x="41" y="85"/>
                      <a:pt x="43" y="84"/>
                      <a:pt x="44" y="83"/>
                    </a:cubicBezTo>
                    <a:cubicBezTo>
                      <a:pt x="46" y="82"/>
                      <a:pt x="48" y="80"/>
                      <a:pt x="50" y="78"/>
                    </a:cubicBezTo>
                    <a:cubicBezTo>
                      <a:pt x="52" y="77"/>
                      <a:pt x="54" y="75"/>
                      <a:pt x="56" y="73"/>
                    </a:cubicBezTo>
                    <a:cubicBezTo>
                      <a:pt x="58" y="71"/>
                      <a:pt x="60" y="69"/>
                      <a:pt x="62" y="67"/>
                    </a:cubicBezTo>
                    <a:cubicBezTo>
                      <a:pt x="64" y="65"/>
                      <a:pt x="66" y="64"/>
                      <a:pt x="68" y="62"/>
                    </a:cubicBezTo>
                    <a:cubicBezTo>
                      <a:pt x="73" y="59"/>
                      <a:pt x="78" y="57"/>
                      <a:pt x="83" y="56"/>
                    </a:cubicBezTo>
                    <a:cubicBezTo>
                      <a:pt x="89" y="55"/>
                      <a:pt x="95" y="55"/>
                      <a:pt x="100" y="57"/>
                    </a:cubicBezTo>
                    <a:cubicBezTo>
                      <a:pt x="105" y="59"/>
                      <a:pt x="109" y="62"/>
                      <a:pt x="113" y="66"/>
                    </a:cubicBezTo>
                    <a:cubicBezTo>
                      <a:pt x="117" y="70"/>
                      <a:pt x="120" y="75"/>
                      <a:pt x="122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7" name="íṡḷíḍe">
                <a:extLst>
                  <a:ext uri="{FF2B5EF4-FFF2-40B4-BE49-F238E27FC236}">
                    <a16:creationId xmlns:a16="http://schemas.microsoft.com/office/drawing/2014/main" id="{66646C73-65CF-4454-B35C-3BAA813A83BF}"/>
                  </a:ext>
                </a:extLst>
              </p:cNvPr>
              <p:cNvSpPr/>
              <p:nvPr/>
            </p:nvSpPr>
            <p:spPr>
              <a:xfrm flipH="1">
                <a:off x="10225667" y="1551089"/>
                <a:ext cx="311601" cy="311047"/>
              </a:xfrm>
              <a:custGeom>
                <a:avLst/>
                <a:gdLst/>
                <a:ahLst/>
                <a:cxnLst/>
                <a:rect l="l" t="t" r="r" b="b"/>
                <a:pathLst>
                  <a:path w="237" h="237" extrusionOk="0">
                    <a:moveTo>
                      <a:pt x="121" y="223"/>
                    </a:moveTo>
                    <a:cubicBezTo>
                      <a:pt x="119" y="225"/>
                      <a:pt x="117" y="227"/>
                      <a:pt x="114" y="229"/>
                    </a:cubicBezTo>
                    <a:cubicBezTo>
                      <a:pt x="112" y="230"/>
                      <a:pt x="109" y="232"/>
                      <a:pt x="106" y="233"/>
                    </a:cubicBezTo>
                    <a:cubicBezTo>
                      <a:pt x="103" y="235"/>
                      <a:pt x="101" y="236"/>
                      <a:pt x="98" y="236"/>
                    </a:cubicBezTo>
                    <a:cubicBezTo>
                      <a:pt x="95" y="237"/>
                      <a:pt x="92" y="236"/>
                      <a:pt x="89" y="235"/>
                    </a:cubicBezTo>
                    <a:cubicBezTo>
                      <a:pt x="87" y="234"/>
                      <a:pt x="85" y="232"/>
                      <a:pt x="84" y="230"/>
                    </a:cubicBezTo>
                    <a:cubicBezTo>
                      <a:pt x="83" y="228"/>
                      <a:pt x="82" y="226"/>
                      <a:pt x="82" y="224"/>
                    </a:cubicBezTo>
                    <a:cubicBezTo>
                      <a:pt x="81" y="222"/>
                      <a:pt x="81" y="220"/>
                      <a:pt x="82" y="218"/>
                    </a:cubicBezTo>
                    <a:cubicBezTo>
                      <a:pt x="82" y="215"/>
                      <a:pt x="83" y="213"/>
                      <a:pt x="84" y="211"/>
                    </a:cubicBezTo>
                    <a:cubicBezTo>
                      <a:pt x="85" y="208"/>
                      <a:pt x="87" y="205"/>
                      <a:pt x="89" y="203"/>
                    </a:cubicBezTo>
                    <a:cubicBezTo>
                      <a:pt x="91" y="200"/>
                      <a:pt x="93" y="197"/>
                      <a:pt x="95" y="195"/>
                    </a:cubicBezTo>
                    <a:cubicBezTo>
                      <a:pt x="97" y="192"/>
                      <a:pt x="100" y="189"/>
                      <a:pt x="102" y="187"/>
                    </a:cubicBezTo>
                    <a:cubicBezTo>
                      <a:pt x="104" y="184"/>
                      <a:pt x="107" y="182"/>
                      <a:pt x="109" y="179"/>
                    </a:cubicBezTo>
                    <a:cubicBezTo>
                      <a:pt x="112" y="176"/>
                      <a:pt x="115" y="172"/>
                      <a:pt x="118" y="168"/>
                    </a:cubicBezTo>
                    <a:cubicBezTo>
                      <a:pt x="121" y="164"/>
                      <a:pt x="123" y="160"/>
                      <a:pt x="125" y="155"/>
                    </a:cubicBezTo>
                    <a:cubicBezTo>
                      <a:pt x="123" y="153"/>
                      <a:pt x="121" y="151"/>
                      <a:pt x="118" y="149"/>
                    </a:cubicBezTo>
                    <a:cubicBezTo>
                      <a:pt x="116" y="146"/>
                      <a:pt x="114" y="144"/>
                      <a:pt x="112" y="142"/>
                    </a:cubicBezTo>
                    <a:cubicBezTo>
                      <a:pt x="108" y="140"/>
                      <a:pt x="105" y="137"/>
                      <a:pt x="102" y="135"/>
                    </a:cubicBezTo>
                    <a:cubicBezTo>
                      <a:pt x="98" y="133"/>
                      <a:pt x="95" y="130"/>
                      <a:pt x="92" y="128"/>
                    </a:cubicBezTo>
                    <a:cubicBezTo>
                      <a:pt x="89" y="125"/>
                      <a:pt x="85" y="123"/>
                      <a:pt x="82" y="120"/>
                    </a:cubicBezTo>
                    <a:cubicBezTo>
                      <a:pt x="79" y="118"/>
                      <a:pt x="76" y="115"/>
                      <a:pt x="73" y="113"/>
                    </a:cubicBezTo>
                    <a:cubicBezTo>
                      <a:pt x="67" y="120"/>
                      <a:pt x="61" y="127"/>
                      <a:pt x="56" y="135"/>
                    </a:cubicBezTo>
                    <a:cubicBezTo>
                      <a:pt x="51" y="142"/>
                      <a:pt x="45" y="149"/>
                      <a:pt x="39" y="156"/>
                    </a:cubicBezTo>
                    <a:cubicBezTo>
                      <a:pt x="36" y="158"/>
                      <a:pt x="34" y="160"/>
                      <a:pt x="31" y="163"/>
                    </a:cubicBezTo>
                    <a:cubicBezTo>
                      <a:pt x="29" y="165"/>
                      <a:pt x="26" y="167"/>
                      <a:pt x="23" y="168"/>
                    </a:cubicBezTo>
                    <a:cubicBezTo>
                      <a:pt x="20" y="171"/>
                      <a:pt x="16" y="172"/>
                      <a:pt x="13" y="172"/>
                    </a:cubicBezTo>
                    <a:cubicBezTo>
                      <a:pt x="10" y="172"/>
                      <a:pt x="7" y="172"/>
                      <a:pt x="6" y="169"/>
                    </a:cubicBezTo>
                    <a:cubicBezTo>
                      <a:pt x="3" y="166"/>
                      <a:pt x="2" y="163"/>
                      <a:pt x="1" y="160"/>
                    </a:cubicBezTo>
                    <a:cubicBezTo>
                      <a:pt x="0" y="156"/>
                      <a:pt x="0" y="153"/>
                      <a:pt x="0" y="149"/>
                    </a:cubicBezTo>
                    <a:cubicBezTo>
                      <a:pt x="1" y="145"/>
                      <a:pt x="1" y="142"/>
                      <a:pt x="3" y="139"/>
                    </a:cubicBezTo>
                    <a:cubicBezTo>
                      <a:pt x="4" y="135"/>
                      <a:pt x="6" y="132"/>
                      <a:pt x="8" y="129"/>
                    </a:cubicBezTo>
                    <a:cubicBezTo>
                      <a:pt x="10" y="126"/>
                      <a:pt x="13" y="123"/>
                      <a:pt x="16" y="120"/>
                    </a:cubicBezTo>
                    <a:cubicBezTo>
                      <a:pt x="18" y="116"/>
                      <a:pt x="21" y="113"/>
                      <a:pt x="24" y="110"/>
                    </a:cubicBezTo>
                    <a:cubicBezTo>
                      <a:pt x="30" y="104"/>
                      <a:pt x="36" y="98"/>
                      <a:pt x="42" y="92"/>
                    </a:cubicBezTo>
                    <a:cubicBezTo>
                      <a:pt x="48" y="86"/>
                      <a:pt x="54" y="80"/>
                      <a:pt x="61" y="75"/>
                    </a:cubicBezTo>
                    <a:cubicBezTo>
                      <a:pt x="67" y="69"/>
                      <a:pt x="74" y="63"/>
                      <a:pt x="80" y="57"/>
                    </a:cubicBezTo>
                    <a:cubicBezTo>
                      <a:pt x="87" y="51"/>
                      <a:pt x="93" y="45"/>
                      <a:pt x="100" y="39"/>
                    </a:cubicBezTo>
                    <a:cubicBezTo>
                      <a:pt x="103" y="37"/>
                      <a:pt x="105" y="35"/>
                      <a:pt x="108" y="33"/>
                    </a:cubicBezTo>
                    <a:cubicBezTo>
                      <a:pt x="110" y="31"/>
                      <a:pt x="112" y="29"/>
                      <a:pt x="115" y="26"/>
                    </a:cubicBezTo>
                    <a:cubicBezTo>
                      <a:pt x="117" y="24"/>
                      <a:pt x="120" y="22"/>
                      <a:pt x="122" y="20"/>
                    </a:cubicBezTo>
                    <a:cubicBezTo>
                      <a:pt x="125" y="17"/>
                      <a:pt x="127" y="15"/>
                      <a:pt x="130" y="13"/>
                    </a:cubicBezTo>
                    <a:cubicBezTo>
                      <a:pt x="132" y="11"/>
                      <a:pt x="134" y="10"/>
                      <a:pt x="136" y="8"/>
                    </a:cubicBezTo>
                    <a:cubicBezTo>
                      <a:pt x="139" y="6"/>
                      <a:pt x="141" y="5"/>
                      <a:pt x="144" y="3"/>
                    </a:cubicBezTo>
                    <a:cubicBezTo>
                      <a:pt x="146" y="2"/>
                      <a:pt x="149" y="1"/>
                      <a:pt x="151" y="0"/>
                    </a:cubicBezTo>
                    <a:cubicBezTo>
                      <a:pt x="154" y="0"/>
                      <a:pt x="157" y="0"/>
                      <a:pt x="160" y="1"/>
                    </a:cubicBezTo>
                    <a:cubicBezTo>
                      <a:pt x="163" y="4"/>
                      <a:pt x="166" y="6"/>
                      <a:pt x="168" y="10"/>
                    </a:cubicBezTo>
                    <a:cubicBezTo>
                      <a:pt x="170" y="13"/>
                      <a:pt x="170" y="17"/>
                      <a:pt x="170" y="21"/>
                    </a:cubicBezTo>
                    <a:cubicBezTo>
                      <a:pt x="170" y="25"/>
                      <a:pt x="169" y="29"/>
                      <a:pt x="167" y="33"/>
                    </a:cubicBezTo>
                    <a:cubicBezTo>
                      <a:pt x="165" y="37"/>
                      <a:pt x="163" y="40"/>
                      <a:pt x="160" y="44"/>
                    </a:cubicBezTo>
                    <a:cubicBezTo>
                      <a:pt x="158" y="45"/>
                      <a:pt x="158" y="45"/>
                      <a:pt x="158" y="45"/>
                    </a:cubicBezTo>
                    <a:cubicBezTo>
                      <a:pt x="155" y="47"/>
                      <a:pt x="155" y="47"/>
                      <a:pt x="155" y="47"/>
                    </a:cubicBezTo>
                    <a:cubicBezTo>
                      <a:pt x="155" y="48"/>
                      <a:pt x="155" y="48"/>
                      <a:pt x="155" y="48"/>
                    </a:cubicBezTo>
                    <a:cubicBezTo>
                      <a:pt x="151" y="51"/>
                      <a:pt x="148" y="54"/>
                      <a:pt x="145" y="56"/>
                    </a:cubicBezTo>
                    <a:cubicBezTo>
                      <a:pt x="141" y="59"/>
                      <a:pt x="138" y="62"/>
                      <a:pt x="134" y="64"/>
                    </a:cubicBezTo>
                    <a:cubicBezTo>
                      <a:pt x="130" y="67"/>
                      <a:pt x="126" y="69"/>
                      <a:pt x="123" y="72"/>
                    </a:cubicBezTo>
                    <a:cubicBezTo>
                      <a:pt x="119" y="74"/>
                      <a:pt x="116" y="77"/>
                      <a:pt x="112" y="80"/>
                    </a:cubicBezTo>
                    <a:cubicBezTo>
                      <a:pt x="112" y="81"/>
                      <a:pt x="111" y="82"/>
                      <a:pt x="110" y="83"/>
                    </a:cubicBezTo>
                    <a:cubicBezTo>
                      <a:pt x="109" y="84"/>
                      <a:pt x="109" y="85"/>
                      <a:pt x="108" y="86"/>
                    </a:cubicBezTo>
                    <a:cubicBezTo>
                      <a:pt x="116" y="92"/>
                      <a:pt x="123" y="98"/>
                      <a:pt x="130" y="104"/>
                    </a:cubicBezTo>
                    <a:cubicBezTo>
                      <a:pt x="138" y="111"/>
                      <a:pt x="145" y="117"/>
                      <a:pt x="153" y="123"/>
                    </a:cubicBezTo>
                    <a:cubicBezTo>
                      <a:pt x="154" y="124"/>
                      <a:pt x="155" y="124"/>
                      <a:pt x="156" y="124"/>
                    </a:cubicBezTo>
                    <a:cubicBezTo>
                      <a:pt x="157" y="124"/>
                      <a:pt x="158" y="123"/>
                      <a:pt x="159" y="123"/>
                    </a:cubicBezTo>
                    <a:cubicBezTo>
                      <a:pt x="161" y="122"/>
                      <a:pt x="162" y="121"/>
                      <a:pt x="162" y="120"/>
                    </a:cubicBezTo>
                    <a:cubicBezTo>
                      <a:pt x="163" y="119"/>
                      <a:pt x="164" y="119"/>
                      <a:pt x="165" y="118"/>
                    </a:cubicBezTo>
                    <a:cubicBezTo>
                      <a:pt x="169" y="114"/>
                      <a:pt x="172" y="110"/>
                      <a:pt x="176" y="106"/>
                    </a:cubicBezTo>
                    <a:cubicBezTo>
                      <a:pt x="179" y="102"/>
                      <a:pt x="183" y="98"/>
                      <a:pt x="186" y="94"/>
                    </a:cubicBezTo>
                    <a:cubicBezTo>
                      <a:pt x="189" y="90"/>
                      <a:pt x="192" y="86"/>
                      <a:pt x="196" y="82"/>
                    </a:cubicBezTo>
                    <a:cubicBezTo>
                      <a:pt x="199" y="78"/>
                      <a:pt x="203" y="74"/>
                      <a:pt x="206" y="70"/>
                    </a:cubicBezTo>
                    <a:cubicBezTo>
                      <a:pt x="208" y="69"/>
                      <a:pt x="210" y="67"/>
                      <a:pt x="212" y="66"/>
                    </a:cubicBezTo>
                    <a:cubicBezTo>
                      <a:pt x="214" y="64"/>
                      <a:pt x="216" y="62"/>
                      <a:pt x="218" y="61"/>
                    </a:cubicBezTo>
                    <a:cubicBezTo>
                      <a:pt x="220" y="60"/>
                      <a:pt x="223" y="59"/>
                      <a:pt x="225" y="59"/>
                    </a:cubicBezTo>
                    <a:cubicBezTo>
                      <a:pt x="227" y="59"/>
                      <a:pt x="230" y="60"/>
                      <a:pt x="232" y="62"/>
                    </a:cubicBezTo>
                    <a:cubicBezTo>
                      <a:pt x="234" y="64"/>
                      <a:pt x="236" y="68"/>
                      <a:pt x="236" y="71"/>
                    </a:cubicBezTo>
                    <a:cubicBezTo>
                      <a:pt x="237" y="74"/>
                      <a:pt x="237" y="77"/>
                      <a:pt x="237" y="81"/>
                    </a:cubicBezTo>
                    <a:cubicBezTo>
                      <a:pt x="236" y="84"/>
                      <a:pt x="236" y="88"/>
                      <a:pt x="234" y="91"/>
                    </a:cubicBezTo>
                    <a:cubicBezTo>
                      <a:pt x="233" y="95"/>
                      <a:pt x="232" y="98"/>
                      <a:pt x="230" y="101"/>
                    </a:cubicBezTo>
                    <a:cubicBezTo>
                      <a:pt x="227" y="107"/>
                      <a:pt x="223" y="113"/>
                      <a:pt x="219" y="119"/>
                    </a:cubicBezTo>
                    <a:cubicBezTo>
                      <a:pt x="214" y="125"/>
                      <a:pt x="210" y="131"/>
                      <a:pt x="204" y="136"/>
                    </a:cubicBezTo>
                    <a:cubicBezTo>
                      <a:pt x="202" y="139"/>
                      <a:pt x="200" y="141"/>
                      <a:pt x="198" y="143"/>
                    </a:cubicBezTo>
                    <a:cubicBezTo>
                      <a:pt x="195" y="145"/>
                      <a:pt x="193" y="147"/>
                      <a:pt x="191" y="149"/>
                    </a:cubicBezTo>
                    <a:cubicBezTo>
                      <a:pt x="176" y="163"/>
                      <a:pt x="176" y="163"/>
                      <a:pt x="176" y="163"/>
                    </a:cubicBezTo>
                    <a:cubicBezTo>
                      <a:pt x="171" y="168"/>
                      <a:pt x="167" y="174"/>
                      <a:pt x="162" y="179"/>
                    </a:cubicBezTo>
                    <a:cubicBezTo>
                      <a:pt x="157" y="184"/>
                      <a:pt x="153" y="189"/>
                      <a:pt x="148" y="195"/>
                    </a:cubicBezTo>
                    <a:cubicBezTo>
                      <a:pt x="144" y="200"/>
                      <a:pt x="140" y="205"/>
                      <a:pt x="136" y="210"/>
                    </a:cubicBezTo>
                    <a:cubicBezTo>
                      <a:pt x="131" y="214"/>
                      <a:pt x="126" y="219"/>
                      <a:pt x="121" y="2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8" name="iśľîḋè">
                <a:extLst>
                  <a:ext uri="{FF2B5EF4-FFF2-40B4-BE49-F238E27FC236}">
                    <a16:creationId xmlns:a16="http://schemas.microsoft.com/office/drawing/2014/main" id="{6B30B7B5-DD2D-4BFE-95C3-332D382F9101}"/>
                  </a:ext>
                </a:extLst>
              </p:cNvPr>
              <p:cNvSpPr/>
              <p:nvPr/>
            </p:nvSpPr>
            <p:spPr>
              <a:xfrm flipH="1">
                <a:off x="10040706" y="1388345"/>
                <a:ext cx="233839" cy="227175"/>
              </a:xfrm>
              <a:custGeom>
                <a:avLst/>
                <a:gdLst/>
                <a:ahLst/>
                <a:cxnLst/>
                <a:rect l="l" t="t" r="r" b="b"/>
                <a:pathLst>
                  <a:path w="178" h="173" extrusionOk="0">
                    <a:moveTo>
                      <a:pt x="172" y="75"/>
                    </a:moveTo>
                    <a:cubicBezTo>
                      <a:pt x="171" y="77"/>
                      <a:pt x="169" y="80"/>
                      <a:pt x="168" y="82"/>
                    </a:cubicBezTo>
                    <a:cubicBezTo>
                      <a:pt x="167" y="84"/>
                      <a:pt x="165" y="86"/>
                      <a:pt x="164" y="88"/>
                    </a:cubicBezTo>
                    <a:cubicBezTo>
                      <a:pt x="162" y="91"/>
                      <a:pt x="159" y="94"/>
                      <a:pt x="157" y="98"/>
                    </a:cubicBezTo>
                    <a:cubicBezTo>
                      <a:pt x="155" y="101"/>
                      <a:pt x="153" y="104"/>
                      <a:pt x="150" y="108"/>
                    </a:cubicBezTo>
                    <a:cubicBezTo>
                      <a:pt x="150" y="110"/>
                      <a:pt x="149" y="111"/>
                      <a:pt x="148" y="113"/>
                    </a:cubicBezTo>
                    <a:cubicBezTo>
                      <a:pt x="147" y="114"/>
                      <a:pt x="146" y="116"/>
                      <a:pt x="145" y="118"/>
                    </a:cubicBezTo>
                    <a:cubicBezTo>
                      <a:pt x="144" y="119"/>
                      <a:pt x="143" y="121"/>
                      <a:pt x="142" y="122"/>
                    </a:cubicBezTo>
                    <a:cubicBezTo>
                      <a:pt x="141" y="124"/>
                      <a:pt x="140" y="125"/>
                      <a:pt x="139" y="127"/>
                    </a:cubicBezTo>
                    <a:cubicBezTo>
                      <a:pt x="135" y="133"/>
                      <a:pt x="131" y="139"/>
                      <a:pt x="126" y="144"/>
                    </a:cubicBezTo>
                    <a:cubicBezTo>
                      <a:pt x="121" y="149"/>
                      <a:pt x="116" y="154"/>
                      <a:pt x="110" y="159"/>
                    </a:cubicBezTo>
                    <a:cubicBezTo>
                      <a:pt x="107" y="161"/>
                      <a:pt x="104" y="163"/>
                      <a:pt x="101" y="165"/>
                    </a:cubicBezTo>
                    <a:cubicBezTo>
                      <a:pt x="98" y="167"/>
                      <a:pt x="95" y="169"/>
                      <a:pt x="91" y="170"/>
                    </a:cubicBezTo>
                    <a:cubicBezTo>
                      <a:pt x="88" y="172"/>
                      <a:pt x="85" y="173"/>
                      <a:pt x="81" y="173"/>
                    </a:cubicBezTo>
                    <a:cubicBezTo>
                      <a:pt x="78" y="173"/>
                      <a:pt x="74" y="173"/>
                      <a:pt x="70" y="171"/>
                    </a:cubicBezTo>
                    <a:cubicBezTo>
                      <a:pt x="66" y="170"/>
                      <a:pt x="63" y="167"/>
                      <a:pt x="61" y="163"/>
                    </a:cubicBezTo>
                    <a:cubicBezTo>
                      <a:pt x="59" y="159"/>
                      <a:pt x="58" y="156"/>
                      <a:pt x="57" y="151"/>
                    </a:cubicBezTo>
                    <a:cubicBezTo>
                      <a:pt x="57" y="147"/>
                      <a:pt x="57" y="143"/>
                      <a:pt x="57" y="138"/>
                    </a:cubicBezTo>
                    <a:cubicBezTo>
                      <a:pt x="58" y="134"/>
                      <a:pt x="59" y="129"/>
                      <a:pt x="59" y="125"/>
                    </a:cubicBezTo>
                    <a:cubicBezTo>
                      <a:pt x="56" y="127"/>
                      <a:pt x="53" y="130"/>
                      <a:pt x="49" y="133"/>
                    </a:cubicBezTo>
                    <a:cubicBezTo>
                      <a:pt x="46" y="137"/>
                      <a:pt x="42" y="139"/>
                      <a:pt x="38" y="141"/>
                    </a:cubicBezTo>
                    <a:cubicBezTo>
                      <a:pt x="34" y="144"/>
                      <a:pt x="30" y="145"/>
                      <a:pt x="25" y="146"/>
                    </a:cubicBezTo>
                    <a:cubicBezTo>
                      <a:pt x="21" y="146"/>
                      <a:pt x="17" y="145"/>
                      <a:pt x="13" y="143"/>
                    </a:cubicBezTo>
                    <a:cubicBezTo>
                      <a:pt x="10" y="142"/>
                      <a:pt x="8" y="140"/>
                      <a:pt x="6" y="137"/>
                    </a:cubicBezTo>
                    <a:cubicBezTo>
                      <a:pt x="5" y="135"/>
                      <a:pt x="3" y="133"/>
                      <a:pt x="2" y="130"/>
                    </a:cubicBezTo>
                    <a:cubicBezTo>
                      <a:pt x="1" y="128"/>
                      <a:pt x="0" y="125"/>
                      <a:pt x="0" y="122"/>
                    </a:cubicBezTo>
                    <a:cubicBezTo>
                      <a:pt x="0" y="119"/>
                      <a:pt x="0" y="117"/>
                      <a:pt x="1" y="114"/>
                    </a:cubicBezTo>
                    <a:cubicBezTo>
                      <a:pt x="1" y="110"/>
                      <a:pt x="2" y="107"/>
                      <a:pt x="3" y="104"/>
                    </a:cubicBezTo>
                    <a:cubicBezTo>
                      <a:pt x="5" y="100"/>
                      <a:pt x="6" y="97"/>
                      <a:pt x="8" y="94"/>
                    </a:cubicBezTo>
                    <a:cubicBezTo>
                      <a:pt x="9" y="91"/>
                      <a:pt x="11" y="87"/>
                      <a:pt x="13" y="84"/>
                    </a:cubicBezTo>
                    <a:cubicBezTo>
                      <a:pt x="14" y="81"/>
                      <a:pt x="16" y="78"/>
                      <a:pt x="17" y="75"/>
                    </a:cubicBezTo>
                    <a:cubicBezTo>
                      <a:pt x="19" y="72"/>
                      <a:pt x="20" y="70"/>
                      <a:pt x="22" y="67"/>
                    </a:cubicBezTo>
                    <a:cubicBezTo>
                      <a:pt x="23" y="65"/>
                      <a:pt x="24" y="62"/>
                      <a:pt x="26" y="60"/>
                    </a:cubicBezTo>
                    <a:cubicBezTo>
                      <a:pt x="30" y="54"/>
                      <a:pt x="34" y="48"/>
                      <a:pt x="38" y="43"/>
                    </a:cubicBezTo>
                    <a:cubicBezTo>
                      <a:pt x="43" y="37"/>
                      <a:pt x="47" y="31"/>
                      <a:pt x="52" y="26"/>
                    </a:cubicBezTo>
                    <a:cubicBezTo>
                      <a:pt x="55" y="23"/>
                      <a:pt x="59" y="19"/>
                      <a:pt x="62" y="16"/>
                    </a:cubicBezTo>
                    <a:cubicBezTo>
                      <a:pt x="65" y="13"/>
                      <a:pt x="69" y="10"/>
                      <a:pt x="72" y="7"/>
                    </a:cubicBezTo>
                    <a:cubicBezTo>
                      <a:pt x="76" y="5"/>
                      <a:pt x="79" y="3"/>
                      <a:pt x="83" y="1"/>
                    </a:cubicBezTo>
                    <a:cubicBezTo>
                      <a:pt x="87" y="0"/>
                      <a:pt x="91" y="0"/>
                      <a:pt x="95" y="1"/>
                    </a:cubicBezTo>
                    <a:cubicBezTo>
                      <a:pt x="97" y="2"/>
                      <a:pt x="99" y="3"/>
                      <a:pt x="99" y="5"/>
                    </a:cubicBezTo>
                    <a:cubicBezTo>
                      <a:pt x="100" y="7"/>
                      <a:pt x="100" y="9"/>
                      <a:pt x="100" y="11"/>
                    </a:cubicBezTo>
                    <a:cubicBezTo>
                      <a:pt x="99" y="13"/>
                      <a:pt x="98" y="15"/>
                      <a:pt x="97" y="17"/>
                    </a:cubicBezTo>
                    <a:cubicBezTo>
                      <a:pt x="96" y="19"/>
                      <a:pt x="95" y="21"/>
                      <a:pt x="94" y="22"/>
                    </a:cubicBezTo>
                    <a:cubicBezTo>
                      <a:pt x="92" y="25"/>
                      <a:pt x="90" y="28"/>
                      <a:pt x="87" y="30"/>
                    </a:cubicBezTo>
                    <a:cubicBezTo>
                      <a:pt x="85" y="33"/>
                      <a:pt x="82" y="36"/>
                      <a:pt x="80" y="38"/>
                    </a:cubicBezTo>
                    <a:cubicBezTo>
                      <a:pt x="79" y="39"/>
                      <a:pt x="78" y="40"/>
                      <a:pt x="77" y="41"/>
                    </a:cubicBezTo>
                    <a:cubicBezTo>
                      <a:pt x="76" y="42"/>
                      <a:pt x="74" y="43"/>
                      <a:pt x="73" y="44"/>
                    </a:cubicBezTo>
                    <a:cubicBezTo>
                      <a:pt x="68" y="50"/>
                      <a:pt x="62" y="56"/>
                      <a:pt x="57" y="62"/>
                    </a:cubicBezTo>
                    <a:cubicBezTo>
                      <a:pt x="52" y="68"/>
                      <a:pt x="47" y="74"/>
                      <a:pt x="43" y="81"/>
                    </a:cubicBezTo>
                    <a:cubicBezTo>
                      <a:pt x="40" y="84"/>
                      <a:pt x="39" y="88"/>
                      <a:pt x="37" y="92"/>
                    </a:cubicBezTo>
                    <a:cubicBezTo>
                      <a:pt x="36" y="96"/>
                      <a:pt x="35" y="100"/>
                      <a:pt x="34" y="104"/>
                    </a:cubicBezTo>
                    <a:cubicBezTo>
                      <a:pt x="40" y="101"/>
                      <a:pt x="45" y="98"/>
                      <a:pt x="50" y="94"/>
                    </a:cubicBezTo>
                    <a:cubicBezTo>
                      <a:pt x="55" y="91"/>
                      <a:pt x="60" y="86"/>
                      <a:pt x="64" y="82"/>
                    </a:cubicBezTo>
                    <a:cubicBezTo>
                      <a:pt x="69" y="78"/>
                      <a:pt x="73" y="73"/>
                      <a:pt x="77" y="68"/>
                    </a:cubicBezTo>
                    <a:cubicBezTo>
                      <a:pt x="81" y="63"/>
                      <a:pt x="85" y="59"/>
                      <a:pt x="89" y="55"/>
                    </a:cubicBezTo>
                    <a:cubicBezTo>
                      <a:pt x="91" y="52"/>
                      <a:pt x="93" y="50"/>
                      <a:pt x="94" y="49"/>
                    </a:cubicBezTo>
                    <a:cubicBezTo>
                      <a:pt x="96" y="47"/>
                      <a:pt x="98" y="45"/>
                      <a:pt x="100" y="43"/>
                    </a:cubicBezTo>
                    <a:cubicBezTo>
                      <a:pt x="101" y="42"/>
                      <a:pt x="102" y="41"/>
                      <a:pt x="103" y="40"/>
                    </a:cubicBezTo>
                    <a:cubicBezTo>
                      <a:pt x="104" y="39"/>
                      <a:pt x="106" y="39"/>
                      <a:pt x="107" y="38"/>
                    </a:cubicBezTo>
                    <a:cubicBezTo>
                      <a:pt x="108" y="38"/>
                      <a:pt x="110" y="38"/>
                      <a:pt x="111" y="38"/>
                    </a:cubicBezTo>
                    <a:cubicBezTo>
                      <a:pt x="113" y="38"/>
                      <a:pt x="114" y="38"/>
                      <a:pt x="115" y="39"/>
                    </a:cubicBezTo>
                    <a:cubicBezTo>
                      <a:pt x="119" y="41"/>
                      <a:pt x="121" y="43"/>
                      <a:pt x="122" y="46"/>
                    </a:cubicBezTo>
                    <a:cubicBezTo>
                      <a:pt x="122" y="49"/>
                      <a:pt x="123" y="52"/>
                      <a:pt x="122" y="55"/>
                    </a:cubicBezTo>
                    <a:cubicBezTo>
                      <a:pt x="121" y="58"/>
                      <a:pt x="120" y="61"/>
                      <a:pt x="119" y="64"/>
                    </a:cubicBezTo>
                    <a:cubicBezTo>
                      <a:pt x="117" y="68"/>
                      <a:pt x="116" y="70"/>
                      <a:pt x="115" y="73"/>
                    </a:cubicBezTo>
                    <a:cubicBezTo>
                      <a:pt x="113" y="77"/>
                      <a:pt x="111" y="81"/>
                      <a:pt x="109" y="84"/>
                    </a:cubicBezTo>
                    <a:cubicBezTo>
                      <a:pt x="107" y="88"/>
                      <a:pt x="105" y="91"/>
                      <a:pt x="103" y="95"/>
                    </a:cubicBezTo>
                    <a:cubicBezTo>
                      <a:pt x="100" y="102"/>
                      <a:pt x="97" y="109"/>
                      <a:pt x="94" y="116"/>
                    </a:cubicBezTo>
                    <a:cubicBezTo>
                      <a:pt x="92" y="123"/>
                      <a:pt x="90" y="130"/>
                      <a:pt x="89" y="137"/>
                    </a:cubicBezTo>
                    <a:cubicBezTo>
                      <a:pt x="92" y="135"/>
                      <a:pt x="95" y="133"/>
                      <a:pt x="97" y="131"/>
                    </a:cubicBezTo>
                    <a:cubicBezTo>
                      <a:pt x="100" y="128"/>
                      <a:pt x="102" y="126"/>
                      <a:pt x="104" y="123"/>
                    </a:cubicBezTo>
                    <a:cubicBezTo>
                      <a:pt x="107" y="121"/>
                      <a:pt x="109" y="118"/>
                      <a:pt x="111" y="115"/>
                    </a:cubicBezTo>
                    <a:cubicBezTo>
                      <a:pt x="113" y="112"/>
                      <a:pt x="115" y="110"/>
                      <a:pt x="117" y="107"/>
                    </a:cubicBezTo>
                    <a:cubicBezTo>
                      <a:pt x="121" y="101"/>
                      <a:pt x="126" y="95"/>
                      <a:pt x="130" y="88"/>
                    </a:cubicBezTo>
                    <a:cubicBezTo>
                      <a:pt x="134" y="82"/>
                      <a:pt x="138" y="76"/>
                      <a:pt x="142" y="70"/>
                    </a:cubicBezTo>
                    <a:cubicBezTo>
                      <a:pt x="144" y="67"/>
                      <a:pt x="146" y="64"/>
                      <a:pt x="148" y="61"/>
                    </a:cubicBezTo>
                    <a:cubicBezTo>
                      <a:pt x="150" y="58"/>
                      <a:pt x="152" y="55"/>
                      <a:pt x="154" y="52"/>
                    </a:cubicBezTo>
                    <a:cubicBezTo>
                      <a:pt x="156" y="50"/>
                      <a:pt x="157" y="49"/>
                      <a:pt x="158" y="48"/>
                    </a:cubicBezTo>
                    <a:cubicBezTo>
                      <a:pt x="159" y="46"/>
                      <a:pt x="160" y="45"/>
                      <a:pt x="162" y="44"/>
                    </a:cubicBezTo>
                    <a:cubicBezTo>
                      <a:pt x="163" y="43"/>
                      <a:pt x="163" y="43"/>
                      <a:pt x="163" y="43"/>
                    </a:cubicBezTo>
                    <a:cubicBezTo>
                      <a:pt x="165" y="42"/>
                      <a:pt x="165" y="42"/>
                      <a:pt x="165" y="42"/>
                    </a:cubicBezTo>
                    <a:cubicBezTo>
                      <a:pt x="167" y="41"/>
                      <a:pt x="168" y="41"/>
                      <a:pt x="168" y="41"/>
                    </a:cubicBezTo>
                    <a:cubicBezTo>
                      <a:pt x="169" y="40"/>
                      <a:pt x="170" y="41"/>
                      <a:pt x="170" y="41"/>
                    </a:cubicBezTo>
                    <a:cubicBezTo>
                      <a:pt x="173" y="43"/>
                      <a:pt x="175" y="45"/>
                      <a:pt x="176" y="48"/>
                    </a:cubicBezTo>
                    <a:cubicBezTo>
                      <a:pt x="177" y="51"/>
                      <a:pt x="178" y="54"/>
                      <a:pt x="178" y="57"/>
                    </a:cubicBezTo>
                    <a:cubicBezTo>
                      <a:pt x="178" y="60"/>
                      <a:pt x="177" y="63"/>
                      <a:pt x="176" y="67"/>
                    </a:cubicBezTo>
                    <a:cubicBezTo>
                      <a:pt x="175" y="70"/>
                      <a:pt x="174" y="73"/>
                      <a:pt x="172" y="7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9" name="ïṧlïḍè">
                <a:extLst>
                  <a:ext uri="{FF2B5EF4-FFF2-40B4-BE49-F238E27FC236}">
                    <a16:creationId xmlns:a16="http://schemas.microsoft.com/office/drawing/2014/main" id="{4D6A528D-A516-4196-B1FF-59C84AC39CD2}"/>
                  </a:ext>
                </a:extLst>
              </p:cNvPr>
              <p:cNvSpPr/>
              <p:nvPr/>
            </p:nvSpPr>
            <p:spPr>
              <a:xfrm flipH="1">
                <a:off x="10496165" y="1645514"/>
                <a:ext cx="143303" cy="215510"/>
              </a:xfrm>
              <a:custGeom>
                <a:avLst/>
                <a:gdLst/>
                <a:ahLst/>
                <a:cxnLst/>
                <a:rect l="l" t="t" r="r" b="b"/>
                <a:pathLst>
                  <a:path w="109" h="164" extrusionOk="0">
                    <a:moveTo>
                      <a:pt x="109" y="141"/>
                    </a:moveTo>
                    <a:cubicBezTo>
                      <a:pt x="108" y="143"/>
                      <a:pt x="107" y="143"/>
                      <a:pt x="106" y="144"/>
                    </a:cubicBezTo>
                    <a:cubicBezTo>
                      <a:pt x="105" y="145"/>
                      <a:pt x="104" y="145"/>
                      <a:pt x="103" y="146"/>
                    </a:cubicBezTo>
                    <a:cubicBezTo>
                      <a:pt x="98" y="149"/>
                      <a:pt x="91" y="151"/>
                      <a:pt x="85" y="154"/>
                    </a:cubicBezTo>
                    <a:cubicBezTo>
                      <a:pt x="79" y="156"/>
                      <a:pt x="73" y="158"/>
                      <a:pt x="66" y="159"/>
                    </a:cubicBezTo>
                    <a:cubicBezTo>
                      <a:pt x="60" y="161"/>
                      <a:pt x="54" y="162"/>
                      <a:pt x="48" y="163"/>
                    </a:cubicBezTo>
                    <a:cubicBezTo>
                      <a:pt x="41" y="164"/>
                      <a:pt x="35" y="164"/>
                      <a:pt x="29" y="164"/>
                    </a:cubicBezTo>
                    <a:cubicBezTo>
                      <a:pt x="26" y="163"/>
                      <a:pt x="23" y="163"/>
                      <a:pt x="20" y="161"/>
                    </a:cubicBezTo>
                    <a:cubicBezTo>
                      <a:pt x="18" y="160"/>
                      <a:pt x="15" y="158"/>
                      <a:pt x="13" y="156"/>
                    </a:cubicBezTo>
                    <a:cubicBezTo>
                      <a:pt x="11" y="154"/>
                      <a:pt x="10" y="151"/>
                      <a:pt x="8" y="149"/>
                    </a:cubicBezTo>
                    <a:cubicBezTo>
                      <a:pt x="7" y="146"/>
                      <a:pt x="6" y="143"/>
                      <a:pt x="5" y="140"/>
                    </a:cubicBezTo>
                    <a:cubicBezTo>
                      <a:pt x="3" y="135"/>
                      <a:pt x="2" y="129"/>
                      <a:pt x="1" y="123"/>
                    </a:cubicBezTo>
                    <a:cubicBezTo>
                      <a:pt x="0" y="117"/>
                      <a:pt x="0" y="111"/>
                      <a:pt x="1" y="105"/>
                    </a:cubicBezTo>
                    <a:cubicBezTo>
                      <a:pt x="1" y="96"/>
                      <a:pt x="2" y="86"/>
                      <a:pt x="3" y="77"/>
                    </a:cubicBezTo>
                    <a:cubicBezTo>
                      <a:pt x="4" y="68"/>
                      <a:pt x="6" y="59"/>
                      <a:pt x="8" y="50"/>
                    </a:cubicBezTo>
                    <a:cubicBezTo>
                      <a:pt x="9" y="45"/>
                      <a:pt x="10" y="41"/>
                      <a:pt x="11" y="36"/>
                    </a:cubicBezTo>
                    <a:cubicBezTo>
                      <a:pt x="12" y="32"/>
                      <a:pt x="13" y="27"/>
                      <a:pt x="14" y="23"/>
                    </a:cubicBezTo>
                    <a:cubicBezTo>
                      <a:pt x="15" y="18"/>
                      <a:pt x="17" y="14"/>
                      <a:pt x="19" y="11"/>
                    </a:cubicBezTo>
                    <a:cubicBezTo>
                      <a:pt x="21" y="7"/>
                      <a:pt x="24" y="3"/>
                      <a:pt x="28" y="1"/>
                    </a:cubicBezTo>
                    <a:cubicBezTo>
                      <a:pt x="29" y="0"/>
                      <a:pt x="31" y="0"/>
                      <a:pt x="32" y="1"/>
                    </a:cubicBezTo>
                    <a:cubicBezTo>
                      <a:pt x="34" y="1"/>
                      <a:pt x="35" y="2"/>
                      <a:pt x="35" y="3"/>
                    </a:cubicBezTo>
                    <a:cubicBezTo>
                      <a:pt x="36" y="4"/>
                      <a:pt x="37" y="6"/>
                      <a:pt x="37" y="7"/>
                    </a:cubicBezTo>
                    <a:cubicBezTo>
                      <a:pt x="38" y="9"/>
                      <a:pt x="38" y="10"/>
                      <a:pt x="37" y="12"/>
                    </a:cubicBezTo>
                    <a:cubicBezTo>
                      <a:pt x="37" y="17"/>
                      <a:pt x="37" y="22"/>
                      <a:pt x="36" y="27"/>
                    </a:cubicBezTo>
                    <a:cubicBezTo>
                      <a:pt x="36" y="32"/>
                      <a:pt x="35" y="37"/>
                      <a:pt x="35" y="42"/>
                    </a:cubicBezTo>
                    <a:cubicBezTo>
                      <a:pt x="34" y="46"/>
                      <a:pt x="34" y="50"/>
                      <a:pt x="33" y="54"/>
                    </a:cubicBezTo>
                    <a:cubicBezTo>
                      <a:pt x="33" y="58"/>
                      <a:pt x="32" y="62"/>
                      <a:pt x="32" y="67"/>
                    </a:cubicBezTo>
                    <a:cubicBezTo>
                      <a:pt x="31" y="71"/>
                      <a:pt x="31" y="75"/>
                      <a:pt x="30" y="79"/>
                    </a:cubicBezTo>
                    <a:cubicBezTo>
                      <a:pt x="30" y="83"/>
                      <a:pt x="30" y="87"/>
                      <a:pt x="29" y="92"/>
                    </a:cubicBezTo>
                    <a:cubicBezTo>
                      <a:pt x="29" y="95"/>
                      <a:pt x="29" y="99"/>
                      <a:pt x="29" y="103"/>
                    </a:cubicBezTo>
                    <a:cubicBezTo>
                      <a:pt x="29" y="107"/>
                      <a:pt x="29" y="111"/>
                      <a:pt x="29" y="115"/>
                    </a:cubicBezTo>
                    <a:cubicBezTo>
                      <a:pt x="29" y="119"/>
                      <a:pt x="30" y="123"/>
                      <a:pt x="31" y="127"/>
                    </a:cubicBezTo>
                    <a:cubicBezTo>
                      <a:pt x="32" y="131"/>
                      <a:pt x="33" y="134"/>
                      <a:pt x="36" y="137"/>
                    </a:cubicBezTo>
                    <a:cubicBezTo>
                      <a:pt x="41" y="137"/>
                      <a:pt x="46" y="136"/>
                      <a:pt x="52" y="135"/>
                    </a:cubicBezTo>
                    <a:cubicBezTo>
                      <a:pt x="57" y="134"/>
                      <a:pt x="62" y="133"/>
                      <a:pt x="67" y="132"/>
                    </a:cubicBezTo>
                    <a:cubicBezTo>
                      <a:pt x="72" y="131"/>
                      <a:pt x="76" y="130"/>
                      <a:pt x="80" y="129"/>
                    </a:cubicBezTo>
                    <a:cubicBezTo>
                      <a:pt x="84" y="128"/>
                      <a:pt x="88" y="127"/>
                      <a:pt x="92" y="127"/>
                    </a:cubicBezTo>
                    <a:cubicBezTo>
                      <a:pt x="96" y="127"/>
                      <a:pt x="99" y="128"/>
                      <a:pt x="102" y="130"/>
                    </a:cubicBezTo>
                    <a:cubicBezTo>
                      <a:pt x="105" y="132"/>
                      <a:pt x="107" y="135"/>
                      <a:pt x="108" y="138"/>
                    </a:cubicBezTo>
                    <a:cubicBezTo>
                      <a:pt x="108" y="139"/>
                      <a:pt x="109" y="139"/>
                      <a:pt x="109" y="140"/>
                    </a:cubicBezTo>
                    <a:cubicBezTo>
                      <a:pt x="109" y="140"/>
                      <a:pt x="109" y="141"/>
                      <a:pt x="109" y="14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0" name="îŝľïḓè">
                <a:extLst>
                  <a:ext uri="{FF2B5EF4-FFF2-40B4-BE49-F238E27FC236}">
                    <a16:creationId xmlns:a16="http://schemas.microsoft.com/office/drawing/2014/main" id="{FD7AE210-C8F2-4887-8B16-92318196A0E7}"/>
                  </a:ext>
                </a:extLst>
              </p:cNvPr>
              <p:cNvSpPr/>
              <p:nvPr/>
            </p:nvSpPr>
            <p:spPr>
              <a:xfrm flipH="1">
                <a:off x="9690225" y="1967113"/>
                <a:ext cx="113865" cy="179963"/>
              </a:xfrm>
              <a:custGeom>
                <a:avLst/>
                <a:gdLst/>
                <a:ahLst/>
                <a:cxnLst/>
                <a:rect l="l" t="t" r="r" b="b"/>
                <a:pathLst>
                  <a:path w="87" h="137" extrusionOk="0">
                    <a:moveTo>
                      <a:pt x="86" y="81"/>
                    </a:moveTo>
                    <a:cubicBezTo>
                      <a:pt x="86" y="85"/>
                      <a:pt x="85" y="89"/>
                      <a:pt x="84" y="93"/>
                    </a:cubicBezTo>
                    <a:cubicBezTo>
                      <a:pt x="82" y="96"/>
                      <a:pt x="81" y="100"/>
                      <a:pt x="79" y="103"/>
                    </a:cubicBezTo>
                    <a:cubicBezTo>
                      <a:pt x="77" y="106"/>
                      <a:pt x="74" y="109"/>
                      <a:pt x="72" y="112"/>
                    </a:cubicBezTo>
                    <a:cubicBezTo>
                      <a:pt x="69" y="115"/>
                      <a:pt x="66" y="118"/>
                      <a:pt x="63" y="120"/>
                    </a:cubicBezTo>
                    <a:cubicBezTo>
                      <a:pt x="60" y="123"/>
                      <a:pt x="57" y="125"/>
                      <a:pt x="54" y="127"/>
                    </a:cubicBezTo>
                    <a:cubicBezTo>
                      <a:pt x="51" y="129"/>
                      <a:pt x="47" y="131"/>
                      <a:pt x="44" y="133"/>
                    </a:cubicBezTo>
                    <a:cubicBezTo>
                      <a:pt x="40" y="134"/>
                      <a:pt x="37" y="135"/>
                      <a:pt x="33" y="136"/>
                    </a:cubicBezTo>
                    <a:cubicBezTo>
                      <a:pt x="29" y="137"/>
                      <a:pt x="25" y="137"/>
                      <a:pt x="22" y="136"/>
                    </a:cubicBezTo>
                    <a:cubicBezTo>
                      <a:pt x="20" y="136"/>
                      <a:pt x="18" y="135"/>
                      <a:pt x="16" y="134"/>
                    </a:cubicBezTo>
                    <a:cubicBezTo>
                      <a:pt x="15" y="133"/>
                      <a:pt x="13" y="132"/>
                      <a:pt x="12" y="130"/>
                    </a:cubicBezTo>
                    <a:cubicBezTo>
                      <a:pt x="11" y="129"/>
                      <a:pt x="10" y="127"/>
                      <a:pt x="10" y="125"/>
                    </a:cubicBezTo>
                    <a:cubicBezTo>
                      <a:pt x="9" y="123"/>
                      <a:pt x="9" y="121"/>
                      <a:pt x="9" y="119"/>
                    </a:cubicBezTo>
                    <a:cubicBezTo>
                      <a:pt x="9" y="118"/>
                      <a:pt x="9" y="117"/>
                      <a:pt x="10" y="116"/>
                    </a:cubicBezTo>
                    <a:cubicBezTo>
                      <a:pt x="11" y="115"/>
                      <a:pt x="12" y="115"/>
                      <a:pt x="12" y="115"/>
                    </a:cubicBezTo>
                    <a:cubicBezTo>
                      <a:pt x="13" y="115"/>
                      <a:pt x="14" y="115"/>
                      <a:pt x="14" y="115"/>
                    </a:cubicBezTo>
                    <a:cubicBezTo>
                      <a:pt x="15" y="115"/>
                      <a:pt x="16" y="114"/>
                      <a:pt x="16" y="114"/>
                    </a:cubicBezTo>
                    <a:cubicBezTo>
                      <a:pt x="18" y="114"/>
                      <a:pt x="20" y="114"/>
                      <a:pt x="22" y="114"/>
                    </a:cubicBezTo>
                    <a:cubicBezTo>
                      <a:pt x="25" y="114"/>
                      <a:pt x="27" y="114"/>
                      <a:pt x="29" y="113"/>
                    </a:cubicBezTo>
                    <a:cubicBezTo>
                      <a:pt x="33" y="112"/>
                      <a:pt x="37" y="111"/>
                      <a:pt x="41" y="109"/>
                    </a:cubicBezTo>
                    <a:cubicBezTo>
                      <a:pt x="45" y="108"/>
                      <a:pt x="49" y="105"/>
                      <a:pt x="52" y="103"/>
                    </a:cubicBezTo>
                    <a:cubicBezTo>
                      <a:pt x="54" y="101"/>
                      <a:pt x="55" y="100"/>
                      <a:pt x="57" y="98"/>
                    </a:cubicBezTo>
                    <a:cubicBezTo>
                      <a:pt x="59" y="97"/>
                      <a:pt x="60" y="95"/>
                      <a:pt x="61" y="94"/>
                    </a:cubicBezTo>
                    <a:cubicBezTo>
                      <a:pt x="62" y="92"/>
                      <a:pt x="63" y="90"/>
                      <a:pt x="64" y="88"/>
                    </a:cubicBezTo>
                    <a:cubicBezTo>
                      <a:pt x="65" y="86"/>
                      <a:pt x="65" y="84"/>
                      <a:pt x="66" y="82"/>
                    </a:cubicBezTo>
                    <a:cubicBezTo>
                      <a:pt x="66" y="81"/>
                      <a:pt x="66" y="80"/>
                      <a:pt x="66" y="78"/>
                    </a:cubicBezTo>
                    <a:cubicBezTo>
                      <a:pt x="66" y="77"/>
                      <a:pt x="65" y="76"/>
                      <a:pt x="65" y="75"/>
                    </a:cubicBezTo>
                    <a:cubicBezTo>
                      <a:pt x="64" y="74"/>
                      <a:pt x="63" y="73"/>
                      <a:pt x="62" y="72"/>
                    </a:cubicBezTo>
                    <a:cubicBezTo>
                      <a:pt x="62" y="72"/>
                      <a:pt x="60" y="71"/>
                      <a:pt x="59" y="72"/>
                    </a:cubicBezTo>
                    <a:cubicBezTo>
                      <a:pt x="53" y="72"/>
                      <a:pt x="47" y="72"/>
                      <a:pt x="42" y="73"/>
                    </a:cubicBezTo>
                    <a:cubicBezTo>
                      <a:pt x="36" y="74"/>
                      <a:pt x="31" y="76"/>
                      <a:pt x="25" y="79"/>
                    </a:cubicBezTo>
                    <a:cubicBezTo>
                      <a:pt x="24" y="79"/>
                      <a:pt x="23" y="80"/>
                      <a:pt x="21" y="81"/>
                    </a:cubicBezTo>
                    <a:cubicBezTo>
                      <a:pt x="20" y="81"/>
                      <a:pt x="18" y="82"/>
                      <a:pt x="17" y="83"/>
                    </a:cubicBezTo>
                    <a:cubicBezTo>
                      <a:pt x="15" y="83"/>
                      <a:pt x="14" y="82"/>
                      <a:pt x="13" y="81"/>
                    </a:cubicBezTo>
                    <a:cubicBezTo>
                      <a:pt x="12" y="81"/>
                      <a:pt x="11" y="80"/>
                      <a:pt x="10" y="79"/>
                    </a:cubicBezTo>
                    <a:cubicBezTo>
                      <a:pt x="9" y="77"/>
                      <a:pt x="8" y="76"/>
                      <a:pt x="8" y="75"/>
                    </a:cubicBezTo>
                    <a:cubicBezTo>
                      <a:pt x="7" y="74"/>
                      <a:pt x="7" y="72"/>
                      <a:pt x="7" y="71"/>
                    </a:cubicBezTo>
                    <a:cubicBezTo>
                      <a:pt x="7" y="69"/>
                      <a:pt x="7" y="68"/>
                      <a:pt x="8" y="67"/>
                    </a:cubicBezTo>
                    <a:cubicBezTo>
                      <a:pt x="9" y="66"/>
                      <a:pt x="10" y="65"/>
                      <a:pt x="11" y="64"/>
                    </a:cubicBezTo>
                    <a:cubicBezTo>
                      <a:pt x="12" y="63"/>
                      <a:pt x="13" y="62"/>
                      <a:pt x="14" y="61"/>
                    </a:cubicBezTo>
                    <a:cubicBezTo>
                      <a:pt x="15" y="60"/>
                      <a:pt x="16" y="59"/>
                      <a:pt x="17" y="59"/>
                    </a:cubicBezTo>
                    <a:cubicBezTo>
                      <a:pt x="21" y="57"/>
                      <a:pt x="24" y="55"/>
                      <a:pt x="27" y="53"/>
                    </a:cubicBezTo>
                    <a:cubicBezTo>
                      <a:pt x="30" y="51"/>
                      <a:pt x="34" y="49"/>
                      <a:pt x="37" y="47"/>
                    </a:cubicBezTo>
                    <a:cubicBezTo>
                      <a:pt x="40" y="45"/>
                      <a:pt x="42" y="42"/>
                      <a:pt x="44" y="39"/>
                    </a:cubicBezTo>
                    <a:cubicBezTo>
                      <a:pt x="47" y="36"/>
                      <a:pt x="48" y="33"/>
                      <a:pt x="48" y="29"/>
                    </a:cubicBezTo>
                    <a:cubicBezTo>
                      <a:pt x="48" y="28"/>
                      <a:pt x="48" y="28"/>
                      <a:pt x="48" y="27"/>
                    </a:cubicBezTo>
                    <a:cubicBezTo>
                      <a:pt x="48" y="26"/>
                      <a:pt x="48" y="25"/>
                      <a:pt x="48" y="24"/>
                    </a:cubicBezTo>
                    <a:cubicBezTo>
                      <a:pt x="48" y="24"/>
                      <a:pt x="47" y="23"/>
                      <a:pt x="47" y="22"/>
                    </a:cubicBezTo>
                    <a:cubicBezTo>
                      <a:pt x="47" y="22"/>
                      <a:pt x="46" y="22"/>
                      <a:pt x="45" y="21"/>
                    </a:cubicBezTo>
                    <a:cubicBezTo>
                      <a:pt x="43" y="22"/>
                      <a:pt x="42" y="22"/>
                      <a:pt x="40" y="23"/>
                    </a:cubicBezTo>
                    <a:cubicBezTo>
                      <a:pt x="38" y="23"/>
                      <a:pt x="36" y="24"/>
                      <a:pt x="35" y="25"/>
                    </a:cubicBezTo>
                    <a:cubicBezTo>
                      <a:pt x="33" y="26"/>
                      <a:pt x="32" y="27"/>
                      <a:pt x="30" y="28"/>
                    </a:cubicBezTo>
                    <a:cubicBezTo>
                      <a:pt x="28" y="29"/>
                      <a:pt x="27" y="30"/>
                      <a:pt x="25" y="31"/>
                    </a:cubicBezTo>
                    <a:cubicBezTo>
                      <a:pt x="23" y="32"/>
                      <a:pt x="20" y="34"/>
                      <a:pt x="18" y="35"/>
                    </a:cubicBezTo>
                    <a:cubicBezTo>
                      <a:pt x="15" y="37"/>
                      <a:pt x="13" y="38"/>
                      <a:pt x="10" y="40"/>
                    </a:cubicBezTo>
                    <a:cubicBezTo>
                      <a:pt x="9" y="40"/>
                      <a:pt x="8" y="39"/>
                      <a:pt x="7" y="39"/>
                    </a:cubicBezTo>
                    <a:cubicBezTo>
                      <a:pt x="5" y="38"/>
                      <a:pt x="4" y="37"/>
                      <a:pt x="3" y="36"/>
                    </a:cubicBezTo>
                    <a:cubicBezTo>
                      <a:pt x="3" y="35"/>
                      <a:pt x="2" y="34"/>
                      <a:pt x="1" y="33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1" y="29"/>
                      <a:pt x="1" y="28"/>
                      <a:pt x="2" y="27"/>
                    </a:cubicBezTo>
                    <a:cubicBezTo>
                      <a:pt x="3" y="25"/>
                      <a:pt x="4" y="23"/>
                      <a:pt x="6" y="22"/>
                    </a:cubicBezTo>
                    <a:cubicBezTo>
                      <a:pt x="8" y="20"/>
                      <a:pt x="9" y="18"/>
                      <a:pt x="11" y="17"/>
                    </a:cubicBezTo>
                    <a:cubicBezTo>
                      <a:pt x="13" y="15"/>
                      <a:pt x="15" y="14"/>
                      <a:pt x="17" y="13"/>
                    </a:cubicBezTo>
                    <a:cubicBezTo>
                      <a:pt x="19" y="12"/>
                      <a:pt x="21" y="10"/>
                      <a:pt x="23" y="9"/>
                    </a:cubicBezTo>
                    <a:cubicBezTo>
                      <a:pt x="25" y="8"/>
                      <a:pt x="27" y="7"/>
                      <a:pt x="29" y="6"/>
                    </a:cubicBezTo>
                    <a:cubicBezTo>
                      <a:pt x="31" y="5"/>
                      <a:pt x="33" y="4"/>
                      <a:pt x="35" y="3"/>
                    </a:cubicBezTo>
                    <a:cubicBezTo>
                      <a:pt x="38" y="2"/>
                      <a:pt x="40" y="1"/>
                      <a:pt x="42" y="1"/>
                    </a:cubicBezTo>
                    <a:cubicBezTo>
                      <a:pt x="44" y="0"/>
                      <a:pt x="47" y="0"/>
                      <a:pt x="49" y="0"/>
                    </a:cubicBezTo>
                    <a:cubicBezTo>
                      <a:pt x="52" y="0"/>
                      <a:pt x="55" y="1"/>
                      <a:pt x="58" y="2"/>
                    </a:cubicBezTo>
                    <a:cubicBezTo>
                      <a:pt x="61" y="4"/>
                      <a:pt x="64" y="5"/>
                      <a:pt x="66" y="8"/>
                    </a:cubicBezTo>
                    <a:cubicBezTo>
                      <a:pt x="68" y="10"/>
                      <a:pt x="70" y="12"/>
                      <a:pt x="71" y="15"/>
                    </a:cubicBezTo>
                    <a:cubicBezTo>
                      <a:pt x="73" y="18"/>
                      <a:pt x="73" y="21"/>
                      <a:pt x="73" y="24"/>
                    </a:cubicBezTo>
                    <a:cubicBezTo>
                      <a:pt x="73" y="27"/>
                      <a:pt x="73" y="29"/>
                      <a:pt x="72" y="31"/>
                    </a:cubicBezTo>
                    <a:cubicBezTo>
                      <a:pt x="71" y="33"/>
                      <a:pt x="70" y="36"/>
                      <a:pt x="69" y="38"/>
                    </a:cubicBezTo>
                    <a:cubicBezTo>
                      <a:pt x="68" y="40"/>
                      <a:pt x="66" y="42"/>
                      <a:pt x="65" y="44"/>
                    </a:cubicBezTo>
                    <a:cubicBezTo>
                      <a:pt x="64" y="46"/>
                      <a:pt x="62" y="48"/>
                      <a:pt x="61" y="50"/>
                    </a:cubicBezTo>
                    <a:cubicBezTo>
                      <a:pt x="65" y="50"/>
                      <a:pt x="69" y="50"/>
                      <a:pt x="72" y="52"/>
                    </a:cubicBezTo>
                    <a:cubicBezTo>
                      <a:pt x="76" y="54"/>
                      <a:pt x="79" y="56"/>
                      <a:pt x="81" y="59"/>
                    </a:cubicBezTo>
                    <a:cubicBezTo>
                      <a:pt x="84" y="62"/>
                      <a:pt x="85" y="66"/>
                      <a:pt x="86" y="69"/>
                    </a:cubicBezTo>
                    <a:cubicBezTo>
                      <a:pt x="87" y="73"/>
                      <a:pt x="87" y="77"/>
                      <a:pt x="86" y="8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1" name="isļîḋe">
                <a:extLst>
                  <a:ext uri="{FF2B5EF4-FFF2-40B4-BE49-F238E27FC236}">
                    <a16:creationId xmlns:a16="http://schemas.microsoft.com/office/drawing/2014/main" id="{CF16F4B2-83BD-4168-A203-2668A670CD32}"/>
                  </a:ext>
                </a:extLst>
              </p:cNvPr>
              <p:cNvSpPr/>
              <p:nvPr/>
            </p:nvSpPr>
            <p:spPr>
              <a:xfrm flipH="1">
                <a:off x="9729105" y="2168182"/>
                <a:ext cx="51656" cy="157745"/>
              </a:xfrm>
              <a:custGeom>
                <a:avLst/>
                <a:gdLst/>
                <a:ahLst/>
                <a:cxnLst/>
                <a:rect l="l" t="t" r="r" b="b"/>
                <a:pathLst>
                  <a:path w="39" h="120" extrusionOk="0">
                    <a:moveTo>
                      <a:pt x="20" y="101"/>
                    </a:moveTo>
                    <a:cubicBezTo>
                      <a:pt x="19" y="103"/>
                      <a:pt x="18" y="105"/>
                      <a:pt x="18" y="107"/>
                    </a:cubicBezTo>
                    <a:cubicBezTo>
                      <a:pt x="17" y="109"/>
                      <a:pt x="16" y="111"/>
                      <a:pt x="15" y="113"/>
                    </a:cubicBezTo>
                    <a:cubicBezTo>
                      <a:pt x="14" y="115"/>
                      <a:pt x="13" y="116"/>
                      <a:pt x="11" y="118"/>
                    </a:cubicBezTo>
                    <a:cubicBezTo>
                      <a:pt x="10" y="119"/>
                      <a:pt x="8" y="120"/>
                      <a:pt x="6" y="120"/>
                    </a:cubicBezTo>
                    <a:cubicBezTo>
                      <a:pt x="4" y="120"/>
                      <a:pt x="3" y="119"/>
                      <a:pt x="2" y="118"/>
                    </a:cubicBezTo>
                    <a:cubicBezTo>
                      <a:pt x="1" y="117"/>
                      <a:pt x="0" y="116"/>
                      <a:pt x="0" y="114"/>
                    </a:cubicBezTo>
                    <a:cubicBezTo>
                      <a:pt x="0" y="113"/>
                      <a:pt x="0" y="111"/>
                      <a:pt x="0" y="110"/>
                    </a:cubicBezTo>
                    <a:cubicBezTo>
                      <a:pt x="0" y="108"/>
                      <a:pt x="0" y="107"/>
                      <a:pt x="0" y="105"/>
                    </a:cubicBezTo>
                    <a:cubicBezTo>
                      <a:pt x="0" y="102"/>
                      <a:pt x="0" y="99"/>
                      <a:pt x="1" y="95"/>
                    </a:cubicBezTo>
                    <a:cubicBezTo>
                      <a:pt x="1" y="92"/>
                      <a:pt x="2" y="89"/>
                      <a:pt x="3" y="85"/>
                    </a:cubicBezTo>
                    <a:cubicBezTo>
                      <a:pt x="4" y="80"/>
                      <a:pt x="5" y="74"/>
                      <a:pt x="7" y="68"/>
                    </a:cubicBezTo>
                    <a:cubicBezTo>
                      <a:pt x="8" y="62"/>
                      <a:pt x="10" y="57"/>
                      <a:pt x="11" y="51"/>
                    </a:cubicBezTo>
                    <a:cubicBezTo>
                      <a:pt x="12" y="45"/>
                      <a:pt x="14" y="40"/>
                      <a:pt x="15" y="34"/>
                    </a:cubicBezTo>
                    <a:cubicBezTo>
                      <a:pt x="17" y="28"/>
                      <a:pt x="18" y="23"/>
                      <a:pt x="20" y="17"/>
                    </a:cubicBezTo>
                    <a:cubicBezTo>
                      <a:pt x="20" y="16"/>
                      <a:pt x="21" y="14"/>
                      <a:pt x="21" y="12"/>
                    </a:cubicBezTo>
                    <a:cubicBezTo>
                      <a:pt x="22" y="10"/>
                      <a:pt x="22" y="9"/>
                      <a:pt x="23" y="7"/>
                    </a:cubicBezTo>
                    <a:cubicBezTo>
                      <a:pt x="24" y="6"/>
                      <a:pt x="25" y="4"/>
                      <a:pt x="26" y="3"/>
                    </a:cubicBezTo>
                    <a:cubicBezTo>
                      <a:pt x="27" y="2"/>
                      <a:pt x="29" y="1"/>
                      <a:pt x="31" y="0"/>
                    </a:cubicBezTo>
                    <a:cubicBezTo>
                      <a:pt x="32" y="0"/>
                      <a:pt x="33" y="0"/>
                      <a:pt x="34" y="1"/>
                    </a:cubicBezTo>
                    <a:cubicBezTo>
                      <a:pt x="35" y="1"/>
                      <a:pt x="36" y="2"/>
                      <a:pt x="36" y="2"/>
                    </a:cubicBezTo>
                    <a:cubicBezTo>
                      <a:pt x="37" y="3"/>
                      <a:pt x="38" y="4"/>
                      <a:pt x="38" y="5"/>
                    </a:cubicBezTo>
                    <a:cubicBezTo>
                      <a:pt x="39" y="6"/>
                      <a:pt x="39" y="7"/>
                      <a:pt x="39" y="8"/>
                    </a:cubicBezTo>
                    <a:cubicBezTo>
                      <a:pt x="39" y="11"/>
                      <a:pt x="39" y="15"/>
                      <a:pt x="38" y="19"/>
                    </a:cubicBezTo>
                    <a:cubicBezTo>
                      <a:pt x="37" y="23"/>
                      <a:pt x="36" y="26"/>
                      <a:pt x="36" y="29"/>
                    </a:cubicBezTo>
                    <a:cubicBezTo>
                      <a:pt x="35" y="32"/>
                      <a:pt x="34" y="36"/>
                      <a:pt x="33" y="39"/>
                    </a:cubicBezTo>
                    <a:cubicBezTo>
                      <a:pt x="32" y="42"/>
                      <a:pt x="31" y="46"/>
                      <a:pt x="30" y="49"/>
                    </a:cubicBezTo>
                    <a:cubicBezTo>
                      <a:pt x="29" y="52"/>
                      <a:pt x="29" y="56"/>
                      <a:pt x="28" y="59"/>
                    </a:cubicBezTo>
                    <a:cubicBezTo>
                      <a:pt x="27" y="63"/>
                      <a:pt x="26" y="66"/>
                      <a:pt x="26" y="70"/>
                    </a:cubicBezTo>
                    <a:cubicBezTo>
                      <a:pt x="25" y="74"/>
                      <a:pt x="24" y="77"/>
                      <a:pt x="24" y="81"/>
                    </a:cubicBezTo>
                    <a:cubicBezTo>
                      <a:pt x="23" y="84"/>
                      <a:pt x="22" y="88"/>
                      <a:pt x="22" y="91"/>
                    </a:cubicBezTo>
                    <a:cubicBezTo>
                      <a:pt x="21" y="94"/>
                      <a:pt x="20" y="98"/>
                      <a:pt x="20" y="1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2" name="îṡļîďe">
                <a:extLst>
                  <a:ext uri="{FF2B5EF4-FFF2-40B4-BE49-F238E27FC236}">
                    <a16:creationId xmlns:a16="http://schemas.microsoft.com/office/drawing/2014/main" id="{57AEF136-99BD-4072-85E4-187DED4C2A4F}"/>
                  </a:ext>
                </a:extLst>
              </p:cNvPr>
              <p:cNvSpPr/>
              <p:nvPr/>
            </p:nvSpPr>
            <p:spPr>
              <a:xfrm flipH="1">
                <a:off x="9831861" y="1309473"/>
                <a:ext cx="209956" cy="324377"/>
              </a:xfrm>
              <a:custGeom>
                <a:avLst/>
                <a:gdLst/>
                <a:ahLst/>
                <a:cxnLst/>
                <a:rect l="l" t="t" r="r" b="b"/>
                <a:pathLst>
                  <a:path w="160" h="247" extrusionOk="0">
                    <a:moveTo>
                      <a:pt x="160" y="211"/>
                    </a:moveTo>
                    <a:cubicBezTo>
                      <a:pt x="159" y="213"/>
                      <a:pt x="159" y="215"/>
                      <a:pt x="158" y="217"/>
                    </a:cubicBezTo>
                    <a:cubicBezTo>
                      <a:pt x="156" y="218"/>
                      <a:pt x="155" y="220"/>
                      <a:pt x="154" y="221"/>
                    </a:cubicBezTo>
                    <a:cubicBezTo>
                      <a:pt x="152" y="222"/>
                      <a:pt x="151" y="224"/>
                      <a:pt x="149" y="225"/>
                    </a:cubicBezTo>
                    <a:cubicBezTo>
                      <a:pt x="147" y="226"/>
                      <a:pt x="146" y="227"/>
                      <a:pt x="144" y="228"/>
                    </a:cubicBezTo>
                    <a:cubicBezTo>
                      <a:pt x="140" y="229"/>
                      <a:pt x="136" y="228"/>
                      <a:pt x="132" y="226"/>
                    </a:cubicBezTo>
                    <a:cubicBezTo>
                      <a:pt x="129" y="225"/>
                      <a:pt x="126" y="223"/>
                      <a:pt x="123" y="220"/>
                    </a:cubicBezTo>
                    <a:cubicBezTo>
                      <a:pt x="120" y="217"/>
                      <a:pt x="117" y="214"/>
                      <a:pt x="115" y="211"/>
                    </a:cubicBezTo>
                    <a:cubicBezTo>
                      <a:pt x="112" y="208"/>
                      <a:pt x="109" y="205"/>
                      <a:pt x="107" y="203"/>
                    </a:cubicBezTo>
                    <a:cubicBezTo>
                      <a:pt x="101" y="195"/>
                      <a:pt x="95" y="187"/>
                      <a:pt x="90" y="180"/>
                    </a:cubicBezTo>
                    <a:cubicBezTo>
                      <a:pt x="85" y="172"/>
                      <a:pt x="79" y="165"/>
                      <a:pt x="74" y="157"/>
                    </a:cubicBezTo>
                    <a:cubicBezTo>
                      <a:pt x="72" y="166"/>
                      <a:pt x="69" y="175"/>
                      <a:pt x="67" y="183"/>
                    </a:cubicBezTo>
                    <a:cubicBezTo>
                      <a:pt x="64" y="192"/>
                      <a:pt x="62" y="201"/>
                      <a:pt x="60" y="210"/>
                    </a:cubicBezTo>
                    <a:cubicBezTo>
                      <a:pt x="58" y="213"/>
                      <a:pt x="57" y="217"/>
                      <a:pt x="56" y="221"/>
                    </a:cubicBezTo>
                    <a:cubicBezTo>
                      <a:pt x="55" y="225"/>
                      <a:pt x="54" y="228"/>
                      <a:pt x="52" y="232"/>
                    </a:cubicBezTo>
                    <a:cubicBezTo>
                      <a:pt x="50" y="235"/>
                      <a:pt x="48" y="239"/>
                      <a:pt x="46" y="241"/>
                    </a:cubicBezTo>
                    <a:cubicBezTo>
                      <a:pt x="44" y="244"/>
                      <a:pt x="41" y="246"/>
                      <a:pt x="37" y="247"/>
                    </a:cubicBezTo>
                    <a:cubicBezTo>
                      <a:pt x="34" y="247"/>
                      <a:pt x="32" y="247"/>
                      <a:pt x="30" y="246"/>
                    </a:cubicBezTo>
                    <a:cubicBezTo>
                      <a:pt x="28" y="246"/>
                      <a:pt x="26" y="245"/>
                      <a:pt x="24" y="243"/>
                    </a:cubicBezTo>
                    <a:cubicBezTo>
                      <a:pt x="23" y="242"/>
                      <a:pt x="21" y="240"/>
                      <a:pt x="20" y="238"/>
                    </a:cubicBezTo>
                    <a:cubicBezTo>
                      <a:pt x="19" y="236"/>
                      <a:pt x="18" y="234"/>
                      <a:pt x="18" y="232"/>
                    </a:cubicBezTo>
                    <a:cubicBezTo>
                      <a:pt x="18" y="231"/>
                      <a:pt x="18" y="230"/>
                      <a:pt x="18" y="229"/>
                    </a:cubicBezTo>
                    <a:cubicBezTo>
                      <a:pt x="18" y="228"/>
                      <a:pt x="18" y="227"/>
                      <a:pt x="17" y="226"/>
                    </a:cubicBezTo>
                    <a:cubicBezTo>
                      <a:pt x="17" y="219"/>
                      <a:pt x="18" y="213"/>
                      <a:pt x="19" y="207"/>
                    </a:cubicBezTo>
                    <a:cubicBezTo>
                      <a:pt x="21" y="200"/>
                      <a:pt x="23" y="194"/>
                      <a:pt x="25" y="188"/>
                    </a:cubicBezTo>
                    <a:cubicBezTo>
                      <a:pt x="27" y="181"/>
                      <a:pt x="30" y="175"/>
                      <a:pt x="33" y="169"/>
                    </a:cubicBezTo>
                    <a:cubicBezTo>
                      <a:pt x="35" y="163"/>
                      <a:pt x="38" y="157"/>
                      <a:pt x="40" y="150"/>
                    </a:cubicBezTo>
                    <a:cubicBezTo>
                      <a:pt x="42" y="146"/>
                      <a:pt x="44" y="141"/>
                      <a:pt x="46" y="136"/>
                    </a:cubicBezTo>
                    <a:cubicBezTo>
                      <a:pt x="48" y="132"/>
                      <a:pt x="50" y="127"/>
                      <a:pt x="52" y="122"/>
                    </a:cubicBezTo>
                    <a:cubicBezTo>
                      <a:pt x="47" y="113"/>
                      <a:pt x="42" y="105"/>
                      <a:pt x="37" y="97"/>
                    </a:cubicBezTo>
                    <a:cubicBezTo>
                      <a:pt x="32" y="90"/>
                      <a:pt x="26" y="82"/>
                      <a:pt x="21" y="73"/>
                    </a:cubicBezTo>
                    <a:cubicBezTo>
                      <a:pt x="19" y="70"/>
                      <a:pt x="17" y="67"/>
                      <a:pt x="15" y="64"/>
                    </a:cubicBezTo>
                    <a:cubicBezTo>
                      <a:pt x="13" y="60"/>
                      <a:pt x="11" y="57"/>
                      <a:pt x="9" y="54"/>
                    </a:cubicBezTo>
                    <a:cubicBezTo>
                      <a:pt x="7" y="51"/>
                      <a:pt x="6" y="47"/>
                      <a:pt x="4" y="44"/>
                    </a:cubicBezTo>
                    <a:cubicBezTo>
                      <a:pt x="3" y="40"/>
                      <a:pt x="1" y="36"/>
                      <a:pt x="1" y="33"/>
                    </a:cubicBezTo>
                    <a:cubicBezTo>
                      <a:pt x="0" y="31"/>
                      <a:pt x="1" y="29"/>
                      <a:pt x="1" y="27"/>
                    </a:cubicBezTo>
                    <a:cubicBezTo>
                      <a:pt x="2" y="26"/>
                      <a:pt x="3" y="25"/>
                      <a:pt x="4" y="23"/>
                    </a:cubicBezTo>
                    <a:cubicBezTo>
                      <a:pt x="6" y="22"/>
                      <a:pt x="7" y="21"/>
                      <a:pt x="9" y="20"/>
                    </a:cubicBezTo>
                    <a:cubicBezTo>
                      <a:pt x="10" y="20"/>
                      <a:pt x="12" y="19"/>
                      <a:pt x="13" y="18"/>
                    </a:cubicBezTo>
                    <a:cubicBezTo>
                      <a:pt x="15" y="18"/>
                      <a:pt x="17" y="17"/>
                      <a:pt x="19" y="17"/>
                    </a:cubicBezTo>
                    <a:cubicBezTo>
                      <a:pt x="21" y="16"/>
                      <a:pt x="23" y="16"/>
                      <a:pt x="24" y="16"/>
                    </a:cubicBezTo>
                    <a:cubicBezTo>
                      <a:pt x="26" y="17"/>
                      <a:pt x="27" y="18"/>
                      <a:pt x="28" y="19"/>
                    </a:cubicBezTo>
                    <a:cubicBezTo>
                      <a:pt x="29" y="20"/>
                      <a:pt x="31" y="21"/>
                      <a:pt x="32" y="22"/>
                    </a:cubicBezTo>
                    <a:cubicBezTo>
                      <a:pt x="35" y="26"/>
                      <a:pt x="38" y="29"/>
                      <a:pt x="40" y="33"/>
                    </a:cubicBezTo>
                    <a:cubicBezTo>
                      <a:pt x="43" y="37"/>
                      <a:pt x="46" y="41"/>
                      <a:pt x="49" y="45"/>
                    </a:cubicBezTo>
                    <a:cubicBezTo>
                      <a:pt x="52" y="50"/>
                      <a:pt x="56" y="55"/>
                      <a:pt x="59" y="61"/>
                    </a:cubicBezTo>
                    <a:cubicBezTo>
                      <a:pt x="63" y="66"/>
                      <a:pt x="66" y="72"/>
                      <a:pt x="70" y="77"/>
                    </a:cubicBezTo>
                    <a:cubicBezTo>
                      <a:pt x="72" y="70"/>
                      <a:pt x="74" y="62"/>
                      <a:pt x="76" y="55"/>
                    </a:cubicBezTo>
                    <a:cubicBezTo>
                      <a:pt x="79" y="48"/>
                      <a:pt x="81" y="41"/>
                      <a:pt x="84" y="34"/>
                    </a:cubicBezTo>
                    <a:cubicBezTo>
                      <a:pt x="85" y="31"/>
                      <a:pt x="87" y="28"/>
                      <a:pt x="88" y="25"/>
                    </a:cubicBezTo>
                    <a:cubicBezTo>
                      <a:pt x="89" y="22"/>
                      <a:pt x="90" y="19"/>
                      <a:pt x="92" y="16"/>
                    </a:cubicBezTo>
                    <a:cubicBezTo>
                      <a:pt x="93" y="13"/>
                      <a:pt x="94" y="10"/>
                      <a:pt x="96" y="7"/>
                    </a:cubicBezTo>
                    <a:cubicBezTo>
                      <a:pt x="98" y="4"/>
                      <a:pt x="100" y="2"/>
                      <a:pt x="103" y="0"/>
                    </a:cubicBezTo>
                    <a:cubicBezTo>
                      <a:pt x="106" y="0"/>
                      <a:pt x="108" y="0"/>
                      <a:pt x="111" y="1"/>
                    </a:cubicBezTo>
                    <a:cubicBezTo>
                      <a:pt x="114" y="2"/>
                      <a:pt x="116" y="4"/>
                      <a:pt x="118" y="5"/>
                    </a:cubicBezTo>
                    <a:cubicBezTo>
                      <a:pt x="120" y="7"/>
                      <a:pt x="122" y="9"/>
                      <a:pt x="123" y="11"/>
                    </a:cubicBezTo>
                    <a:cubicBezTo>
                      <a:pt x="125" y="14"/>
                      <a:pt x="126" y="16"/>
                      <a:pt x="126" y="19"/>
                    </a:cubicBezTo>
                    <a:cubicBezTo>
                      <a:pt x="127" y="28"/>
                      <a:pt x="126" y="37"/>
                      <a:pt x="124" y="45"/>
                    </a:cubicBezTo>
                    <a:cubicBezTo>
                      <a:pt x="122" y="53"/>
                      <a:pt x="119" y="62"/>
                      <a:pt x="115" y="70"/>
                    </a:cubicBezTo>
                    <a:cubicBezTo>
                      <a:pt x="112" y="78"/>
                      <a:pt x="108" y="86"/>
                      <a:pt x="104" y="94"/>
                    </a:cubicBezTo>
                    <a:cubicBezTo>
                      <a:pt x="100" y="102"/>
                      <a:pt x="96" y="110"/>
                      <a:pt x="92" y="118"/>
                    </a:cubicBezTo>
                    <a:cubicBezTo>
                      <a:pt x="98" y="128"/>
                      <a:pt x="104" y="137"/>
                      <a:pt x="111" y="145"/>
                    </a:cubicBezTo>
                    <a:cubicBezTo>
                      <a:pt x="118" y="154"/>
                      <a:pt x="125" y="162"/>
                      <a:pt x="132" y="171"/>
                    </a:cubicBezTo>
                    <a:cubicBezTo>
                      <a:pt x="137" y="178"/>
                      <a:pt x="142" y="184"/>
                      <a:pt x="147" y="191"/>
                    </a:cubicBezTo>
                    <a:cubicBezTo>
                      <a:pt x="152" y="197"/>
                      <a:pt x="156" y="204"/>
                      <a:pt x="160" y="2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3" name="ïṡ1îḑe">
                <a:extLst>
                  <a:ext uri="{FF2B5EF4-FFF2-40B4-BE49-F238E27FC236}">
                    <a16:creationId xmlns:a16="http://schemas.microsoft.com/office/drawing/2014/main" id="{BC91B6DD-06FB-4FC2-BB24-A4B10562EA22}"/>
                  </a:ext>
                </a:extLst>
              </p:cNvPr>
              <p:cNvSpPr/>
              <p:nvPr/>
            </p:nvSpPr>
            <p:spPr>
              <a:xfrm flipH="1">
                <a:off x="9861855" y="1644403"/>
                <a:ext cx="106644" cy="149413"/>
              </a:xfrm>
              <a:custGeom>
                <a:avLst/>
                <a:gdLst/>
                <a:ahLst/>
                <a:cxnLst/>
                <a:rect l="l" t="t" r="r" b="b"/>
                <a:pathLst>
                  <a:path w="81" h="114" extrusionOk="0">
                    <a:moveTo>
                      <a:pt x="81" y="107"/>
                    </a:moveTo>
                    <a:cubicBezTo>
                      <a:pt x="80" y="109"/>
                      <a:pt x="80" y="110"/>
                      <a:pt x="79" y="111"/>
                    </a:cubicBezTo>
                    <a:cubicBezTo>
                      <a:pt x="77" y="112"/>
                      <a:pt x="76" y="113"/>
                      <a:pt x="75" y="113"/>
                    </a:cubicBezTo>
                    <a:cubicBezTo>
                      <a:pt x="74" y="113"/>
                      <a:pt x="73" y="113"/>
                      <a:pt x="72" y="113"/>
                    </a:cubicBezTo>
                    <a:cubicBezTo>
                      <a:pt x="71" y="113"/>
                      <a:pt x="71" y="113"/>
                      <a:pt x="70" y="113"/>
                    </a:cubicBezTo>
                    <a:cubicBezTo>
                      <a:pt x="69" y="113"/>
                      <a:pt x="68" y="113"/>
                      <a:pt x="68" y="112"/>
                    </a:cubicBezTo>
                    <a:cubicBezTo>
                      <a:pt x="67" y="112"/>
                      <a:pt x="67" y="111"/>
                      <a:pt x="66" y="111"/>
                    </a:cubicBezTo>
                    <a:cubicBezTo>
                      <a:pt x="65" y="109"/>
                      <a:pt x="65" y="108"/>
                      <a:pt x="65" y="106"/>
                    </a:cubicBezTo>
                    <a:cubicBezTo>
                      <a:pt x="64" y="105"/>
                      <a:pt x="64" y="103"/>
                      <a:pt x="64" y="101"/>
                    </a:cubicBezTo>
                    <a:cubicBezTo>
                      <a:pt x="64" y="99"/>
                      <a:pt x="63" y="97"/>
                      <a:pt x="63" y="95"/>
                    </a:cubicBezTo>
                    <a:cubicBezTo>
                      <a:pt x="63" y="93"/>
                      <a:pt x="63" y="91"/>
                      <a:pt x="62" y="89"/>
                    </a:cubicBezTo>
                    <a:cubicBezTo>
                      <a:pt x="61" y="88"/>
                      <a:pt x="60" y="88"/>
                      <a:pt x="58" y="88"/>
                    </a:cubicBezTo>
                    <a:cubicBezTo>
                      <a:pt x="57" y="87"/>
                      <a:pt x="56" y="87"/>
                      <a:pt x="54" y="87"/>
                    </a:cubicBezTo>
                    <a:cubicBezTo>
                      <a:pt x="51" y="87"/>
                      <a:pt x="48" y="87"/>
                      <a:pt x="45" y="88"/>
                    </a:cubicBezTo>
                    <a:cubicBezTo>
                      <a:pt x="43" y="88"/>
                      <a:pt x="40" y="88"/>
                      <a:pt x="37" y="89"/>
                    </a:cubicBezTo>
                    <a:cubicBezTo>
                      <a:pt x="34" y="90"/>
                      <a:pt x="31" y="90"/>
                      <a:pt x="29" y="91"/>
                    </a:cubicBezTo>
                    <a:cubicBezTo>
                      <a:pt x="26" y="92"/>
                      <a:pt x="24" y="93"/>
                      <a:pt x="21" y="95"/>
                    </a:cubicBezTo>
                    <a:cubicBezTo>
                      <a:pt x="20" y="96"/>
                      <a:pt x="19" y="98"/>
                      <a:pt x="18" y="100"/>
                    </a:cubicBezTo>
                    <a:cubicBezTo>
                      <a:pt x="18" y="102"/>
                      <a:pt x="17" y="105"/>
                      <a:pt x="17" y="107"/>
                    </a:cubicBezTo>
                    <a:cubicBezTo>
                      <a:pt x="17" y="107"/>
                      <a:pt x="17" y="108"/>
                      <a:pt x="17" y="109"/>
                    </a:cubicBezTo>
                    <a:cubicBezTo>
                      <a:pt x="16" y="110"/>
                      <a:pt x="16" y="111"/>
                      <a:pt x="15" y="111"/>
                    </a:cubicBezTo>
                    <a:cubicBezTo>
                      <a:pt x="14" y="112"/>
                      <a:pt x="14" y="113"/>
                      <a:pt x="13" y="113"/>
                    </a:cubicBezTo>
                    <a:cubicBezTo>
                      <a:pt x="12" y="113"/>
                      <a:pt x="11" y="114"/>
                      <a:pt x="10" y="113"/>
                    </a:cubicBezTo>
                    <a:cubicBezTo>
                      <a:pt x="8" y="113"/>
                      <a:pt x="7" y="112"/>
                      <a:pt x="6" y="111"/>
                    </a:cubicBezTo>
                    <a:cubicBezTo>
                      <a:pt x="4" y="110"/>
                      <a:pt x="3" y="109"/>
                      <a:pt x="3" y="107"/>
                    </a:cubicBezTo>
                    <a:cubicBezTo>
                      <a:pt x="1" y="105"/>
                      <a:pt x="0" y="101"/>
                      <a:pt x="0" y="98"/>
                    </a:cubicBezTo>
                    <a:cubicBezTo>
                      <a:pt x="0" y="95"/>
                      <a:pt x="0" y="91"/>
                      <a:pt x="2" y="88"/>
                    </a:cubicBezTo>
                    <a:cubicBezTo>
                      <a:pt x="3" y="85"/>
                      <a:pt x="4" y="82"/>
                      <a:pt x="5" y="78"/>
                    </a:cubicBezTo>
                    <a:cubicBezTo>
                      <a:pt x="7" y="75"/>
                      <a:pt x="9" y="71"/>
                      <a:pt x="10" y="68"/>
                    </a:cubicBezTo>
                    <a:cubicBezTo>
                      <a:pt x="12" y="64"/>
                      <a:pt x="13" y="61"/>
                      <a:pt x="15" y="57"/>
                    </a:cubicBezTo>
                    <a:cubicBezTo>
                      <a:pt x="17" y="52"/>
                      <a:pt x="19" y="46"/>
                      <a:pt x="21" y="41"/>
                    </a:cubicBezTo>
                    <a:cubicBezTo>
                      <a:pt x="23" y="35"/>
                      <a:pt x="25" y="30"/>
                      <a:pt x="26" y="24"/>
                    </a:cubicBezTo>
                    <a:cubicBezTo>
                      <a:pt x="27" y="22"/>
                      <a:pt x="29" y="20"/>
                      <a:pt x="30" y="17"/>
                    </a:cubicBezTo>
                    <a:cubicBezTo>
                      <a:pt x="31" y="15"/>
                      <a:pt x="32" y="12"/>
                      <a:pt x="34" y="10"/>
                    </a:cubicBezTo>
                    <a:cubicBezTo>
                      <a:pt x="35" y="8"/>
                      <a:pt x="37" y="6"/>
                      <a:pt x="39" y="4"/>
                    </a:cubicBezTo>
                    <a:cubicBezTo>
                      <a:pt x="40" y="2"/>
                      <a:pt x="43" y="1"/>
                      <a:pt x="45" y="0"/>
                    </a:cubicBezTo>
                    <a:cubicBezTo>
                      <a:pt x="48" y="0"/>
                      <a:pt x="50" y="1"/>
                      <a:pt x="52" y="2"/>
                    </a:cubicBezTo>
                    <a:cubicBezTo>
                      <a:pt x="54" y="3"/>
                      <a:pt x="56" y="4"/>
                      <a:pt x="58" y="6"/>
                    </a:cubicBezTo>
                    <a:cubicBezTo>
                      <a:pt x="60" y="7"/>
                      <a:pt x="61" y="9"/>
                      <a:pt x="62" y="11"/>
                    </a:cubicBezTo>
                    <a:cubicBezTo>
                      <a:pt x="64" y="13"/>
                      <a:pt x="65" y="15"/>
                      <a:pt x="65" y="17"/>
                    </a:cubicBezTo>
                    <a:cubicBezTo>
                      <a:pt x="66" y="20"/>
                      <a:pt x="67" y="22"/>
                      <a:pt x="67" y="24"/>
                    </a:cubicBezTo>
                    <a:cubicBezTo>
                      <a:pt x="68" y="27"/>
                      <a:pt x="68" y="29"/>
                      <a:pt x="69" y="31"/>
                    </a:cubicBezTo>
                    <a:cubicBezTo>
                      <a:pt x="71" y="41"/>
                      <a:pt x="73" y="50"/>
                      <a:pt x="74" y="59"/>
                    </a:cubicBezTo>
                    <a:cubicBezTo>
                      <a:pt x="76" y="69"/>
                      <a:pt x="78" y="78"/>
                      <a:pt x="79" y="87"/>
                    </a:cubicBezTo>
                    <a:cubicBezTo>
                      <a:pt x="79" y="89"/>
                      <a:pt x="80" y="91"/>
                      <a:pt x="80" y="92"/>
                    </a:cubicBezTo>
                    <a:cubicBezTo>
                      <a:pt x="80" y="94"/>
                      <a:pt x="81" y="95"/>
                      <a:pt x="81" y="97"/>
                    </a:cubicBezTo>
                    <a:cubicBezTo>
                      <a:pt x="81" y="99"/>
                      <a:pt x="81" y="100"/>
                      <a:pt x="81" y="102"/>
                    </a:cubicBezTo>
                    <a:cubicBezTo>
                      <a:pt x="81" y="104"/>
                      <a:pt x="81" y="105"/>
                      <a:pt x="81" y="107"/>
                    </a:cubicBezTo>
                    <a:close/>
                    <a:moveTo>
                      <a:pt x="55" y="62"/>
                    </a:moveTo>
                    <a:cubicBezTo>
                      <a:pt x="55" y="58"/>
                      <a:pt x="55" y="55"/>
                      <a:pt x="54" y="52"/>
                    </a:cubicBezTo>
                    <a:cubicBezTo>
                      <a:pt x="54" y="49"/>
                      <a:pt x="53" y="45"/>
                      <a:pt x="53" y="42"/>
                    </a:cubicBezTo>
                    <a:cubicBezTo>
                      <a:pt x="52" y="39"/>
                      <a:pt x="51" y="36"/>
                      <a:pt x="50" y="33"/>
                    </a:cubicBezTo>
                    <a:cubicBezTo>
                      <a:pt x="49" y="30"/>
                      <a:pt x="48" y="27"/>
                      <a:pt x="48" y="24"/>
                    </a:cubicBezTo>
                    <a:cubicBezTo>
                      <a:pt x="45" y="26"/>
                      <a:pt x="43" y="29"/>
                      <a:pt x="41" y="32"/>
                    </a:cubicBezTo>
                    <a:cubicBezTo>
                      <a:pt x="39" y="36"/>
                      <a:pt x="37" y="39"/>
                      <a:pt x="36" y="42"/>
                    </a:cubicBezTo>
                    <a:cubicBezTo>
                      <a:pt x="35" y="46"/>
                      <a:pt x="33" y="49"/>
                      <a:pt x="32" y="53"/>
                    </a:cubicBezTo>
                    <a:cubicBezTo>
                      <a:pt x="31" y="56"/>
                      <a:pt x="30" y="60"/>
                      <a:pt x="30" y="63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30" y="66"/>
                      <a:pt x="30" y="66"/>
                      <a:pt x="30" y="67"/>
                    </a:cubicBezTo>
                    <a:cubicBezTo>
                      <a:pt x="30" y="67"/>
                      <a:pt x="30" y="67"/>
                      <a:pt x="30" y="68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1" y="69"/>
                      <a:pt x="32" y="69"/>
                      <a:pt x="33" y="69"/>
                    </a:cubicBezTo>
                    <a:cubicBezTo>
                      <a:pt x="34" y="69"/>
                      <a:pt x="35" y="69"/>
                      <a:pt x="36" y="69"/>
                    </a:cubicBezTo>
                    <a:cubicBezTo>
                      <a:pt x="37" y="69"/>
                      <a:pt x="38" y="69"/>
                      <a:pt x="39" y="69"/>
                    </a:cubicBezTo>
                    <a:cubicBezTo>
                      <a:pt x="40" y="69"/>
                      <a:pt x="41" y="69"/>
                      <a:pt x="42" y="69"/>
                    </a:cubicBezTo>
                    <a:cubicBezTo>
                      <a:pt x="43" y="69"/>
                      <a:pt x="44" y="69"/>
                      <a:pt x="46" y="69"/>
                    </a:cubicBezTo>
                    <a:cubicBezTo>
                      <a:pt x="47" y="69"/>
                      <a:pt x="49" y="69"/>
                      <a:pt x="50" y="68"/>
                    </a:cubicBezTo>
                    <a:cubicBezTo>
                      <a:pt x="52" y="67"/>
                      <a:pt x="53" y="67"/>
                      <a:pt x="54" y="66"/>
                    </a:cubicBezTo>
                    <a:cubicBezTo>
                      <a:pt x="54" y="65"/>
                      <a:pt x="55" y="63"/>
                      <a:pt x="55" y="6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4" name="ïsļíḑè">
                <a:extLst>
                  <a:ext uri="{FF2B5EF4-FFF2-40B4-BE49-F238E27FC236}">
                    <a16:creationId xmlns:a16="http://schemas.microsoft.com/office/drawing/2014/main" id="{1A2ED072-8859-4384-A36C-B90510D99106}"/>
                  </a:ext>
                </a:extLst>
              </p:cNvPr>
              <p:cNvSpPr/>
              <p:nvPr/>
            </p:nvSpPr>
            <p:spPr>
              <a:xfrm flipH="1">
                <a:off x="9662453" y="1762156"/>
                <a:ext cx="102201" cy="169409"/>
              </a:xfrm>
              <a:custGeom>
                <a:avLst/>
                <a:gdLst/>
                <a:ahLst/>
                <a:cxnLst/>
                <a:rect l="l" t="t" r="r" b="b"/>
                <a:pathLst>
                  <a:path w="78" h="129" extrusionOk="0">
                    <a:moveTo>
                      <a:pt x="67" y="123"/>
                    </a:moveTo>
                    <a:cubicBezTo>
                      <a:pt x="66" y="124"/>
                      <a:pt x="65" y="126"/>
                      <a:pt x="64" y="127"/>
                    </a:cubicBezTo>
                    <a:cubicBezTo>
                      <a:pt x="62" y="128"/>
                      <a:pt x="60" y="129"/>
                      <a:pt x="58" y="129"/>
                    </a:cubicBezTo>
                    <a:cubicBezTo>
                      <a:pt x="58" y="129"/>
                      <a:pt x="58" y="129"/>
                      <a:pt x="57" y="129"/>
                    </a:cubicBezTo>
                    <a:cubicBezTo>
                      <a:pt x="57" y="129"/>
                      <a:pt x="56" y="129"/>
                      <a:pt x="56" y="129"/>
                    </a:cubicBezTo>
                    <a:cubicBezTo>
                      <a:pt x="55" y="126"/>
                      <a:pt x="53" y="122"/>
                      <a:pt x="52" y="119"/>
                    </a:cubicBezTo>
                    <a:cubicBezTo>
                      <a:pt x="50" y="116"/>
                      <a:pt x="48" y="114"/>
                      <a:pt x="46" y="111"/>
                    </a:cubicBezTo>
                    <a:cubicBezTo>
                      <a:pt x="45" y="113"/>
                      <a:pt x="43" y="114"/>
                      <a:pt x="42" y="115"/>
                    </a:cubicBezTo>
                    <a:cubicBezTo>
                      <a:pt x="40" y="117"/>
                      <a:pt x="39" y="118"/>
                      <a:pt x="37" y="118"/>
                    </a:cubicBezTo>
                    <a:cubicBezTo>
                      <a:pt x="35" y="119"/>
                      <a:pt x="34" y="120"/>
                      <a:pt x="32" y="120"/>
                    </a:cubicBezTo>
                    <a:cubicBezTo>
                      <a:pt x="30" y="121"/>
                      <a:pt x="28" y="121"/>
                      <a:pt x="27" y="120"/>
                    </a:cubicBezTo>
                    <a:cubicBezTo>
                      <a:pt x="24" y="120"/>
                      <a:pt x="21" y="119"/>
                      <a:pt x="19" y="118"/>
                    </a:cubicBezTo>
                    <a:cubicBezTo>
                      <a:pt x="16" y="116"/>
                      <a:pt x="14" y="115"/>
                      <a:pt x="13" y="113"/>
                    </a:cubicBezTo>
                    <a:cubicBezTo>
                      <a:pt x="11" y="111"/>
                      <a:pt x="9" y="108"/>
                      <a:pt x="8" y="106"/>
                    </a:cubicBezTo>
                    <a:cubicBezTo>
                      <a:pt x="7" y="104"/>
                      <a:pt x="5" y="101"/>
                      <a:pt x="4" y="99"/>
                    </a:cubicBezTo>
                    <a:cubicBezTo>
                      <a:pt x="2" y="94"/>
                      <a:pt x="1" y="89"/>
                      <a:pt x="0" y="83"/>
                    </a:cubicBezTo>
                    <a:cubicBezTo>
                      <a:pt x="0" y="78"/>
                      <a:pt x="0" y="72"/>
                      <a:pt x="1" y="67"/>
                    </a:cubicBezTo>
                    <a:cubicBezTo>
                      <a:pt x="1" y="66"/>
                      <a:pt x="1" y="64"/>
                      <a:pt x="1" y="63"/>
                    </a:cubicBezTo>
                    <a:cubicBezTo>
                      <a:pt x="1" y="62"/>
                      <a:pt x="2" y="61"/>
                      <a:pt x="2" y="59"/>
                    </a:cubicBezTo>
                    <a:cubicBezTo>
                      <a:pt x="3" y="53"/>
                      <a:pt x="6" y="46"/>
                      <a:pt x="8" y="40"/>
                    </a:cubicBezTo>
                    <a:cubicBezTo>
                      <a:pt x="11" y="33"/>
                      <a:pt x="15" y="27"/>
                      <a:pt x="19" y="21"/>
                    </a:cubicBezTo>
                    <a:cubicBezTo>
                      <a:pt x="21" y="18"/>
                      <a:pt x="23" y="16"/>
                      <a:pt x="26" y="13"/>
                    </a:cubicBezTo>
                    <a:cubicBezTo>
                      <a:pt x="28" y="10"/>
                      <a:pt x="31" y="8"/>
                      <a:pt x="34" y="6"/>
                    </a:cubicBezTo>
                    <a:cubicBezTo>
                      <a:pt x="37" y="4"/>
                      <a:pt x="40" y="3"/>
                      <a:pt x="44" y="2"/>
                    </a:cubicBezTo>
                    <a:cubicBezTo>
                      <a:pt x="47" y="1"/>
                      <a:pt x="50" y="0"/>
                      <a:pt x="54" y="1"/>
                    </a:cubicBezTo>
                    <a:cubicBezTo>
                      <a:pt x="57" y="1"/>
                      <a:pt x="60" y="2"/>
                      <a:pt x="63" y="4"/>
                    </a:cubicBezTo>
                    <a:cubicBezTo>
                      <a:pt x="65" y="5"/>
                      <a:pt x="68" y="7"/>
                      <a:pt x="69" y="10"/>
                    </a:cubicBezTo>
                    <a:cubicBezTo>
                      <a:pt x="71" y="12"/>
                      <a:pt x="73" y="15"/>
                      <a:pt x="74" y="18"/>
                    </a:cubicBezTo>
                    <a:cubicBezTo>
                      <a:pt x="75" y="21"/>
                      <a:pt x="76" y="24"/>
                      <a:pt x="76" y="27"/>
                    </a:cubicBezTo>
                    <a:cubicBezTo>
                      <a:pt x="77" y="33"/>
                      <a:pt x="78" y="39"/>
                      <a:pt x="77" y="45"/>
                    </a:cubicBezTo>
                    <a:cubicBezTo>
                      <a:pt x="77" y="52"/>
                      <a:pt x="76" y="58"/>
                      <a:pt x="75" y="64"/>
                    </a:cubicBezTo>
                    <a:cubicBezTo>
                      <a:pt x="74" y="67"/>
                      <a:pt x="73" y="70"/>
                      <a:pt x="72" y="73"/>
                    </a:cubicBezTo>
                    <a:cubicBezTo>
                      <a:pt x="71" y="76"/>
                      <a:pt x="70" y="79"/>
                      <a:pt x="69" y="82"/>
                    </a:cubicBezTo>
                    <a:cubicBezTo>
                      <a:pt x="68" y="85"/>
                      <a:pt x="66" y="88"/>
                      <a:pt x="64" y="91"/>
                    </a:cubicBezTo>
                    <a:cubicBezTo>
                      <a:pt x="63" y="93"/>
                      <a:pt x="61" y="96"/>
                      <a:pt x="58" y="98"/>
                    </a:cubicBezTo>
                    <a:cubicBezTo>
                      <a:pt x="59" y="101"/>
                      <a:pt x="60" y="104"/>
                      <a:pt x="62" y="106"/>
                    </a:cubicBezTo>
                    <a:cubicBezTo>
                      <a:pt x="63" y="109"/>
                      <a:pt x="64" y="112"/>
                      <a:pt x="66" y="114"/>
                    </a:cubicBezTo>
                    <a:cubicBezTo>
                      <a:pt x="66" y="116"/>
                      <a:pt x="67" y="117"/>
                      <a:pt x="67" y="118"/>
                    </a:cubicBezTo>
                    <a:cubicBezTo>
                      <a:pt x="67" y="120"/>
                      <a:pt x="67" y="121"/>
                      <a:pt x="67" y="123"/>
                    </a:cubicBezTo>
                    <a:close/>
                    <a:moveTo>
                      <a:pt x="56" y="61"/>
                    </a:moveTo>
                    <a:cubicBezTo>
                      <a:pt x="57" y="57"/>
                      <a:pt x="57" y="53"/>
                      <a:pt x="58" y="49"/>
                    </a:cubicBezTo>
                    <a:cubicBezTo>
                      <a:pt x="59" y="45"/>
                      <a:pt x="59" y="41"/>
                      <a:pt x="59" y="36"/>
                    </a:cubicBezTo>
                    <a:cubicBezTo>
                      <a:pt x="59" y="35"/>
                      <a:pt x="59" y="33"/>
                      <a:pt x="59" y="31"/>
                    </a:cubicBezTo>
                    <a:cubicBezTo>
                      <a:pt x="59" y="29"/>
                      <a:pt x="59" y="27"/>
                      <a:pt x="58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55" y="19"/>
                      <a:pt x="53" y="18"/>
                      <a:pt x="52" y="17"/>
                    </a:cubicBezTo>
                    <a:cubicBezTo>
                      <a:pt x="49" y="17"/>
                      <a:pt x="46" y="18"/>
                      <a:pt x="44" y="19"/>
                    </a:cubicBezTo>
                    <a:cubicBezTo>
                      <a:pt x="42" y="21"/>
                      <a:pt x="40" y="22"/>
                      <a:pt x="38" y="24"/>
                    </a:cubicBezTo>
                    <a:cubicBezTo>
                      <a:pt x="36" y="26"/>
                      <a:pt x="35" y="29"/>
                      <a:pt x="33" y="31"/>
                    </a:cubicBezTo>
                    <a:cubicBezTo>
                      <a:pt x="32" y="33"/>
                      <a:pt x="31" y="36"/>
                      <a:pt x="30" y="38"/>
                    </a:cubicBezTo>
                    <a:cubicBezTo>
                      <a:pt x="27" y="43"/>
                      <a:pt x="24" y="48"/>
                      <a:pt x="22" y="53"/>
                    </a:cubicBezTo>
                    <a:cubicBezTo>
                      <a:pt x="20" y="58"/>
                      <a:pt x="19" y="64"/>
                      <a:pt x="17" y="69"/>
                    </a:cubicBezTo>
                    <a:cubicBezTo>
                      <a:pt x="17" y="72"/>
                      <a:pt x="17" y="75"/>
                      <a:pt x="16" y="78"/>
                    </a:cubicBezTo>
                    <a:cubicBezTo>
                      <a:pt x="16" y="81"/>
                      <a:pt x="15" y="84"/>
                      <a:pt x="16" y="87"/>
                    </a:cubicBezTo>
                    <a:cubicBezTo>
                      <a:pt x="16" y="90"/>
                      <a:pt x="16" y="93"/>
                      <a:pt x="18" y="95"/>
                    </a:cubicBezTo>
                    <a:cubicBezTo>
                      <a:pt x="19" y="98"/>
                      <a:pt x="21" y="99"/>
                      <a:pt x="25" y="100"/>
                    </a:cubicBezTo>
                    <a:cubicBezTo>
                      <a:pt x="26" y="100"/>
                      <a:pt x="27" y="100"/>
                      <a:pt x="28" y="100"/>
                    </a:cubicBezTo>
                    <a:cubicBezTo>
                      <a:pt x="29" y="100"/>
                      <a:pt x="30" y="99"/>
                      <a:pt x="31" y="99"/>
                    </a:cubicBezTo>
                    <a:cubicBezTo>
                      <a:pt x="32" y="98"/>
                      <a:pt x="33" y="97"/>
                      <a:pt x="34" y="96"/>
                    </a:cubicBezTo>
                    <a:cubicBezTo>
                      <a:pt x="34" y="95"/>
                      <a:pt x="35" y="94"/>
                      <a:pt x="35" y="93"/>
                    </a:cubicBezTo>
                    <a:cubicBezTo>
                      <a:pt x="35" y="92"/>
                      <a:pt x="34" y="90"/>
                      <a:pt x="33" y="88"/>
                    </a:cubicBezTo>
                    <a:cubicBezTo>
                      <a:pt x="32" y="87"/>
                      <a:pt x="31" y="85"/>
                      <a:pt x="30" y="83"/>
                    </a:cubicBezTo>
                    <a:cubicBezTo>
                      <a:pt x="29" y="82"/>
                      <a:pt x="29" y="80"/>
                      <a:pt x="28" y="78"/>
                    </a:cubicBezTo>
                    <a:cubicBezTo>
                      <a:pt x="28" y="76"/>
                      <a:pt x="28" y="74"/>
                      <a:pt x="28" y="72"/>
                    </a:cubicBezTo>
                    <a:cubicBezTo>
                      <a:pt x="28" y="72"/>
                      <a:pt x="28" y="71"/>
                      <a:pt x="29" y="70"/>
                    </a:cubicBezTo>
                    <a:cubicBezTo>
                      <a:pt x="29" y="70"/>
                      <a:pt x="30" y="69"/>
                      <a:pt x="31" y="69"/>
                    </a:cubicBezTo>
                    <a:cubicBezTo>
                      <a:pt x="31" y="68"/>
                      <a:pt x="32" y="68"/>
                      <a:pt x="33" y="68"/>
                    </a:cubicBezTo>
                    <a:cubicBezTo>
                      <a:pt x="33" y="68"/>
                      <a:pt x="34" y="68"/>
                      <a:pt x="35" y="68"/>
                    </a:cubicBezTo>
                    <a:cubicBezTo>
                      <a:pt x="38" y="69"/>
                      <a:pt x="41" y="70"/>
                      <a:pt x="43" y="72"/>
                    </a:cubicBezTo>
                    <a:cubicBezTo>
                      <a:pt x="46" y="74"/>
                      <a:pt x="47" y="77"/>
                      <a:pt x="48" y="80"/>
                    </a:cubicBezTo>
                    <a:cubicBezTo>
                      <a:pt x="50" y="77"/>
                      <a:pt x="52" y="74"/>
                      <a:pt x="53" y="71"/>
                    </a:cubicBezTo>
                    <a:cubicBezTo>
                      <a:pt x="54" y="68"/>
                      <a:pt x="55" y="65"/>
                      <a:pt x="5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5" name="ïšḻïḋè">
                <a:extLst>
                  <a:ext uri="{FF2B5EF4-FFF2-40B4-BE49-F238E27FC236}">
                    <a16:creationId xmlns:a16="http://schemas.microsoft.com/office/drawing/2014/main" id="{59776172-059B-450D-9602-700D21333F54}"/>
                  </a:ext>
                </a:extLst>
              </p:cNvPr>
              <p:cNvSpPr/>
              <p:nvPr/>
            </p:nvSpPr>
            <p:spPr>
              <a:xfrm flipH="1">
                <a:off x="10413405" y="1222824"/>
                <a:ext cx="266610" cy="378255"/>
              </a:xfrm>
              <a:custGeom>
                <a:avLst/>
                <a:gdLst/>
                <a:ahLst/>
                <a:cxnLst/>
                <a:rect l="l" t="t" r="r" b="b"/>
                <a:pathLst>
                  <a:path w="203" h="288" extrusionOk="0">
                    <a:moveTo>
                      <a:pt x="203" y="90"/>
                    </a:moveTo>
                    <a:cubicBezTo>
                      <a:pt x="203" y="93"/>
                      <a:pt x="203" y="95"/>
                      <a:pt x="202" y="98"/>
                    </a:cubicBezTo>
                    <a:cubicBezTo>
                      <a:pt x="200" y="100"/>
                      <a:pt x="199" y="102"/>
                      <a:pt x="197" y="103"/>
                    </a:cubicBezTo>
                    <a:cubicBezTo>
                      <a:pt x="195" y="104"/>
                      <a:pt x="192" y="105"/>
                      <a:pt x="190" y="106"/>
                    </a:cubicBezTo>
                    <a:cubicBezTo>
                      <a:pt x="187" y="107"/>
                      <a:pt x="184" y="107"/>
                      <a:pt x="182" y="106"/>
                    </a:cubicBezTo>
                    <a:cubicBezTo>
                      <a:pt x="177" y="106"/>
                      <a:pt x="173" y="104"/>
                      <a:pt x="169" y="101"/>
                    </a:cubicBezTo>
                    <a:cubicBezTo>
                      <a:pt x="165" y="98"/>
                      <a:pt x="162" y="94"/>
                      <a:pt x="161" y="90"/>
                    </a:cubicBezTo>
                    <a:cubicBezTo>
                      <a:pt x="159" y="85"/>
                      <a:pt x="157" y="81"/>
                      <a:pt x="155" y="76"/>
                    </a:cubicBezTo>
                    <a:cubicBezTo>
                      <a:pt x="153" y="71"/>
                      <a:pt x="152" y="66"/>
                      <a:pt x="150" y="61"/>
                    </a:cubicBezTo>
                    <a:cubicBezTo>
                      <a:pt x="149" y="57"/>
                      <a:pt x="146" y="53"/>
                      <a:pt x="142" y="50"/>
                    </a:cubicBezTo>
                    <a:cubicBezTo>
                      <a:pt x="139" y="47"/>
                      <a:pt x="134" y="45"/>
                      <a:pt x="129" y="45"/>
                    </a:cubicBezTo>
                    <a:cubicBezTo>
                      <a:pt x="123" y="45"/>
                      <a:pt x="117" y="46"/>
                      <a:pt x="111" y="49"/>
                    </a:cubicBezTo>
                    <a:cubicBezTo>
                      <a:pt x="105" y="52"/>
                      <a:pt x="100" y="55"/>
                      <a:pt x="96" y="60"/>
                    </a:cubicBezTo>
                    <a:cubicBezTo>
                      <a:pt x="91" y="64"/>
                      <a:pt x="87" y="69"/>
                      <a:pt x="83" y="74"/>
                    </a:cubicBezTo>
                    <a:cubicBezTo>
                      <a:pt x="79" y="80"/>
                      <a:pt x="76" y="85"/>
                      <a:pt x="73" y="91"/>
                    </a:cubicBezTo>
                    <a:cubicBezTo>
                      <a:pt x="67" y="102"/>
                      <a:pt x="61" y="114"/>
                      <a:pt x="58" y="126"/>
                    </a:cubicBezTo>
                    <a:cubicBezTo>
                      <a:pt x="54" y="139"/>
                      <a:pt x="51" y="151"/>
                      <a:pt x="50" y="164"/>
                    </a:cubicBezTo>
                    <a:cubicBezTo>
                      <a:pt x="50" y="173"/>
                      <a:pt x="50" y="182"/>
                      <a:pt x="52" y="192"/>
                    </a:cubicBezTo>
                    <a:cubicBezTo>
                      <a:pt x="53" y="201"/>
                      <a:pt x="57" y="209"/>
                      <a:pt x="63" y="216"/>
                    </a:cubicBezTo>
                    <a:cubicBezTo>
                      <a:pt x="67" y="223"/>
                      <a:pt x="74" y="229"/>
                      <a:pt x="82" y="234"/>
                    </a:cubicBezTo>
                    <a:cubicBezTo>
                      <a:pt x="91" y="238"/>
                      <a:pt x="99" y="240"/>
                      <a:pt x="109" y="240"/>
                    </a:cubicBezTo>
                    <a:cubicBezTo>
                      <a:pt x="114" y="240"/>
                      <a:pt x="119" y="239"/>
                      <a:pt x="125" y="238"/>
                    </a:cubicBezTo>
                    <a:cubicBezTo>
                      <a:pt x="130" y="236"/>
                      <a:pt x="135" y="234"/>
                      <a:pt x="140" y="232"/>
                    </a:cubicBezTo>
                    <a:cubicBezTo>
                      <a:pt x="143" y="229"/>
                      <a:pt x="147" y="227"/>
                      <a:pt x="150" y="224"/>
                    </a:cubicBezTo>
                    <a:cubicBezTo>
                      <a:pt x="154" y="221"/>
                      <a:pt x="157" y="219"/>
                      <a:pt x="161" y="216"/>
                    </a:cubicBezTo>
                    <a:cubicBezTo>
                      <a:pt x="163" y="214"/>
                      <a:pt x="165" y="213"/>
                      <a:pt x="167" y="211"/>
                    </a:cubicBezTo>
                    <a:cubicBezTo>
                      <a:pt x="169" y="209"/>
                      <a:pt x="171" y="208"/>
                      <a:pt x="174" y="207"/>
                    </a:cubicBezTo>
                    <a:cubicBezTo>
                      <a:pt x="177" y="207"/>
                      <a:pt x="179" y="208"/>
                      <a:pt x="181" y="209"/>
                    </a:cubicBezTo>
                    <a:cubicBezTo>
                      <a:pt x="183" y="211"/>
                      <a:pt x="184" y="212"/>
                      <a:pt x="185" y="215"/>
                    </a:cubicBezTo>
                    <a:cubicBezTo>
                      <a:pt x="186" y="217"/>
                      <a:pt x="186" y="220"/>
                      <a:pt x="186" y="222"/>
                    </a:cubicBezTo>
                    <a:cubicBezTo>
                      <a:pt x="186" y="225"/>
                      <a:pt x="186" y="227"/>
                      <a:pt x="186" y="229"/>
                    </a:cubicBezTo>
                    <a:cubicBezTo>
                      <a:pt x="184" y="237"/>
                      <a:pt x="181" y="244"/>
                      <a:pt x="176" y="251"/>
                    </a:cubicBezTo>
                    <a:cubicBezTo>
                      <a:pt x="171" y="258"/>
                      <a:pt x="165" y="264"/>
                      <a:pt x="159" y="268"/>
                    </a:cubicBezTo>
                    <a:cubicBezTo>
                      <a:pt x="153" y="274"/>
                      <a:pt x="146" y="278"/>
                      <a:pt x="139" y="282"/>
                    </a:cubicBezTo>
                    <a:cubicBezTo>
                      <a:pt x="131" y="285"/>
                      <a:pt x="124" y="287"/>
                      <a:pt x="116" y="288"/>
                    </a:cubicBezTo>
                    <a:cubicBezTo>
                      <a:pt x="107" y="288"/>
                      <a:pt x="99" y="288"/>
                      <a:pt x="90" y="286"/>
                    </a:cubicBezTo>
                    <a:cubicBezTo>
                      <a:pt x="82" y="284"/>
                      <a:pt x="75" y="281"/>
                      <a:pt x="67" y="277"/>
                    </a:cubicBezTo>
                    <a:cubicBezTo>
                      <a:pt x="60" y="273"/>
                      <a:pt x="53" y="269"/>
                      <a:pt x="47" y="263"/>
                    </a:cubicBezTo>
                    <a:cubicBezTo>
                      <a:pt x="41" y="258"/>
                      <a:pt x="35" y="252"/>
                      <a:pt x="31" y="245"/>
                    </a:cubicBezTo>
                    <a:cubicBezTo>
                      <a:pt x="20" y="232"/>
                      <a:pt x="13" y="218"/>
                      <a:pt x="7" y="202"/>
                    </a:cubicBezTo>
                    <a:cubicBezTo>
                      <a:pt x="2" y="186"/>
                      <a:pt x="0" y="169"/>
                      <a:pt x="2" y="151"/>
                    </a:cubicBezTo>
                    <a:cubicBezTo>
                      <a:pt x="3" y="135"/>
                      <a:pt x="7" y="118"/>
                      <a:pt x="13" y="102"/>
                    </a:cubicBezTo>
                    <a:cubicBezTo>
                      <a:pt x="20" y="86"/>
                      <a:pt x="28" y="71"/>
                      <a:pt x="37" y="56"/>
                    </a:cubicBezTo>
                    <a:cubicBezTo>
                      <a:pt x="42" y="49"/>
                      <a:pt x="47" y="42"/>
                      <a:pt x="53" y="35"/>
                    </a:cubicBezTo>
                    <a:cubicBezTo>
                      <a:pt x="59" y="29"/>
                      <a:pt x="65" y="23"/>
                      <a:pt x="72" y="17"/>
                    </a:cubicBezTo>
                    <a:cubicBezTo>
                      <a:pt x="79" y="12"/>
                      <a:pt x="86" y="8"/>
                      <a:pt x="94" y="5"/>
                    </a:cubicBezTo>
                    <a:cubicBezTo>
                      <a:pt x="102" y="1"/>
                      <a:pt x="110" y="0"/>
                      <a:pt x="119" y="0"/>
                    </a:cubicBezTo>
                    <a:cubicBezTo>
                      <a:pt x="131" y="0"/>
                      <a:pt x="142" y="3"/>
                      <a:pt x="152" y="8"/>
                    </a:cubicBezTo>
                    <a:cubicBezTo>
                      <a:pt x="162" y="14"/>
                      <a:pt x="170" y="21"/>
                      <a:pt x="178" y="29"/>
                    </a:cubicBezTo>
                    <a:cubicBezTo>
                      <a:pt x="186" y="37"/>
                      <a:pt x="192" y="46"/>
                      <a:pt x="197" y="57"/>
                    </a:cubicBezTo>
                    <a:cubicBezTo>
                      <a:pt x="201" y="67"/>
                      <a:pt x="203" y="78"/>
                      <a:pt x="203" y="9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6" name="ïṡļíḋè">
                <a:extLst>
                  <a:ext uri="{FF2B5EF4-FFF2-40B4-BE49-F238E27FC236}">
                    <a16:creationId xmlns:a16="http://schemas.microsoft.com/office/drawing/2014/main" id="{CD7CBAFF-5F36-4AB1-B03B-FACF89DC53AF}"/>
                  </a:ext>
                </a:extLst>
              </p:cNvPr>
              <p:cNvSpPr/>
              <p:nvPr/>
            </p:nvSpPr>
            <p:spPr>
              <a:xfrm flipH="1">
                <a:off x="9705777" y="1615520"/>
                <a:ext cx="131083" cy="144415"/>
              </a:xfrm>
              <a:custGeom>
                <a:avLst/>
                <a:gdLst/>
                <a:ahLst/>
                <a:cxnLst/>
                <a:rect l="l" t="t" r="r" b="b"/>
                <a:pathLst>
                  <a:path w="100" h="110" extrusionOk="0">
                    <a:moveTo>
                      <a:pt x="64" y="106"/>
                    </a:moveTo>
                    <a:cubicBezTo>
                      <a:pt x="63" y="107"/>
                      <a:pt x="61" y="108"/>
                      <a:pt x="60" y="109"/>
                    </a:cubicBezTo>
                    <a:cubicBezTo>
                      <a:pt x="59" y="110"/>
                      <a:pt x="58" y="110"/>
                      <a:pt x="56" y="110"/>
                    </a:cubicBezTo>
                    <a:cubicBezTo>
                      <a:pt x="50" y="110"/>
                      <a:pt x="45" y="109"/>
                      <a:pt x="39" y="108"/>
                    </a:cubicBezTo>
                    <a:cubicBezTo>
                      <a:pt x="34" y="107"/>
                      <a:pt x="28" y="105"/>
                      <a:pt x="23" y="104"/>
                    </a:cubicBezTo>
                    <a:cubicBezTo>
                      <a:pt x="20" y="103"/>
                      <a:pt x="17" y="102"/>
                      <a:pt x="14" y="101"/>
                    </a:cubicBezTo>
                    <a:cubicBezTo>
                      <a:pt x="11" y="99"/>
                      <a:pt x="9" y="98"/>
                      <a:pt x="6" y="97"/>
                    </a:cubicBezTo>
                    <a:cubicBezTo>
                      <a:pt x="5" y="96"/>
                      <a:pt x="4" y="95"/>
                      <a:pt x="3" y="94"/>
                    </a:cubicBezTo>
                    <a:cubicBezTo>
                      <a:pt x="3" y="93"/>
                      <a:pt x="2" y="91"/>
                      <a:pt x="2" y="90"/>
                    </a:cubicBezTo>
                    <a:cubicBezTo>
                      <a:pt x="1" y="89"/>
                      <a:pt x="1" y="88"/>
                      <a:pt x="1" y="87"/>
                    </a:cubicBezTo>
                    <a:cubicBezTo>
                      <a:pt x="0" y="85"/>
                      <a:pt x="1" y="84"/>
                      <a:pt x="1" y="83"/>
                    </a:cubicBezTo>
                    <a:cubicBezTo>
                      <a:pt x="2" y="82"/>
                      <a:pt x="2" y="81"/>
                      <a:pt x="3" y="80"/>
                    </a:cubicBezTo>
                    <a:cubicBezTo>
                      <a:pt x="3" y="80"/>
                      <a:pt x="4" y="79"/>
                      <a:pt x="4" y="78"/>
                    </a:cubicBezTo>
                    <a:cubicBezTo>
                      <a:pt x="8" y="75"/>
                      <a:pt x="12" y="72"/>
                      <a:pt x="16" y="69"/>
                    </a:cubicBezTo>
                    <a:cubicBezTo>
                      <a:pt x="20" y="66"/>
                      <a:pt x="24" y="63"/>
                      <a:pt x="28" y="60"/>
                    </a:cubicBezTo>
                    <a:cubicBezTo>
                      <a:pt x="37" y="55"/>
                      <a:pt x="46" y="49"/>
                      <a:pt x="55" y="44"/>
                    </a:cubicBezTo>
                    <a:cubicBezTo>
                      <a:pt x="64" y="39"/>
                      <a:pt x="73" y="34"/>
                      <a:pt x="82" y="29"/>
                    </a:cubicBezTo>
                    <a:cubicBezTo>
                      <a:pt x="81" y="28"/>
                      <a:pt x="79" y="26"/>
                      <a:pt x="77" y="25"/>
                    </a:cubicBezTo>
                    <a:cubicBezTo>
                      <a:pt x="75" y="24"/>
                      <a:pt x="73" y="23"/>
                      <a:pt x="71" y="22"/>
                    </a:cubicBezTo>
                    <a:cubicBezTo>
                      <a:pt x="70" y="22"/>
                      <a:pt x="69" y="21"/>
                      <a:pt x="68" y="21"/>
                    </a:cubicBezTo>
                    <a:cubicBezTo>
                      <a:pt x="67" y="20"/>
                      <a:pt x="66" y="20"/>
                      <a:pt x="65" y="20"/>
                    </a:cubicBezTo>
                    <a:cubicBezTo>
                      <a:pt x="64" y="19"/>
                      <a:pt x="63" y="19"/>
                      <a:pt x="62" y="18"/>
                    </a:cubicBezTo>
                    <a:cubicBezTo>
                      <a:pt x="61" y="18"/>
                      <a:pt x="60" y="17"/>
                      <a:pt x="59" y="17"/>
                    </a:cubicBezTo>
                    <a:cubicBezTo>
                      <a:pt x="57" y="16"/>
                      <a:pt x="55" y="15"/>
                      <a:pt x="53" y="15"/>
                    </a:cubicBezTo>
                    <a:cubicBezTo>
                      <a:pt x="52" y="14"/>
                      <a:pt x="50" y="13"/>
                      <a:pt x="48" y="12"/>
                    </a:cubicBezTo>
                    <a:cubicBezTo>
                      <a:pt x="47" y="11"/>
                      <a:pt x="46" y="11"/>
                      <a:pt x="45" y="10"/>
                    </a:cubicBezTo>
                    <a:cubicBezTo>
                      <a:pt x="44" y="9"/>
                      <a:pt x="44" y="9"/>
                      <a:pt x="43" y="8"/>
                    </a:cubicBezTo>
                    <a:cubicBezTo>
                      <a:pt x="42" y="7"/>
                      <a:pt x="42" y="6"/>
                      <a:pt x="42" y="5"/>
                    </a:cubicBezTo>
                    <a:cubicBezTo>
                      <a:pt x="42" y="5"/>
                      <a:pt x="42" y="4"/>
                      <a:pt x="43" y="3"/>
                    </a:cubicBezTo>
                    <a:cubicBezTo>
                      <a:pt x="45" y="1"/>
                      <a:pt x="47" y="0"/>
                      <a:pt x="49" y="0"/>
                    </a:cubicBezTo>
                    <a:cubicBezTo>
                      <a:pt x="52" y="0"/>
                      <a:pt x="54" y="0"/>
                      <a:pt x="57" y="0"/>
                    </a:cubicBezTo>
                    <a:cubicBezTo>
                      <a:pt x="59" y="0"/>
                      <a:pt x="62" y="1"/>
                      <a:pt x="64" y="2"/>
                    </a:cubicBezTo>
                    <a:cubicBezTo>
                      <a:pt x="66" y="3"/>
                      <a:pt x="69" y="3"/>
                      <a:pt x="71" y="4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8" y="7"/>
                      <a:pt x="79" y="8"/>
                      <a:pt x="80" y="8"/>
                    </a:cubicBezTo>
                    <a:cubicBezTo>
                      <a:pt x="81" y="9"/>
                      <a:pt x="82" y="9"/>
                      <a:pt x="83" y="10"/>
                    </a:cubicBezTo>
                    <a:cubicBezTo>
                      <a:pt x="86" y="11"/>
                      <a:pt x="88" y="12"/>
                      <a:pt x="90" y="14"/>
                    </a:cubicBezTo>
                    <a:cubicBezTo>
                      <a:pt x="93" y="16"/>
                      <a:pt x="95" y="18"/>
                      <a:pt x="96" y="20"/>
                    </a:cubicBezTo>
                    <a:cubicBezTo>
                      <a:pt x="98" y="22"/>
                      <a:pt x="99" y="24"/>
                      <a:pt x="100" y="27"/>
                    </a:cubicBezTo>
                    <a:cubicBezTo>
                      <a:pt x="100" y="29"/>
                      <a:pt x="100" y="32"/>
                      <a:pt x="98" y="35"/>
                    </a:cubicBezTo>
                    <a:cubicBezTo>
                      <a:pt x="96" y="38"/>
                      <a:pt x="94" y="42"/>
                      <a:pt x="90" y="45"/>
                    </a:cubicBezTo>
                    <a:cubicBezTo>
                      <a:pt x="87" y="47"/>
                      <a:pt x="83" y="50"/>
                      <a:pt x="80" y="52"/>
                    </a:cubicBezTo>
                    <a:cubicBezTo>
                      <a:pt x="75" y="56"/>
                      <a:pt x="69" y="59"/>
                      <a:pt x="64" y="62"/>
                    </a:cubicBezTo>
                    <a:cubicBezTo>
                      <a:pt x="59" y="65"/>
                      <a:pt x="54" y="67"/>
                      <a:pt x="49" y="70"/>
                    </a:cubicBezTo>
                    <a:cubicBezTo>
                      <a:pt x="44" y="73"/>
                      <a:pt x="40" y="75"/>
                      <a:pt x="35" y="78"/>
                    </a:cubicBezTo>
                    <a:cubicBezTo>
                      <a:pt x="31" y="80"/>
                      <a:pt x="27" y="83"/>
                      <a:pt x="22" y="87"/>
                    </a:cubicBezTo>
                    <a:cubicBezTo>
                      <a:pt x="28" y="89"/>
                      <a:pt x="33" y="91"/>
                      <a:pt x="39" y="92"/>
                    </a:cubicBezTo>
                    <a:cubicBezTo>
                      <a:pt x="44" y="94"/>
                      <a:pt x="50" y="95"/>
                      <a:pt x="56" y="96"/>
                    </a:cubicBezTo>
                    <a:cubicBezTo>
                      <a:pt x="56" y="96"/>
                      <a:pt x="57" y="96"/>
                      <a:pt x="57" y="96"/>
                    </a:cubicBezTo>
                    <a:cubicBezTo>
                      <a:pt x="57" y="96"/>
                      <a:pt x="57" y="96"/>
                      <a:pt x="58" y="96"/>
                    </a:cubicBezTo>
                    <a:cubicBezTo>
                      <a:pt x="59" y="96"/>
                      <a:pt x="60" y="97"/>
                      <a:pt x="61" y="97"/>
                    </a:cubicBezTo>
                    <a:cubicBezTo>
                      <a:pt x="62" y="98"/>
                      <a:pt x="63" y="99"/>
                      <a:pt x="64" y="100"/>
                    </a:cubicBezTo>
                    <a:cubicBezTo>
                      <a:pt x="64" y="101"/>
                      <a:pt x="65" y="102"/>
                      <a:pt x="65" y="103"/>
                    </a:cubicBezTo>
                    <a:cubicBezTo>
                      <a:pt x="65" y="104"/>
                      <a:pt x="64" y="105"/>
                      <a:pt x="64" y="10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7" name="íṥ1íďê">
                <a:extLst>
                  <a:ext uri="{FF2B5EF4-FFF2-40B4-BE49-F238E27FC236}">
                    <a16:creationId xmlns:a16="http://schemas.microsoft.com/office/drawing/2014/main" id="{8547E216-7735-45DE-A84B-039A4FE8404F}"/>
                  </a:ext>
                </a:extLst>
              </p:cNvPr>
              <p:cNvSpPr/>
              <p:nvPr/>
            </p:nvSpPr>
            <p:spPr>
              <a:xfrm flipH="1">
                <a:off x="10676127" y="1750492"/>
                <a:ext cx="131639" cy="129973"/>
              </a:xfrm>
              <a:custGeom>
                <a:avLst/>
                <a:gdLst/>
                <a:ahLst/>
                <a:cxnLst/>
                <a:rect l="l" t="t" r="r" b="b"/>
                <a:pathLst>
                  <a:path w="100" h="99" extrusionOk="0">
                    <a:moveTo>
                      <a:pt x="85" y="64"/>
                    </a:moveTo>
                    <a:cubicBezTo>
                      <a:pt x="82" y="67"/>
                      <a:pt x="79" y="69"/>
                      <a:pt x="76" y="71"/>
                    </a:cubicBezTo>
                    <a:cubicBezTo>
                      <a:pt x="73" y="74"/>
                      <a:pt x="70" y="76"/>
                      <a:pt x="66" y="78"/>
                    </a:cubicBezTo>
                    <a:cubicBezTo>
                      <a:pt x="63" y="80"/>
                      <a:pt x="59" y="82"/>
                      <a:pt x="55" y="83"/>
                    </a:cubicBezTo>
                    <a:cubicBezTo>
                      <a:pt x="52" y="85"/>
                      <a:pt x="48" y="87"/>
                      <a:pt x="45" y="88"/>
                    </a:cubicBezTo>
                    <a:cubicBezTo>
                      <a:pt x="41" y="90"/>
                      <a:pt x="38" y="91"/>
                      <a:pt x="34" y="92"/>
                    </a:cubicBezTo>
                    <a:cubicBezTo>
                      <a:pt x="31" y="94"/>
                      <a:pt x="27" y="95"/>
                      <a:pt x="24" y="96"/>
                    </a:cubicBezTo>
                    <a:cubicBezTo>
                      <a:pt x="20" y="98"/>
                      <a:pt x="17" y="98"/>
                      <a:pt x="13" y="99"/>
                    </a:cubicBezTo>
                    <a:cubicBezTo>
                      <a:pt x="9" y="99"/>
                      <a:pt x="6" y="99"/>
                      <a:pt x="2" y="97"/>
                    </a:cubicBezTo>
                    <a:cubicBezTo>
                      <a:pt x="1" y="96"/>
                      <a:pt x="0" y="95"/>
                      <a:pt x="0" y="93"/>
                    </a:cubicBezTo>
                    <a:cubicBezTo>
                      <a:pt x="0" y="92"/>
                      <a:pt x="1" y="90"/>
                      <a:pt x="2" y="89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9" y="85"/>
                      <a:pt x="11" y="83"/>
                      <a:pt x="14" y="82"/>
                    </a:cubicBezTo>
                    <a:cubicBezTo>
                      <a:pt x="16" y="81"/>
                      <a:pt x="19" y="80"/>
                      <a:pt x="21" y="79"/>
                    </a:cubicBezTo>
                    <a:cubicBezTo>
                      <a:pt x="24" y="78"/>
                      <a:pt x="27" y="77"/>
                      <a:pt x="29" y="76"/>
                    </a:cubicBezTo>
                    <a:cubicBezTo>
                      <a:pt x="32" y="75"/>
                      <a:pt x="35" y="74"/>
                      <a:pt x="37" y="73"/>
                    </a:cubicBezTo>
                    <a:cubicBezTo>
                      <a:pt x="41" y="72"/>
                      <a:pt x="45" y="71"/>
                      <a:pt x="48" y="69"/>
                    </a:cubicBezTo>
                    <a:cubicBezTo>
                      <a:pt x="52" y="67"/>
                      <a:pt x="56" y="65"/>
                      <a:pt x="59" y="63"/>
                    </a:cubicBezTo>
                    <a:cubicBezTo>
                      <a:pt x="56" y="64"/>
                      <a:pt x="53" y="64"/>
                      <a:pt x="49" y="64"/>
                    </a:cubicBezTo>
                    <a:cubicBezTo>
                      <a:pt x="46" y="63"/>
                      <a:pt x="43" y="63"/>
                      <a:pt x="40" y="62"/>
                    </a:cubicBezTo>
                    <a:cubicBezTo>
                      <a:pt x="37" y="61"/>
                      <a:pt x="34" y="60"/>
                      <a:pt x="31" y="58"/>
                    </a:cubicBezTo>
                    <a:cubicBezTo>
                      <a:pt x="28" y="57"/>
                      <a:pt x="25" y="55"/>
                      <a:pt x="23" y="53"/>
                    </a:cubicBezTo>
                    <a:cubicBezTo>
                      <a:pt x="20" y="50"/>
                      <a:pt x="18" y="47"/>
                      <a:pt x="16" y="43"/>
                    </a:cubicBezTo>
                    <a:cubicBezTo>
                      <a:pt x="15" y="39"/>
                      <a:pt x="14" y="36"/>
                      <a:pt x="15" y="32"/>
                    </a:cubicBezTo>
                    <a:cubicBezTo>
                      <a:pt x="15" y="28"/>
                      <a:pt x="17" y="25"/>
                      <a:pt x="19" y="22"/>
                    </a:cubicBezTo>
                    <a:cubicBezTo>
                      <a:pt x="21" y="19"/>
                      <a:pt x="23" y="16"/>
                      <a:pt x="26" y="13"/>
                    </a:cubicBezTo>
                    <a:cubicBezTo>
                      <a:pt x="29" y="10"/>
                      <a:pt x="33" y="8"/>
                      <a:pt x="37" y="6"/>
                    </a:cubicBezTo>
                    <a:cubicBezTo>
                      <a:pt x="41" y="4"/>
                      <a:pt x="45" y="3"/>
                      <a:pt x="49" y="1"/>
                    </a:cubicBezTo>
                    <a:cubicBezTo>
                      <a:pt x="53" y="0"/>
                      <a:pt x="58" y="0"/>
                      <a:pt x="62" y="0"/>
                    </a:cubicBezTo>
                    <a:cubicBezTo>
                      <a:pt x="67" y="0"/>
                      <a:pt x="71" y="0"/>
                      <a:pt x="75" y="1"/>
                    </a:cubicBezTo>
                    <a:cubicBezTo>
                      <a:pt x="78" y="2"/>
                      <a:pt x="81" y="3"/>
                      <a:pt x="84" y="5"/>
                    </a:cubicBezTo>
                    <a:cubicBezTo>
                      <a:pt x="87" y="6"/>
                      <a:pt x="89" y="8"/>
                      <a:pt x="91" y="10"/>
                    </a:cubicBezTo>
                    <a:cubicBezTo>
                      <a:pt x="93" y="12"/>
                      <a:pt x="95" y="14"/>
                      <a:pt x="96" y="16"/>
                    </a:cubicBezTo>
                    <a:cubicBezTo>
                      <a:pt x="97" y="18"/>
                      <a:pt x="98" y="20"/>
                      <a:pt x="99" y="23"/>
                    </a:cubicBezTo>
                    <a:cubicBezTo>
                      <a:pt x="100" y="25"/>
                      <a:pt x="100" y="28"/>
                      <a:pt x="100" y="30"/>
                    </a:cubicBezTo>
                    <a:cubicBezTo>
                      <a:pt x="100" y="33"/>
                      <a:pt x="100" y="35"/>
                      <a:pt x="100" y="38"/>
                    </a:cubicBezTo>
                    <a:cubicBezTo>
                      <a:pt x="99" y="43"/>
                      <a:pt x="97" y="48"/>
                      <a:pt x="95" y="52"/>
                    </a:cubicBezTo>
                    <a:cubicBezTo>
                      <a:pt x="92" y="56"/>
                      <a:pt x="89" y="60"/>
                      <a:pt x="85" y="64"/>
                    </a:cubicBezTo>
                    <a:close/>
                    <a:moveTo>
                      <a:pt x="80" y="41"/>
                    </a:moveTo>
                    <a:cubicBezTo>
                      <a:pt x="81" y="39"/>
                      <a:pt x="82" y="38"/>
                      <a:pt x="82" y="37"/>
                    </a:cubicBezTo>
                    <a:cubicBezTo>
                      <a:pt x="83" y="36"/>
                      <a:pt x="83" y="34"/>
                      <a:pt x="82" y="33"/>
                    </a:cubicBezTo>
                    <a:cubicBezTo>
                      <a:pt x="82" y="32"/>
                      <a:pt x="81" y="30"/>
                      <a:pt x="80" y="29"/>
                    </a:cubicBezTo>
                    <a:cubicBezTo>
                      <a:pt x="79" y="28"/>
                      <a:pt x="78" y="27"/>
                      <a:pt x="77" y="26"/>
                    </a:cubicBezTo>
                    <a:cubicBezTo>
                      <a:pt x="75" y="23"/>
                      <a:pt x="72" y="21"/>
                      <a:pt x="69" y="20"/>
                    </a:cubicBezTo>
                    <a:cubicBezTo>
                      <a:pt x="65" y="18"/>
                      <a:pt x="62" y="18"/>
                      <a:pt x="58" y="18"/>
                    </a:cubicBezTo>
                    <a:cubicBezTo>
                      <a:pt x="55" y="18"/>
                      <a:pt x="51" y="19"/>
                      <a:pt x="48" y="20"/>
                    </a:cubicBezTo>
                    <a:cubicBezTo>
                      <a:pt x="44" y="21"/>
                      <a:pt x="41" y="23"/>
                      <a:pt x="39" y="26"/>
                    </a:cubicBezTo>
                    <a:cubicBezTo>
                      <a:pt x="38" y="27"/>
                      <a:pt x="36" y="28"/>
                      <a:pt x="35" y="29"/>
                    </a:cubicBezTo>
                    <a:cubicBezTo>
                      <a:pt x="34" y="30"/>
                      <a:pt x="34" y="32"/>
                      <a:pt x="33" y="33"/>
                    </a:cubicBezTo>
                    <a:cubicBezTo>
                      <a:pt x="33" y="35"/>
                      <a:pt x="33" y="36"/>
                      <a:pt x="33" y="37"/>
                    </a:cubicBezTo>
                    <a:cubicBezTo>
                      <a:pt x="33" y="39"/>
                      <a:pt x="34" y="40"/>
                      <a:pt x="35" y="41"/>
                    </a:cubicBezTo>
                    <a:cubicBezTo>
                      <a:pt x="37" y="43"/>
                      <a:pt x="40" y="45"/>
                      <a:pt x="43" y="45"/>
                    </a:cubicBezTo>
                    <a:cubicBezTo>
                      <a:pt x="46" y="46"/>
                      <a:pt x="48" y="47"/>
                      <a:pt x="51" y="47"/>
                    </a:cubicBezTo>
                    <a:cubicBezTo>
                      <a:pt x="54" y="48"/>
                      <a:pt x="57" y="48"/>
                      <a:pt x="60" y="48"/>
                    </a:cubicBezTo>
                    <a:cubicBezTo>
                      <a:pt x="62" y="48"/>
                      <a:pt x="65" y="47"/>
                      <a:pt x="68" y="47"/>
                    </a:cubicBezTo>
                    <a:cubicBezTo>
                      <a:pt x="70" y="46"/>
                      <a:pt x="72" y="45"/>
                      <a:pt x="74" y="44"/>
                    </a:cubicBezTo>
                    <a:cubicBezTo>
                      <a:pt x="76" y="43"/>
                      <a:pt x="78" y="42"/>
                      <a:pt x="80" y="4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8" name="ïśḻiḓê">
                <a:extLst>
                  <a:ext uri="{FF2B5EF4-FFF2-40B4-BE49-F238E27FC236}">
                    <a16:creationId xmlns:a16="http://schemas.microsoft.com/office/drawing/2014/main" id="{32E3762E-4C6F-4C3C-9D15-5DEA44CFE9F9}"/>
                  </a:ext>
                </a:extLst>
              </p:cNvPr>
              <p:cNvSpPr/>
              <p:nvPr/>
            </p:nvSpPr>
            <p:spPr>
              <a:xfrm flipH="1">
                <a:off x="9609686" y="1367239"/>
                <a:ext cx="158855" cy="207179"/>
              </a:xfrm>
              <a:custGeom>
                <a:avLst/>
                <a:gdLst/>
                <a:ahLst/>
                <a:cxnLst/>
                <a:rect l="l" t="t" r="r" b="b"/>
                <a:pathLst>
                  <a:path w="121" h="158" extrusionOk="0">
                    <a:moveTo>
                      <a:pt x="120" y="108"/>
                    </a:moveTo>
                    <a:cubicBezTo>
                      <a:pt x="119" y="112"/>
                      <a:pt x="117" y="117"/>
                      <a:pt x="114" y="120"/>
                    </a:cubicBezTo>
                    <a:cubicBezTo>
                      <a:pt x="111" y="124"/>
                      <a:pt x="108" y="128"/>
                      <a:pt x="104" y="131"/>
                    </a:cubicBezTo>
                    <a:cubicBezTo>
                      <a:pt x="101" y="134"/>
                      <a:pt x="96" y="137"/>
                      <a:pt x="92" y="139"/>
                    </a:cubicBezTo>
                    <a:cubicBezTo>
                      <a:pt x="88" y="141"/>
                      <a:pt x="83" y="143"/>
                      <a:pt x="79" y="145"/>
                    </a:cubicBezTo>
                    <a:cubicBezTo>
                      <a:pt x="74" y="147"/>
                      <a:pt x="69" y="149"/>
                      <a:pt x="63" y="150"/>
                    </a:cubicBezTo>
                    <a:cubicBezTo>
                      <a:pt x="58" y="152"/>
                      <a:pt x="53" y="153"/>
                      <a:pt x="47" y="155"/>
                    </a:cubicBezTo>
                    <a:cubicBezTo>
                      <a:pt x="42" y="156"/>
                      <a:pt x="37" y="156"/>
                      <a:pt x="32" y="157"/>
                    </a:cubicBezTo>
                    <a:cubicBezTo>
                      <a:pt x="27" y="158"/>
                      <a:pt x="22" y="158"/>
                      <a:pt x="17" y="157"/>
                    </a:cubicBezTo>
                    <a:cubicBezTo>
                      <a:pt x="12" y="155"/>
                      <a:pt x="8" y="152"/>
                      <a:pt x="6" y="149"/>
                    </a:cubicBezTo>
                    <a:cubicBezTo>
                      <a:pt x="4" y="145"/>
                      <a:pt x="2" y="141"/>
                      <a:pt x="1" y="137"/>
                    </a:cubicBezTo>
                    <a:cubicBezTo>
                      <a:pt x="0" y="132"/>
                      <a:pt x="0" y="127"/>
                      <a:pt x="0" y="122"/>
                    </a:cubicBezTo>
                    <a:cubicBezTo>
                      <a:pt x="0" y="117"/>
                      <a:pt x="1" y="113"/>
                      <a:pt x="1" y="108"/>
                    </a:cubicBezTo>
                    <a:cubicBezTo>
                      <a:pt x="2" y="104"/>
                      <a:pt x="3" y="99"/>
                      <a:pt x="4" y="95"/>
                    </a:cubicBezTo>
                    <a:cubicBezTo>
                      <a:pt x="5" y="90"/>
                      <a:pt x="7" y="85"/>
                      <a:pt x="8" y="81"/>
                    </a:cubicBezTo>
                    <a:cubicBezTo>
                      <a:pt x="10" y="76"/>
                      <a:pt x="11" y="71"/>
                      <a:pt x="12" y="67"/>
                    </a:cubicBezTo>
                    <a:cubicBezTo>
                      <a:pt x="14" y="62"/>
                      <a:pt x="15" y="58"/>
                      <a:pt x="16" y="53"/>
                    </a:cubicBezTo>
                    <a:cubicBezTo>
                      <a:pt x="17" y="50"/>
                      <a:pt x="17" y="47"/>
                      <a:pt x="18" y="44"/>
                    </a:cubicBezTo>
                    <a:cubicBezTo>
                      <a:pt x="18" y="42"/>
                      <a:pt x="18" y="39"/>
                      <a:pt x="19" y="36"/>
                    </a:cubicBezTo>
                    <a:cubicBezTo>
                      <a:pt x="19" y="33"/>
                      <a:pt x="20" y="31"/>
                      <a:pt x="20" y="28"/>
                    </a:cubicBezTo>
                    <a:cubicBezTo>
                      <a:pt x="20" y="25"/>
                      <a:pt x="21" y="22"/>
                      <a:pt x="22" y="20"/>
                    </a:cubicBezTo>
                    <a:cubicBezTo>
                      <a:pt x="24" y="15"/>
                      <a:pt x="27" y="11"/>
                      <a:pt x="31" y="8"/>
                    </a:cubicBezTo>
                    <a:cubicBezTo>
                      <a:pt x="34" y="5"/>
                      <a:pt x="39" y="3"/>
                      <a:pt x="43" y="2"/>
                    </a:cubicBezTo>
                    <a:cubicBezTo>
                      <a:pt x="48" y="1"/>
                      <a:pt x="53" y="0"/>
                      <a:pt x="58" y="0"/>
                    </a:cubicBezTo>
                    <a:cubicBezTo>
                      <a:pt x="62" y="0"/>
                      <a:pt x="67" y="0"/>
                      <a:pt x="71" y="0"/>
                    </a:cubicBezTo>
                    <a:cubicBezTo>
                      <a:pt x="76" y="0"/>
                      <a:pt x="81" y="1"/>
                      <a:pt x="86" y="2"/>
                    </a:cubicBezTo>
                    <a:cubicBezTo>
                      <a:pt x="91" y="4"/>
                      <a:pt x="95" y="6"/>
                      <a:pt x="99" y="8"/>
                    </a:cubicBezTo>
                    <a:cubicBezTo>
                      <a:pt x="101" y="9"/>
                      <a:pt x="103" y="11"/>
                      <a:pt x="105" y="12"/>
                    </a:cubicBezTo>
                    <a:cubicBezTo>
                      <a:pt x="106" y="14"/>
                      <a:pt x="108" y="16"/>
                      <a:pt x="109" y="17"/>
                    </a:cubicBezTo>
                    <a:cubicBezTo>
                      <a:pt x="111" y="19"/>
                      <a:pt x="112" y="21"/>
                      <a:pt x="112" y="24"/>
                    </a:cubicBezTo>
                    <a:cubicBezTo>
                      <a:pt x="113" y="26"/>
                      <a:pt x="113" y="28"/>
                      <a:pt x="113" y="31"/>
                    </a:cubicBezTo>
                    <a:cubicBezTo>
                      <a:pt x="112" y="34"/>
                      <a:pt x="112" y="36"/>
                      <a:pt x="111" y="39"/>
                    </a:cubicBezTo>
                    <a:cubicBezTo>
                      <a:pt x="110" y="42"/>
                      <a:pt x="109" y="44"/>
                      <a:pt x="108" y="46"/>
                    </a:cubicBezTo>
                    <a:cubicBezTo>
                      <a:pt x="106" y="49"/>
                      <a:pt x="104" y="51"/>
                      <a:pt x="103" y="53"/>
                    </a:cubicBezTo>
                    <a:cubicBezTo>
                      <a:pt x="101" y="55"/>
                      <a:pt x="99" y="57"/>
                      <a:pt x="97" y="59"/>
                    </a:cubicBezTo>
                    <a:cubicBezTo>
                      <a:pt x="102" y="61"/>
                      <a:pt x="106" y="63"/>
                      <a:pt x="109" y="67"/>
                    </a:cubicBezTo>
                    <a:cubicBezTo>
                      <a:pt x="112" y="71"/>
                      <a:pt x="115" y="75"/>
                      <a:pt x="117" y="79"/>
                    </a:cubicBezTo>
                    <a:cubicBezTo>
                      <a:pt x="118" y="84"/>
                      <a:pt x="120" y="88"/>
                      <a:pt x="120" y="93"/>
                    </a:cubicBezTo>
                    <a:cubicBezTo>
                      <a:pt x="121" y="98"/>
                      <a:pt x="121" y="103"/>
                      <a:pt x="120" y="108"/>
                    </a:cubicBezTo>
                    <a:close/>
                    <a:moveTo>
                      <a:pt x="91" y="97"/>
                    </a:moveTo>
                    <a:cubicBezTo>
                      <a:pt x="91" y="94"/>
                      <a:pt x="91" y="91"/>
                      <a:pt x="90" y="88"/>
                    </a:cubicBezTo>
                    <a:cubicBezTo>
                      <a:pt x="89" y="85"/>
                      <a:pt x="88" y="83"/>
                      <a:pt x="86" y="81"/>
                    </a:cubicBezTo>
                    <a:cubicBezTo>
                      <a:pt x="85" y="80"/>
                      <a:pt x="85" y="79"/>
                      <a:pt x="84" y="79"/>
                    </a:cubicBezTo>
                    <a:cubicBezTo>
                      <a:pt x="84" y="79"/>
                      <a:pt x="84" y="78"/>
                      <a:pt x="83" y="78"/>
                    </a:cubicBezTo>
                    <a:cubicBezTo>
                      <a:pt x="80" y="78"/>
                      <a:pt x="77" y="78"/>
                      <a:pt x="74" y="78"/>
                    </a:cubicBezTo>
                    <a:cubicBezTo>
                      <a:pt x="71" y="78"/>
                      <a:pt x="68" y="78"/>
                      <a:pt x="65" y="78"/>
                    </a:cubicBezTo>
                    <a:cubicBezTo>
                      <a:pt x="61" y="79"/>
                      <a:pt x="58" y="79"/>
                      <a:pt x="55" y="80"/>
                    </a:cubicBezTo>
                    <a:cubicBezTo>
                      <a:pt x="52" y="81"/>
                      <a:pt x="50" y="83"/>
                      <a:pt x="47" y="84"/>
                    </a:cubicBezTo>
                    <a:cubicBezTo>
                      <a:pt x="44" y="86"/>
                      <a:pt x="41" y="87"/>
                      <a:pt x="39" y="89"/>
                    </a:cubicBezTo>
                    <a:cubicBezTo>
                      <a:pt x="37" y="92"/>
                      <a:pt x="35" y="94"/>
                      <a:pt x="33" y="96"/>
                    </a:cubicBezTo>
                    <a:cubicBezTo>
                      <a:pt x="31" y="99"/>
                      <a:pt x="30" y="102"/>
                      <a:pt x="29" y="104"/>
                    </a:cubicBezTo>
                    <a:cubicBezTo>
                      <a:pt x="28" y="107"/>
                      <a:pt x="27" y="110"/>
                      <a:pt x="27" y="113"/>
                    </a:cubicBezTo>
                    <a:cubicBezTo>
                      <a:pt x="26" y="115"/>
                      <a:pt x="26" y="117"/>
                      <a:pt x="26" y="118"/>
                    </a:cubicBezTo>
                    <a:cubicBezTo>
                      <a:pt x="27" y="120"/>
                      <a:pt x="27" y="122"/>
                      <a:pt x="28" y="123"/>
                    </a:cubicBezTo>
                    <a:cubicBezTo>
                      <a:pt x="29" y="125"/>
                      <a:pt x="31" y="126"/>
                      <a:pt x="32" y="127"/>
                    </a:cubicBezTo>
                    <a:cubicBezTo>
                      <a:pt x="34" y="128"/>
                      <a:pt x="35" y="129"/>
                      <a:pt x="37" y="129"/>
                    </a:cubicBezTo>
                    <a:cubicBezTo>
                      <a:pt x="43" y="130"/>
                      <a:pt x="48" y="129"/>
                      <a:pt x="54" y="128"/>
                    </a:cubicBezTo>
                    <a:cubicBezTo>
                      <a:pt x="59" y="126"/>
                      <a:pt x="65" y="124"/>
                      <a:pt x="70" y="122"/>
                    </a:cubicBezTo>
                    <a:cubicBezTo>
                      <a:pt x="72" y="120"/>
                      <a:pt x="74" y="119"/>
                      <a:pt x="77" y="117"/>
                    </a:cubicBezTo>
                    <a:cubicBezTo>
                      <a:pt x="79" y="115"/>
                      <a:pt x="81" y="113"/>
                      <a:pt x="83" y="111"/>
                    </a:cubicBezTo>
                    <a:cubicBezTo>
                      <a:pt x="85" y="109"/>
                      <a:pt x="86" y="107"/>
                      <a:pt x="88" y="105"/>
                    </a:cubicBezTo>
                    <a:cubicBezTo>
                      <a:pt x="89" y="102"/>
                      <a:pt x="90" y="100"/>
                      <a:pt x="91" y="97"/>
                    </a:cubicBezTo>
                    <a:close/>
                    <a:moveTo>
                      <a:pt x="83" y="38"/>
                    </a:moveTo>
                    <a:cubicBezTo>
                      <a:pt x="83" y="36"/>
                      <a:pt x="83" y="34"/>
                      <a:pt x="82" y="32"/>
                    </a:cubicBezTo>
                    <a:cubicBezTo>
                      <a:pt x="81" y="31"/>
                      <a:pt x="80" y="29"/>
                      <a:pt x="79" y="28"/>
                    </a:cubicBezTo>
                    <a:cubicBezTo>
                      <a:pt x="77" y="27"/>
                      <a:pt x="75" y="26"/>
                      <a:pt x="74" y="25"/>
                    </a:cubicBezTo>
                    <a:cubicBezTo>
                      <a:pt x="72" y="25"/>
                      <a:pt x="70" y="25"/>
                      <a:pt x="68" y="24"/>
                    </a:cubicBezTo>
                    <a:cubicBezTo>
                      <a:pt x="65" y="24"/>
                      <a:pt x="63" y="24"/>
                      <a:pt x="61" y="24"/>
                    </a:cubicBezTo>
                    <a:cubicBezTo>
                      <a:pt x="58" y="25"/>
                      <a:pt x="56" y="25"/>
                      <a:pt x="54" y="26"/>
                    </a:cubicBezTo>
                    <a:cubicBezTo>
                      <a:pt x="52" y="27"/>
                      <a:pt x="50" y="29"/>
                      <a:pt x="48" y="30"/>
                    </a:cubicBezTo>
                    <a:cubicBezTo>
                      <a:pt x="47" y="32"/>
                      <a:pt x="45" y="34"/>
                      <a:pt x="45" y="36"/>
                    </a:cubicBezTo>
                    <a:cubicBezTo>
                      <a:pt x="44" y="39"/>
                      <a:pt x="44" y="41"/>
                      <a:pt x="43" y="43"/>
                    </a:cubicBezTo>
                    <a:cubicBezTo>
                      <a:pt x="43" y="45"/>
                      <a:pt x="42" y="47"/>
                      <a:pt x="42" y="50"/>
                    </a:cubicBezTo>
                    <a:cubicBezTo>
                      <a:pt x="41" y="52"/>
                      <a:pt x="41" y="53"/>
                      <a:pt x="41" y="55"/>
                    </a:cubicBezTo>
                    <a:cubicBezTo>
                      <a:pt x="41" y="57"/>
                      <a:pt x="41" y="59"/>
                      <a:pt x="41" y="61"/>
                    </a:cubicBezTo>
                    <a:cubicBezTo>
                      <a:pt x="45" y="61"/>
                      <a:pt x="49" y="60"/>
                      <a:pt x="53" y="59"/>
                    </a:cubicBezTo>
                    <a:cubicBezTo>
                      <a:pt x="57" y="58"/>
                      <a:pt x="61" y="56"/>
                      <a:pt x="65" y="54"/>
                    </a:cubicBezTo>
                    <a:cubicBezTo>
                      <a:pt x="67" y="53"/>
                      <a:pt x="69" y="52"/>
                      <a:pt x="71" y="51"/>
                    </a:cubicBezTo>
                    <a:cubicBezTo>
                      <a:pt x="72" y="50"/>
                      <a:pt x="74" y="49"/>
                      <a:pt x="76" y="48"/>
                    </a:cubicBezTo>
                    <a:cubicBezTo>
                      <a:pt x="77" y="47"/>
                      <a:pt x="79" y="45"/>
                      <a:pt x="80" y="44"/>
                    </a:cubicBezTo>
                    <a:cubicBezTo>
                      <a:pt x="81" y="42"/>
                      <a:pt x="82" y="40"/>
                      <a:pt x="83" y="3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9" name="íşlíďé">
                <a:extLst>
                  <a:ext uri="{FF2B5EF4-FFF2-40B4-BE49-F238E27FC236}">
                    <a16:creationId xmlns:a16="http://schemas.microsoft.com/office/drawing/2014/main" id="{DB4E4BF7-957E-400C-A646-38B36FF59A1B}"/>
                  </a:ext>
                </a:extLst>
              </p:cNvPr>
              <p:cNvSpPr/>
              <p:nvPr/>
            </p:nvSpPr>
            <p:spPr>
              <a:xfrm flipH="1">
                <a:off x="10826095" y="1774376"/>
                <a:ext cx="72207" cy="108866"/>
              </a:xfrm>
              <a:custGeom>
                <a:avLst/>
                <a:gdLst/>
                <a:ahLst/>
                <a:cxnLst/>
                <a:rect l="l" t="t" r="r" b="b"/>
                <a:pathLst>
                  <a:path w="55" h="83" extrusionOk="0">
                    <a:moveTo>
                      <a:pt x="54" y="45"/>
                    </a:moveTo>
                    <a:cubicBezTo>
                      <a:pt x="54" y="48"/>
                      <a:pt x="53" y="50"/>
                      <a:pt x="52" y="53"/>
                    </a:cubicBezTo>
                    <a:cubicBezTo>
                      <a:pt x="51" y="55"/>
                      <a:pt x="50" y="57"/>
                      <a:pt x="48" y="60"/>
                    </a:cubicBezTo>
                    <a:cubicBezTo>
                      <a:pt x="47" y="62"/>
                      <a:pt x="45" y="64"/>
                      <a:pt x="43" y="66"/>
                    </a:cubicBezTo>
                    <a:cubicBezTo>
                      <a:pt x="41" y="68"/>
                      <a:pt x="39" y="70"/>
                      <a:pt x="37" y="71"/>
                    </a:cubicBezTo>
                    <a:cubicBezTo>
                      <a:pt x="35" y="73"/>
                      <a:pt x="33" y="74"/>
                      <a:pt x="31" y="76"/>
                    </a:cubicBezTo>
                    <a:cubicBezTo>
                      <a:pt x="29" y="77"/>
                      <a:pt x="27" y="79"/>
                      <a:pt x="24" y="80"/>
                    </a:cubicBezTo>
                    <a:cubicBezTo>
                      <a:pt x="22" y="81"/>
                      <a:pt x="19" y="82"/>
                      <a:pt x="17" y="82"/>
                    </a:cubicBezTo>
                    <a:cubicBezTo>
                      <a:pt x="14" y="83"/>
                      <a:pt x="12" y="83"/>
                      <a:pt x="9" y="82"/>
                    </a:cubicBezTo>
                    <a:cubicBezTo>
                      <a:pt x="8" y="82"/>
                      <a:pt x="7" y="82"/>
                      <a:pt x="6" y="81"/>
                    </a:cubicBezTo>
                    <a:cubicBezTo>
                      <a:pt x="5" y="81"/>
                      <a:pt x="5" y="80"/>
                      <a:pt x="4" y="79"/>
                    </a:cubicBezTo>
                    <a:cubicBezTo>
                      <a:pt x="4" y="78"/>
                      <a:pt x="3" y="77"/>
                      <a:pt x="3" y="76"/>
                    </a:cubicBezTo>
                    <a:cubicBezTo>
                      <a:pt x="3" y="75"/>
                      <a:pt x="3" y="74"/>
                      <a:pt x="3" y="73"/>
                    </a:cubicBezTo>
                    <a:cubicBezTo>
                      <a:pt x="3" y="72"/>
                      <a:pt x="3" y="71"/>
                      <a:pt x="3" y="70"/>
                    </a:cubicBezTo>
                    <a:cubicBezTo>
                      <a:pt x="4" y="69"/>
                      <a:pt x="4" y="69"/>
                      <a:pt x="5" y="68"/>
                    </a:cubicBezTo>
                    <a:cubicBezTo>
                      <a:pt x="6" y="68"/>
                      <a:pt x="8" y="68"/>
                      <a:pt x="9" y="68"/>
                    </a:cubicBezTo>
                    <a:cubicBezTo>
                      <a:pt x="10" y="68"/>
                      <a:pt x="11" y="68"/>
                      <a:pt x="12" y="68"/>
                    </a:cubicBezTo>
                    <a:cubicBezTo>
                      <a:pt x="13" y="68"/>
                      <a:pt x="14" y="68"/>
                      <a:pt x="16" y="68"/>
                    </a:cubicBezTo>
                    <a:cubicBezTo>
                      <a:pt x="17" y="68"/>
                      <a:pt x="18" y="68"/>
                      <a:pt x="19" y="67"/>
                    </a:cubicBezTo>
                    <a:cubicBezTo>
                      <a:pt x="22" y="67"/>
                      <a:pt x="24" y="65"/>
                      <a:pt x="26" y="64"/>
                    </a:cubicBezTo>
                    <a:cubicBezTo>
                      <a:pt x="28" y="62"/>
                      <a:pt x="30" y="60"/>
                      <a:pt x="32" y="58"/>
                    </a:cubicBezTo>
                    <a:cubicBezTo>
                      <a:pt x="32" y="57"/>
                      <a:pt x="33" y="56"/>
                      <a:pt x="34" y="55"/>
                    </a:cubicBezTo>
                    <a:cubicBezTo>
                      <a:pt x="35" y="54"/>
                      <a:pt x="36" y="53"/>
                      <a:pt x="37" y="52"/>
                    </a:cubicBezTo>
                    <a:cubicBezTo>
                      <a:pt x="37" y="51"/>
                      <a:pt x="38" y="50"/>
                      <a:pt x="38" y="48"/>
                    </a:cubicBezTo>
                    <a:cubicBezTo>
                      <a:pt x="39" y="47"/>
                      <a:pt x="39" y="46"/>
                      <a:pt x="39" y="45"/>
                    </a:cubicBezTo>
                    <a:cubicBezTo>
                      <a:pt x="40" y="44"/>
                      <a:pt x="40" y="43"/>
                      <a:pt x="40" y="43"/>
                    </a:cubicBezTo>
                    <a:cubicBezTo>
                      <a:pt x="39" y="42"/>
                      <a:pt x="39" y="41"/>
                      <a:pt x="39" y="41"/>
                    </a:cubicBezTo>
                    <a:cubicBezTo>
                      <a:pt x="39" y="40"/>
                      <a:pt x="38" y="39"/>
                      <a:pt x="38" y="39"/>
                    </a:cubicBezTo>
                    <a:cubicBezTo>
                      <a:pt x="38" y="39"/>
                      <a:pt x="37" y="38"/>
                      <a:pt x="36" y="38"/>
                    </a:cubicBezTo>
                    <a:cubicBezTo>
                      <a:pt x="34" y="39"/>
                      <a:pt x="32" y="39"/>
                      <a:pt x="30" y="41"/>
                    </a:cubicBezTo>
                    <a:cubicBezTo>
                      <a:pt x="28" y="42"/>
                      <a:pt x="26" y="43"/>
                      <a:pt x="24" y="45"/>
                    </a:cubicBezTo>
                    <a:cubicBezTo>
                      <a:pt x="22" y="46"/>
                      <a:pt x="20" y="48"/>
                      <a:pt x="18" y="49"/>
                    </a:cubicBezTo>
                    <a:cubicBezTo>
                      <a:pt x="16" y="51"/>
                      <a:pt x="14" y="52"/>
                      <a:pt x="12" y="54"/>
                    </a:cubicBezTo>
                    <a:cubicBezTo>
                      <a:pt x="11" y="54"/>
                      <a:pt x="10" y="55"/>
                      <a:pt x="9" y="55"/>
                    </a:cubicBezTo>
                    <a:cubicBezTo>
                      <a:pt x="8" y="56"/>
                      <a:pt x="7" y="56"/>
                      <a:pt x="6" y="56"/>
                    </a:cubicBezTo>
                    <a:cubicBezTo>
                      <a:pt x="5" y="56"/>
                      <a:pt x="4" y="56"/>
                      <a:pt x="3" y="55"/>
                    </a:cubicBezTo>
                    <a:cubicBezTo>
                      <a:pt x="2" y="54"/>
                      <a:pt x="1" y="53"/>
                      <a:pt x="1" y="52"/>
                    </a:cubicBezTo>
                    <a:cubicBezTo>
                      <a:pt x="0" y="51"/>
                      <a:pt x="0" y="49"/>
                      <a:pt x="0" y="48"/>
                    </a:cubicBezTo>
                    <a:cubicBezTo>
                      <a:pt x="0" y="47"/>
                      <a:pt x="0" y="46"/>
                      <a:pt x="0" y="44"/>
                    </a:cubicBezTo>
                    <a:cubicBezTo>
                      <a:pt x="0" y="42"/>
                      <a:pt x="0" y="39"/>
                      <a:pt x="1" y="37"/>
                    </a:cubicBezTo>
                    <a:cubicBezTo>
                      <a:pt x="1" y="34"/>
                      <a:pt x="1" y="32"/>
                      <a:pt x="2" y="29"/>
                    </a:cubicBezTo>
                    <a:cubicBezTo>
                      <a:pt x="2" y="26"/>
                      <a:pt x="3" y="24"/>
                      <a:pt x="3" y="21"/>
                    </a:cubicBezTo>
                    <a:cubicBezTo>
                      <a:pt x="4" y="19"/>
                      <a:pt x="4" y="16"/>
                      <a:pt x="4" y="14"/>
                    </a:cubicBezTo>
                    <a:cubicBezTo>
                      <a:pt x="5" y="13"/>
                      <a:pt x="5" y="12"/>
                      <a:pt x="5" y="11"/>
                    </a:cubicBezTo>
                    <a:cubicBezTo>
                      <a:pt x="6" y="10"/>
                      <a:pt x="6" y="9"/>
                      <a:pt x="7" y="8"/>
                    </a:cubicBezTo>
                    <a:cubicBezTo>
                      <a:pt x="9" y="6"/>
                      <a:pt x="11" y="4"/>
                      <a:pt x="13" y="3"/>
                    </a:cubicBezTo>
                    <a:cubicBezTo>
                      <a:pt x="15" y="2"/>
                      <a:pt x="18" y="2"/>
                      <a:pt x="20" y="1"/>
                    </a:cubicBezTo>
                    <a:cubicBezTo>
                      <a:pt x="23" y="1"/>
                      <a:pt x="25" y="0"/>
                      <a:pt x="28" y="0"/>
                    </a:cubicBezTo>
                    <a:cubicBezTo>
                      <a:pt x="30" y="0"/>
                      <a:pt x="33" y="0"/>
                      <a:pt x="35" y="0"/>
                    </a:cubicBezTo>
                    <a:cubicBezTo>
                      <a:pt x="36" y="0"/>
                      <a:pt x="37" y="0"/>
                      <a:pt x="39" y="0"/>
                    </a:cubicBezTo>
                    <a:cubicBezTo>
                      <a:pt x="40" y="1"/>
                      <a:pt x="41" y="1"/>
                      <a:pt x="42" y="2"/>
                    </a:cubicBezTo>
                    <a:cubicBezTo>
                      <a:pt x="43" y="3"/>
                      <a:pt x="44" y="5"/>
                      <a:pt x="44" y="8"/>
                    </a:cubicBezTo>
                    <a:cubicBezTo>
                      <a:pt x="44" y="8"/>
                      <a:pt x="44" y="9"/>
                      <a:pt x="43" y="9"/>
                    </a:cubicBezTo>
                    <a:cubicBezTo>
                      <a:pt x="43" y="10"/>
                      <a:pt x="42" y="10"/>
                      <a:pt x="42" y="10"/>
                    </a:cubicBezTo>
                    <a:cubicBezTo>
                      <a:pt x="41" y="11"/>
                      <a:pt x="40" y="11"/>
                      <a:pt x="40" y="11"/>
                    </a:cubicBezTo>
                    <a:cubicBezTo>
                      <a:pt x="39" y="11"/>
                      <a:pt x="39" y="11"/>
                      <a:pt x="38" y="11"/>
                    </a:cubicBezTo>
                    <a:cubicBezTo>
                      <a:pt x="37" y="11"/>
                      <a:pt x="35" y="11"/>
                      <a:pt x="33" y="11"/>
                    </a:cubicBezTo>
                    <a:cubicBezTo>
                      <a:pt x="31" y="11"/>
                      <a:pt x="29" y="11"/>
                      <a:pt x="27" y="11"/>
                    </a:cubicBezTo>
                    <a:cubicBezTo>
                      <a:pt x="26" y="12"/>
                      <a:pt x="24" y="12"/>
                      <a:pt x="22" y="12"/>
                    </a:cubicBezTo>
                    <a:cubicBezTo>
                      <a:pt x="20" y="13"/>
                      <a:pt x="19" y="13"/>
                      <a:pt x="17" y="14"/>
                    </a:cubicBezTo>
                    <a:cubicBezTo>
                      <a:pt x="17" y="16"/>
                      <a:pt x="16" y="18"/>
                      <a:pt x="16" y="20"/>
                    </a:cubicBezTo>
                    <a:cubicBezTo>
                      <a:pt x="16" y="22"/>
                      <a:pt x="15" y="24"/>
                      <a:pt x="15" y="25"/>
                    </a:cubicBezTo>
                    <a:cubicBezTo>
                      <a:pt x="15" y="27"/>
                      <a:pt x="14" y="29"/>
                      <a:pt x="14" y="31"/>
                    </a:cubicBezTo>
                    <a:cubicBezTo>
                      <a:pt x="14" y="33"/>
                      <a:pt x="14" y="35"/>
                      <a:pt x="13" y="37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37"/>
                      <a:pt x="16" y="35"/>
                      <a:pt x="18" y="33"/>
                    </a:cubicBezTo>
                    <a:cubicBezTo>
                      <a:pt x="20" y="31"/>
                      <a:pt x="22" y="30"/>
                      <a:pt x="24" y="28"/>
                    </a:cubicBezTo>
                    <a:cubicBezTo>
                      <a:pt x="26" y="27"/>
                      <a:pt x="28" y="26"/>
                      <a:pt x="31" y="25"/>
                    </a:cubicBezTo>
                    <a:cubicBezTo>
                      <a:pt x="33" y="25"/>
                      <a:pt x="35" y="24"/>
                      <a:pt x="38" y="24"/>
                    </a:cubicBezTo>
                    <a:cubicBezTo>
                      <a:pt x="40" y="24"/>
                      <a:pt x="43" y="25"/>
                      <a:pt x="45" y="26"/>
                    </a:cubicBezTo>
                    <a:cubicBezTo>
                      <a:pt x="48" y="27"/>
                      <a:pt x="49" y="28"/>
                      <a:pt x="51" y="30"/>
                    </a:cubicBezTo>
                    <a:cubicBezTo>
                      <a:pt x="52" y="32"/>
                      <a:pt x="53" y="35"/>
                      <a:pt x="54" y="37"/>
                    </a:cubicBezTo>
                    <a:cubicBezTo>
                      <a:pt x="55" y="40"/>
                      <a:pt x="55" y="43"/>
                      <a:pt x="54" y="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0" name="îŝľiḓè">
                <a:extLst>
                  <a:ext uri="{FF2B5EF4-FFF2-40B4-BE49-F238E27FC236}">
                    <a16:creationId xmlns:a16="http://schemas.microsoft.com/office/drawing/2014/main" id="{3FC8E8F3-8401-4DBD-99FF-ADB024EE836C}"/>
                  </a:ext>
                </a:extLst>
              </p:cNvPr>
              <p:cNvSpPr/>
              <p:nvPr/>
            </p:nvSpPr>
            <p:spPr>
              <a:xfrm flipH="1">
                <a:off x="9536368" y="1617742"/>
                <a:ext cx="128862" cy="133861"/>
              </a:xfrm>
              <a:custGeom>
                <a:avLst/>
                <a:gdLst/>
                <a:ahLst/>
                <a:cxnLst/>
                <a:rect l="l" t="t" r="r" b="b"/>
                <a:pathLst>
                  <a:path w="98" h="102" extrusionOk="0">
                    <a:moveTo>
                      <a:pt x="68" y="101"/>
                    </a:moveTo>
                    <a:cubicBezTo>
                      <a:pt x="67" y="102"/>
                      <a:pt x="65" y="102"/>
                      <a:pt x="64" y="102"/>
                    </a:cubicBezTo>
                    <a:cubicBezTo>
                      <a:pt x="63" y="102"/>
                      <a:pt x="61" y="102"/>
                      <a:pt x="60" y="101"/>
                    </a:cubicBezTo>
                    <a:cubicBezTo>
                      <a:pt x="59" y="101"/>
                      <a:pt x="58" y="100"/>
                      <a:pt x="57" y="100"/>
                    </a:cubicBezTo>
                    <a:cubicBezTo>
                      <a:pt x="57" y="100"/>
                      <a:pt x="56" y="99"/>
                      <a:pt x="55" y="98"/>
                    </a:cubicBezTo>
                    <a:cubicBezTo>
                      <a:pt x="55" y="97"/>
                      <a:pt x="55" y="96"/>
                      <a:pt x="55" y="96"/>
                    </a:cubicBezTo>
                    <a:cubicBezTo>
                      <a:pt x="55" y="95"/>
                      <a:pt x="55" y="94"/>
                      <a:pt x="55" y="93"/>
                    </a:cubicBezTo>
                    <a:cubicBezTo>
                      <a:pt x="57" y="88"/>
                      <a:pt x="58" y="84"/>
                      <a:pt x="60" y="80"/>
                    </a:cubicBezTo>
                    <a:cubicBezTo>
                      <a:pt x="62" y="76"/>
                      <a:pt x="64" y="72"/>
                      <a:pt x="65" y="68"/>
                    </a:cubicBezTo>
                    <a:cubicBezTo>
                      <a:pt x="66" y="66"/>
                      <a:pt x="67" y="64"/>
                      <a:pt x="68" y="63"/>
                    </a:cubicBezTo>
                    <a:cubicBezTo>
                      <a:pt x="69" y="61"/>
                      <a:pt x="70" y="60"/>
                      <a:pt x="71" y="58"/>
                    </a:cubicBezTo>
                    <a:cubicBezTo>
                      <a:pt x="71" y="57"/>
                      <a:pt x="72" y="56"/>
                      <a:pt x="73" y="54"/>
                    </a:cubicBezTo>
                    <a:cubicBezTo>
                      <a:pt x="73" y="53"/>
                      <a:pt x="74" y="52"/>
                      <a:pt x="75" y="51"/>
                    </a:cubicBezTo>
                    <a:cubicBezTo>
                      <a:pt x="75" y="50"/>
                      <a:pt x="76" y="48"/>
                      <a:pt x="76" y="47"/>
                    </a:cubicBezTo>
                    <a:cubicBezTo>
                      <a:pt x="77" y="46"/>
                      <a:pt x="77" y="45"/>
                      <a:pt x="78" y="43"/>
                    </a:cubicBezTo>
                    <a:cubicBezTo>
                      <a:pt x="74" y="45"/>
                      <a:pt x="71" y="46"/>
                      <a:pt x="68" y="48"/>
                    </a:cubicBezTo>
                    <a:cubicBezTo>
                      <a:pt x="65" y="50"/>
                      <a:pt x="62" y="52"/>
                      <a:pt x="59" y="54"/>
                    </a:cubicBezTo>
                    <a:cubicBezTo>
                      <a:pt x="56" y="56"/>
                      <a:pt x="54" y="59"/>
                      <a:pt x="51" y="61"/>
                    </a:cubicBezTo>
                    <a:cubicBezTo>
                      <a:pt x="48" y="63"/>
                      <a:pt x="46" y="66"/>
                      <a:pt x="43" y="68"/>
                    </a:cubicBezTo>
                    <a:cubicBezTo>
                      <a:pt x="42" y="69"/>
                      <a:pt x="41" y="70"/>
                      <a:pt x="40" y="71"/>
                    </a:cubicBezTo>
                    <a:cubicBezTo>
                      <a:pt x="39" y="72"/>
                      <a:pt x="39" y="73"/>
                      <a:pt x="38" y="73"/>
                    </a:cubicBezTo>
                    <a:cubicBezTo>
                      <a:pt x="37" y="74"/>
                      <a:pt x="37" y="74"/>
                      <a:pt x="36" y="75"/>
                    </a:cubicBezTo>
                    <a:cubicBezTo>
                      <a:pt x="36" y="75"/>
                      <a:pt x="35" y="75"/>
                      <a:pt x="35" y="76"/>
                    </a:cubicBezTo>
                    <a:cubicBezTo>
                      <a:pt x="34" y="76"/>
                      <a:pt x="34" y="76"/>
                      <a:pt x="33" y="76"/>
                    </a:cubicBezTo>
                    <a:cubicBezTo>
                      <a:pt x="32" y="77"/>
                      <a:pt x="32" y="77"/>
                      <a:pt x="31" y="76"/>
                    </a:cubicBezTo>
                    <a:cubicBezTo>
                      <a:pt x="29" y="76"/>
                      <a:pt x="28" y="74"/>
                      <a:pt x="27" y="72"/>
                    </a:cubicBezTo>
                    <a:cubicBezTo>
                      <a:pt x="26" y="70"/>
                      <a:pt x="25" y="68"/>
                      <a:pt x="25" y="66"/>
                    </a:cubicBezTo>
                    <a:cubicBezTo>
                      <a:pt x="26" y="64"/>
                      <a:pt x="26" y="61"/>
                      <a:pt x="27" y="58"/>
                    </a:cubicBezTo>
                    <a:cubicBezTo>
                      <a:pt x="27" y="56"/>
                      <a:pt x="28" y="53"/>
                      <a:pt x="29" y="51"/>
                    </a:cubicBezTo>
                    <a:cubicBezTo>
                      <a:pt x="30" y="48"/>
                      <a:pt x="31" y="46"/>
                      <a:pt x="32" y="43"/>
                    </a:cubicBezTo>
                    <a:cubicBezTo>
                      <a:pt x="32" y="40"/>
                      <a:pt x="33" y="38"/>
                      <a:pt x="33" y="35"/>
                    </a:cubicBezTo>
                    <a:cubicBezTo>
                      <a:pt x="32" y="36"/>
                      <a:pt x="31" y="37"/>
                      <a:pt x="30" y="38"/>
                    </a:cubicBezTo>
                    <a:cubicBezTo>
                      <a:pt x="28" y="39"/>
                      <a:pt x="28" y="40"/>
                      <a:pt x="27" y="42"/>
                    </a:cubicBezTo>
                    <a:cubicBezTo>
                      <a:pt x="26" y="43"/>
                      <a:pt x="25" y="44"/>
                      <a:pt x="24" y="46"/>
                    </a:cubicBezTo>
                    <a:cubicBezTo>
                      <a:pt x="23" y="47"/>
                      <a:pt x="23" y="48"/>
                      <a:pt x="22" y="49"/>
                    </a:cubicBezTo>
                    <a:cubicBezTo>
                      <a:pt x="21" y="51"/>
                      <a:pt x="20" y="52"/>
                      <a:pt x="20" y="53"/>
                    </a:cubicBezTo>
                    <a:cubicBezTo>
                      <a:pt x="19" y="54"/>
                      <a:pt x="18" y="56"/>
                      <a:pt x="18" y="57"/>
                    </a:cubicBezTo>
                    <a:cubicBezTo>
                      <a:pt x="17" y="58"/>
                      <a:pt x="17" y="59"/>
                      <a:pt x="16" y="60"/>
                    </a:cubicBezTo>
                    <a:cubicBezTo>
                      <a:pt x="16" y="61"/>
                      <a:pt x="16" y="62"/>
                      <a:pt x="15" y="63"/>
                    </a:cubicBezTo>
                    <a:cubicBezTo>
                      <a:pt x="15" y="64"/>
                      <a:pt x="15" y="65"/>
                      <a:pt x="14" y="66"/>
                    </a:cubicBezTo>
                    <a:cubicBezTo>
                      <a:pt x="14" y="67"/>
                      <a:pt x="14" y="67"/>
                      <a:pt x="13" y="68"/>
                    </a:cubicBezTo>
                    <a:cubicBezTo>
                      <a:pt x="13" y="69"/>
                      <a:pt x="12" y="70"/>
                      <a:pt x="12" y="71"/>
                    </a:cubicBezTo>
                    <a:cubicBezTo>
                      <a:pt x="11" y="72"/>
                      <a:pt x="10" y="72"/>
                      <a:pt x="10" y="73"/>
                    </a:cubicBezTo>
                    <a:cubicBezTo>
                      <a:pt x="9" y="73"/>
                      <a:pt x="8" y="74"/>
                      <a:pt x="7" y="74"/>
                    </a:cubicBezTo>
                    <a:cubicBezTo>
                      <a:pt x="6" y="74"/>
                      <a:pt x="5" y="74"/>
                      <a:pt x="4" y="73"/>
                    </a:cubicBezTo>
                    <a:cubicBezTo>
                      <a:pt x="3" y="72"/>
                      <a:pt x="2" y="71"/>
                      <a:pt x="1" y="69"/>
                    </a:cubicBezTo>
                    <a:cubicBezTo>
                      <a:pt x="0" y="68"/>
                      <a:pt x="0" y="66"/>
                      <a:pt x="0" y="65"/>
                    </a:cubicBezTo>
                    <a:cubicBezTo>
                      <a:pt x="0" y="63"/>
                      <a:pt x="0" y="62"/>
                      <a:pt x="1" y="60"/>
                    </a:cubicBezTo>
                    <a:cubicBezTo>
                      <a:pt x="1" y="59"/>
                      <a:pt x="2" y="57"/>
                      <a:pt x="2" y="56"/>
                    </a:cubicBezTo>
                    <a:cubicBezTo>
                      <a:pt x="4" y="52"/>
                      <a:pt x="6" y="48"/>
                      <a:pt x="8" y="45"/>
                    </a:cubicBezTo>
                    <a:cubicBezTo>
                      <a:pt x="9" y="41"/>
                      <a:pt x="11" y="37"/>
                      <a:pt x="14" y="34"/>
                    </a:cubicBezTo>
                    <a:cubicBezTo>
                      <a:pt x="16" y="30"/>
                      <a:pt x="18" y="27"/>
                      <a:pt x="20" y="24"/>
                    </a:cubicBezTo>
                    <a:cubicBezTo>
                      <a:pt x="22" y="21"/>
                      <a:pt x="24" y="18"/>
                      <a:pt x="27" y="16"/>
                    </a:cubicBezTo>
                    <a:cubicBezTo>
                      <a:pt x="28" y="14"/>
                      <a:pt x="30" y="12"/>
                      <a:pt x="32" y="10"/>
                    </a:cubicBezTo>
                    <a:cubicBezTo>
                      <a:pt x="34" y="8"/>
                      <a:pt x="35" y="7"/>
                      <a:pt x="37" y="5"/>
                    </a:cubicBezTo>
                    <a:cubicBezTo>
                      <a:pt x="39" y="4"/>
                      <a:pt x="40" y="2"/>
                      <a:pt x="42" y="2"/>
                    </a:cubicBezTo>
                    <a:cubicBezTo>
                      <a:pt x="44" y="1"/>
                      <a:pt x="46" y="0"/>
                      <a:pt x="48" y="0"/>
                    </a:cubicBezTo>
                    <a:cubicBezTo>
                      <a:pt x="50" y="1"/>
                      <a:pt x="51" y="1"/>
                      <a:pt x="51" y="2"/>
                    </a:cubicBezTo>
                    <a:cubicBezTo>
                      <a:pt x="52" y="3"/>
                      <a:pt x="53" y="4"/>
                      <a:pt x="53" y="5"/>
                    </a:cubicBezTo>
                    <a:cubicBezTo>
                      <a:pt x="54" y="6"/>
                      <a:pt x="54" y="7"/>
                      <a:pt x="54" y="8"/>
                    </a:cubicBezTo>
                    <a:cubicBezTo>
                      <a:pt x="54" y="9"/>
                      <a:pt x="54" y="10"/>
                      <a:pt x="54" y="11"/>
                    </a:cubicBezTo>
                    <a:cubicBezTo>
                      <a:pt x="54" y="14"/>
                      <a:pt x="53" y="16"/>
                      <a:pt x="52" y="18"/>
                    </a:cubicBezTo>
                    <a:cubicBezTo>
                      <a:pt x="52" y="21"/>
                      <a:pt x="51" y="23"/>
                      <a:pt x="50" y="25"/>
                    </a:cubicBezTo>
                    <a:cubicBezTo>
                      <a:pt x="50" y="27"/>
                      <a:pt x="49" y="28"/>
                      <a:pt x="49" y="30"/>
                    </a:cubicBezTo>
                    <a:cubicBezTo>
                      <a:pt x="49" y="31"/>
                      <a:pt x="48" y="33"/>
                      <a:pt x="48" y="34"/>
                    </a:cubicBezTo>
                    <a:cubicBezTo>
                      <a:pt x="48" y="35"/>
                      <a:pt x="48" y="36"/>
                      <a:pt x="48" y="36"/>
                    </a:cubicBezTo>
                    <a:cubicBezTo>
                      <a:pt x="47" y="37"/>
                      <a:pt x="47" y="38"/>
                      <a:pt x="47" y="39"/>
                    </a:cubicBezTo>
                    <a:cubicBezTo>
                      <a:pt x="47" y="39"/>
                      <a:pt x="48" y="40"/>
                      <a:pt x="48" y="41"/>
                    </a:cubicBezTo>
                    <a:cubicBezTo>
                      <a:pt x="48" y="42"/>
                      <a:pt x="48" y="42"/>
                      <a:pt x="49" y="43"/>
                    </a:cubicBezTo>
                    <a:cubicBezTo>
                      <a:pt x="52" y="40"/>
                      <a:pt x="56" y="38"/>
                      <a:pt x="60" y="36"/>
                    </a:cubicBezTo>
                    <a:cubicBezTo>
                      <a:pt x="63" y="33"/>
                      <a:pt x="67" y="31"/>
                      <a:pt x="71" y="29"/>
                    </a:cubicBezTo>
                    <a:cubicBezTo>
                      <a:pt x="72" y="28"/>
                      <a:pt x="74" y="27"/>
                      <a:pt x="76" y="26"/>
                    </a:cubicBezTo>
                    <a:cubicBezTo>
                      <a:pt x="77" y="25"/>
                      <a:pt x="79" y="24"/>
                      <a:pt x="81" y="23"/>
                    </a:cubicBezTo>
                    <a:cubicBezTo>
                      <a:pt x="82" y="22"/>
                      <a:pt x="84" y="22"/>
                      <a:pt x="86" y="21"/>
                    </a:cubicBezTo>
                    <a:cubicBezTo>
                      <a:pt x="88" y="21"/>
                      <a:pt x="90" y="21"/>
                      <a:pt x="91" y="21"/>
                    </a:cubicBezTo>
                    <a:cubicBezTo>
                      <a:pt x="93" y="22"/>
                      <a:pt x="94" y="23"/>
                      <a:pt x="95" y="24"/>
                    </a:cubicBezTo>
                    <a:cubicBezTo>
                      <a:pt x="96" y="25"/>
                      <a:pt x="96" y="26"/>
                      <a:pt x="97" y="27"/>
                    </a:cubicBezTo>
                    <a:cubicBezTo>
                      <a:pt x="97" y="28"/>
                      <a:pt x="98" y="29"/>
                      <a:pt x="98" y="31"/>
                    </a:cubicBezTo>
                    <a:cubicBezTo>
                      <a:pt x="98" y="32"/>
                      <a:pt x="98" y="33"/>
                      <a:pt x="98" y="35"/>
                    </a:cubicBezTo>
                    <a:cubicBezTo>
                      <a:pt x="98" y="37"/>
                      <a:pt x="97" y="40"/>
                      <a:pt x="96" y="42"/>
                    </a:cubicBezTo>
                    <a:cubicBezTo>
                      <a:pt x="95" y="45"/>
                      <a:pt x="94" y="48"/>
                      <a:pt x="93" y="50"/>
                    </a:cubicBezTo>
                    <a:cubicBezTo>
                      <a:pt x="93" y="51"/>
                      <a:pt x="93" y="51"/>
                      <a:pt x="92" y="51"/>
                    </a:cubicBezTo>
                    <a:cubicBezTo>
                      <a:pt x="92" y="52"/>
                      <a:pt x="92" y="52"/>
                      <a:pt x="92" y="53"/>
                    </a:cubicBezTo>
                    <a:cubicBezTo>
                      <a:pt x="91" y="54"/>
                      <a:pt x="90" y="55"/>
                      <a:pt x="90" y="56"/>
                    </a:cubicBezTo>
                    <a:cubicBezTo>
                      <a:pt x="89" y="57"/>
                      <a:pt x="88" y="59"/>
                      <a:pt x="87" y="60"/>
                    </a:cubicBezTo>
                    <a:cubicBezTo>
                      <a:pt x="86" y="61"/>
                      <a:pt x="86" y="62"/>
                      <a:pt x="85" y="63"/>
                    </a:cubicBezTo>
                    <a:cubicBezTo>
                      <a:pt x="84" y="64"/>
                      <a:pt x="83" y="66"/>
                      <a:pt x="82" y="67"/>
                    </a:cubicBezTo>
                    <a:cubicBezTo>
                      <a:pt x="82" y="67"/>
                      <a:pt x="81" y="68"/>
                      <a:pt x="81" y="69"/>
                    </a:cubicBezTo>
                    <a:cubicBezTo>
                      <a:pt x="81" y="70"/>
                      <a:pt x="80" y="71"/>
                      <a:pt x="80" y="71"/>
                    </a:cubicBezTo>
                    <a:cubicBezTo>
                      <a:pt x="78" y="74"/>
                      <a:pt x="77" y="76"/>
                      <a:pt x="76" y="79"/>
                    </a:cubicBezTo>
                    <a:cubicBezTo>
                      <a:pt x="76" y="82"/>
                      <a:pt x="75" y="84"/>
                      <a:pt x="74" y="87"/>
                    </a:cubicBezTo>
                    <a:cubicBezTo>
                      <a:pt x="73" y="89"/>
                      <a:pt x="72" y="92"/>
                      <a:pt x="71" y="94"/>
                    </a:cubicBezTo>
                    <a:cubicBezTo>
                      <a:pt x="70" y="96"/>
                      <a:pt x="69" y="99"/>
                      <a:pt x="68" y="1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1" name="íṧ1iḓé">
                <a:extLst>
                  <a:ext uri="{FF2B5EF4-FFF2-40B4-BE49-F238E27FC236}">
                    <a16:creationId xmlns:a16="http://schemas.microsoft.com/office/drawing/2014/main" id="{AE24BAB7-22A7-47A8-82BE-AF97327AFBBB}"/>
                  </a:ext>
                </a:extLst>
              </p:cNvPr>
              <p:cNvSpPr/>
              <p:nvPr/>
            </p:nvSpPr>
            <p:spPr>
              <a:xfrm flipH="1">
                <a:off x="9443055" y="1431669"/>
                <a:ext cx="133861" cy="152191"/>
              </a:xfrm>
              <a:custGeom>
                <a:avLst/>
                <a:gdLst/>
                <a:ahLst/>
                <a:cxnLst/>
                <a:rect l="l" t="t" r="r" b="b"/>
                <a:pathLst>
                  <a:path w="102" h="116" extrusionOk="0">
                    <a:moveTo>
                      <a:pt x="68" y="105"/>
                    </a:moveTo>
                    <a:cubicBezTo>
                      <a:pt x="68" y="106"/>
                      <a:pt x="67" y="108"/>
                      <a:pt x="65" y="109"/>
                    </a:cubicBezTo>
                    <a:cubicBezTo>
                      <a:pt x="64" y="110"/>
                      <a:pt x="63" y="111"/>
                      <a:pt x="62" y="112"/>
                    </a:cubicBezTo>
                    <a:cubicBezTo>
                      <a:pt x="61" y="114"/>
                      <a:pt x="59" y="114"/>
                      <a:pt x="58" y="115"/>
                    </a:cubicBezTo>
                    <a:cubicBezTo>
                      <a:pt x="56" y="116"/>
                      <a:pt x="54" y="116"/>
                      <a:pt x="53" y="116"/>
                    </a:cubicBezTo>
                    <a:cubicBezTo>
                      <a:pt x="50" y="115"/>
                      <a:pt x="48" y="113"/>
                      <a:pt x="46" y="111"/>
                    </a:cubicBezTo>
                    <a:cubicBezTo>
                      <a:pt x="45" y="109"/>
                      <a:pt x="44" y="106"/>
                      <a:pt x="43" y="104"/>
                    </a:cubicBezTo>
                    <a:cubicBezTo>
                      <a:pt x="42" y="101"/>
                      <a:pt x="42" y="98"/>
                      <a:pt x="41" y="95"/>
                    </a:cubicBezTo>
                    <a:cubicBezTo>
                      <a:pt x="41" y="93"/>
                      <a:pt x="41" y="90"/>
                      <a:pt x="40" y="87"/>
                    </a:cubicBezTo>
                    <a:cubicBezTo>
                      <a:pt x="40" y="81"/>
                      <a:pt x="39" y="75"/>
                      <a:pt x="39" y="68"/>
                    </a:cubicBezTo>
                    <a:cubicBezTo>
                      <a:pt x="38" y="62"/>
                      <a:pt x="38" y="56"/>
                      <a:pt x="37" y="49"/>
                    </a:cubicBezTo>
                    <a:cubicBezTo>
                      <a:pt x="36" y="50"/>
                      <a:pt x="35" y="51"/>
                      <a:pt x="34" y="52"/>
                    </a:cubicBezTo>
                    <a:cubicBezTo>
                      <a:pt x="32" y="53"/>
                      <a:pt x="31" y="54"/>
                      <a:pt x="31" y="55"/>
                    </a:cubicBezTo>
                    <a:cubicBezTo>
                      <a:pt x="30" y="56"/>
                      <a:pt x="29" y="58"/>
                      <a:pt x="28" y="59"/>
                    </a:cubicBezTo>
                    <a:cubicBezTo>
                      <a:pt x="28" y="60"/>
                      <a:pt x="27" y="62"/>
                      <a:pt x="26" y="63"/>
                    </a:cubicBezTo>
                    <a:cubicBezTo>
                      <a:pt x="25" y="65"/>
                      <a:pt x="24" y="67"/>
                      <a:pt x="23" y="69"/>
                    </a:cubicBezTo>
                    <a:cubicBezTo>
                      <a:pt x="23" y="72"/>
                      <a:pt x="22" y="74"/>
                      <a:pt x="21" y="76"/>
                    </a:cubicBezTo>
                    <a:cubicBezTo>
                      <a:pt x="20" y="78"/>
                      <a:pt x="19" y="80"/>
                      <a:pt x="18" y="82"/>
                    </a:cubicBezTo>
                    <a:cubicBezTo>
                      <a:pt x="17" y="85"/>
                      <a:pt x="17" y="87"/>
                      <a:pt x="16" y="89"/>
                    </a:cubicBezTo>
                    <a:cubicBezTo>
                      <a:pt x="15" y="90"/>
                      <a:pt x="14" y="91"/>
                      <a:pt x="14" y="92"/>
                    </a:cubicBezTo>
                    <a:cubicBezTo>
                      <a:pt x="13" y="94"/>
                      <a:pt x="13" y="95"/>
                      <a:pt x="12" y="96"/>
                    </a:cubicBezTo>
                    <a:cubicBezTo>
                      <a:pt x="11" y="97"/>
                      <a:pt x="10" y="98"/>
                      <a:pt x="9" y="98"/>
                    </a:cubicBezTo>
                    <a:cubicBezTo>
                      <a:pt x="8" y="99"/>
                      <a:pt x="7" y="99"/>
                      <a:pt x="5" y="99"/>
                    </a:cubicBezTo>
                    <a:cubicBezTo>
                      <a:pt x="4" y="98"/>
                      <a:pt x="3" y="98"/>
                      <a:pt x="3" y="97"/>
                    </a:cubicBezTo>
                    <a:cubicBezTo>
                      <a:pt x="2" y="96"/>
                      <a:pt x="1" y="95"/>
                      <a:pt x="1" y="94"/>
                    </a:cubicBezTo>
                    <a:cubicBezTo>
                      <a:pt x="1" y="93"/>
                      <a:pt x="0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1" y="82"/>
                      <a:pt x="2" y="77"/>
                      <a:pt x="4" y="72"/>
                    </a:cubicBezTo>
                    <a:cubicBezTo>
                      <a:pt x="6" y="66"/>
                      <a:pt x="8" y="61"/>
                      <a:pt x="10" y="56"/>
                    </a:cubicBezTo>
                    <a:cubicBezTo>
                      <a:pt x="11" y="55"/>
                      <a:pt x="12" y="53"/>
                      <a:pt x="13" y="51"/>
                    </a:cubicBezTo>
                    <a:cubicBezTo>
                      <a:pt x="13" y="50"/>
                      <a:pt x="14" y="48"/>
                      <a:pt x="15" y="46"/>
                    </a:cubicBezTo>
                    <a:cubicBezTo>
                      <a:pt x="17" y="42"/>
                      <a:pt x="19" y="39"/>
                      <a:pt x="21" y="35"/>
                    </a:cubicBezTo>
                    <a:cubicBezTo>
                      <a:pt x="24" y="31"/>
                      <a:pt x="26" y="27"/>
                      <a:pt x="28" y="24"/>
                    </a:cubicBezTo>
                    <a:cubicBezTo>
                      <a:pt x="30" y="21"/>
                      <a:pt x="32" y="19"/>
                      <a:pt x="33" y="17"/>
                    </a:cubicBezTo>
                    <a:cubicBezTo>
                      <a:pt x="35" y="14"/>
                      <a:pt x="36" y="12"/>
                      <a:pt x="38" y="10"/>
                    </a:cubicBezTo>
                    <a:cubicBezTo>
                      <a:pt x="40" y="8"/>
                      <a:pt x="42" y="6"/>
                      <a:pt x="43" y="4"/>
                    </a:cubicBezTo>
                    <a:cubicBezTo>
                      <a:pt x="45" y="2"/>
                      <a:pt x="48" y="1"/>
                      <a:pt x="50" y="0"/>
                    </a:cubicBezTo>
                    <a:cubicBezTo>
                      <a:pt x="52" y="1"/>
                      <a:pt x="53" y="2"/>
                      <a:pt x="54" y="3"/>
                    </a:cubicBezTo>
                    <a:cubicBezTo>
                      <a:pt x="55" y="5"/>
                      <a:pt x="56" y="6"/>
                      <a:pt x="57" y="8"/>
                    </a:cubicBezTo>
                    <a:cubicBezTo>
                      <a:pt x="57" y="10"/>
                      <a:pt x="57" y="11"/>
                      <a:pt x="58" y="13"/>
                    </a:cubicBezTo>
                    <a:cubicBezTo>
                      <a:pt x="58" y="15"/>
                      <a:pt x="58" y="17"/>
                      <a:pt x="58" y="18"/>
                    </a:cubicBezTo>
                    <a:cubicBezTo>
                      <a:pt x="58" y="24"/>
                      <a:pt x="58" y="30"/>
                      <a:pt x="58" y="35"/>
                    </a:cubicBezTo>
                    <a:cubicBezTo>
                      <a:pt x="58" y="41"/>
                      <a:pt x="58" y="47"/>
                      <a:pt x="58" y="52"/>
                    </a:cubicBezTo>
                    <a:cubicBezTo>
                      <a:pt x="58" y="55"/>
                      <a:pt x="58" y="57"/>
                      <a:pt x="58" y="59"/>
                    </a:cubicBezTo>
                    <a:cubicBezTo>
                      <a:pt x="58" y="62"/>
                      <a:pt x="58" y="64"/>
                      <a:pt x="58" y="66"/>
                    </a:cubicBezTo>
                    <a:cubicBezTo>
                      <a:pt x="58" y="69"/>
                      <a:pt x="59" y="71"/>
                      <a:pt x="59" y="73"/>
                    </a:cubicBezTo>
                    <a:cubicBezTo>
                      <a:pt x="59" y="75"/>
                      <a:pt x="60" y="78"/>
                      <a:pt x="61" y="80"/>
                    </a:cubicBezTo>
                    <a:cubicBezTo>
                      <a:pt x="62" y="78"/>
                      <a:pt x="63" y="77"/>
                      <a:pt x="64" y="75"/>
                    </a:cubicBezTo>
                    <a:cubicBezTo>
                      <a:pt x="65" y="74"/>
                      <a:pt x="66" y="72"/>
                      <a:pt x="67" y="70"/>
                    </a:cubicBezTo>
                    <a:cubicBezTo>
                      <a:pt x="68" y="67"/>
                      <a:pt x="70" y="64"/>
                      <a:pt x="71" y="60"/>
                    </a:cubicBezTo>
                    <a:cubicBezTo>
                      <a:pt x="72" y="57"/>
                      <a:pt x="74" y="54"/>
                      <a:pt x="75" y="50"/>
                    </a:cubicBezTo>
                    <a:cubicBezTo>
                      <a:pt x="76" y="47"/>
                      <a:pt x="77" y="44"/>
                      <a:pt x="78" y="41"/>
                    </a:cubicBezTo>
                    <a:cubicBezTo>
                      <a:pt x="80" y="37"/>
                      <a:pt x="81" y="34"/>
                      <a:pt x="82" y="31"/>
                    </a:cubicBezTo>
                    <a:cubicBezTo>
                      <a:pt x="83" y="30"/>
                      <a:pt x="84" y="28"/>
                      <a:pt x="85" y="27"/>
                    </a:cubicBezTo>
                    <a:cubicBezTo>
                      <a:pt x="85" y="25"/>
                      <a:pt x="86" y="24"/>
                      <a:pt x="88" y="22"/>
                    </a:cubicBezTo>
                    <a:cubicBezTo>
                      <a:pt x="89" y="21"/>
                      <a:pt x="90" y="20"/>
                      <a:pt x="91" y="19"/>
                    </a:cubicBezTo>
                    <a:cubicBezTo>
                      <a:pt x="93" y="19"/>
                      <a:pt x="94" y="19"/>
                      <a:pt x="96" y="19"/>
                    </a:cubicBezTo>
                    <a:cubicBezTo>
                      <a:pt x="98" y="20"/>
                      <a:pt x="99" y="22"/>
                      <a:pt x="100" y="23"/>
                    </a:cubicBezTo>
                    <a:cubicBezTo>
                      <a:pt x="101" y="25"/>
                      <a:pt x="102" y="27"/>
                      <a:pt x="102" y="29"/>
                    </a:cubicBezTo>
                    <a:cubicBezTo>
                      <a:pt x="102" y="31"/>
                      <a:pt x="102" y="33"/>
                      <a:pt x="101" y="35"/>
                    </a:cubicBezTo>
                    <a:cubicBezTo>
                      <a:pt x="101" y="36"/>
                      <a:pt x="100" y="38"/>
                      <a:pt x="99" y="40"/>
                    </a:cubicBezTo>
                    <a:cubicBezTo>
                      <a:pt x="98" y="43"/>
                      <a:pt x="97" y="45"/>
                      <a:pt x="96" y="47"/>
                    </a:cubicBezTo>
                    <a:cubicBezTo>
                      <a:pt x="95" y="50"/>
                      <a:pt x="94" y="52"/>
                      <a:pt x="93" y="55"/>
                    </a:cubicBezTo>
                    <a:cubicBezTo>
                      <a:pt x="86" y="70"/>
                      <a:pt x="86" y="70"/>
                      <a:pt x="86" y="70"/>
                    </a:cubicBezTo>
                    <a:cubicBezTo>
                      <a:pt x="83" y="75"/>
                      <a:pt x="80" y="81"/>
                      <a:pt x="78" y="86"/>
                    </a:cubicBezTo>
                    <a:cubicBezTo>
                      <a:pt x="75" y="92"/>
                      <a:pt x="72" y="97"/>
                      <a:pt x="69" y="103"/>
                    </a:cubicBezTo>
                    <a:lnTo>
                      <a:pt x="68" y="1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2" name="îṥ1îḋê">
                <a:extLst>
                  <a:ext uri="{FF2B5EF4-FFF2-40B4-BE49-F238E27FC236}">
                    <a16:creationId xmlns:a16="http://schemas.microsoft.com/office/drawing/2014/main" id="{8DF17F06-2410-4EE8-9D97-45BBBCB80B15}"/>
                  </a:ext>
                </a:extLst>
              </p:cNvPr>
              <p:cNvSpPr/>
              <p:nvPr/>
            </p:nvSpPr>
            <p:spPr>
              <a:xfrm flipH="1">
                <a:off x="9180333" y="2934690"/>
                <a:ext cx="2266742" cy="3212110"/>
              </a:xfrm>
              <a:custGeom>
                <a:avLst/>
                <a:gdLst/>
                <a:ahLst/>
                <a:cxnLst/>
                <a:rect l="l" t="t" r="r" b="b"/>
                <a:pathLst>
                  <a:path w="1726" h="2446" extrusionOk="0">
                    <a:moveTo>
                      <a:pt x="1616" y="847"/>
                    </a:moveTo>
                    <a:cubicBezTo>
                      <a:pt x="1592" y="814"/>
                      <a:pt x="1570" y="775"/>
                      <a:pt x="1555" y="743"/>
                    </a:cubicBezTo>
                    <a:cubicBezTo>
                      <a:pt x="1566" y="730"/>
                      <a:pt x="1575" y="714"/>
                      <a:pt x="1571" y="690"/>
                    </a:cubicBezTo>
                    <a:cubicBezTo>
                      <a:pt x="1564" y="701"/>
                      <a:pt x="1556" y="713"/>
                      <a:pt x="1547" y="725"/>
                    </a:cubicBezTo>
                    <a:cubicBezTo>
                      <a:pt x="1546" y="724"/>
                      <a:pt x="1546" y="723"/>
                      <a:pt x="1545" y="722"/>
                    </a:cubicBezTo>
                    <a:cubicBezTo>
                      <a:pt x="1560" y="685"/>
                      <a:pt x="1571" y="644"/>
                      <a:pt x="1575" y="606"/>
                    </a:cubicBezTo>
                    <a:cubicBezTo>
                      <a:pt x="1584" y="523"/>
                      <a:pt x="1568" y="449"/>
                      <a:pt x="1543" y="371"/>
                    </a:cubicBezTo>
                    <a:cubicBezTo>
                      <a:pt x="1530" y="332"/>
                      <a:pt x="1512" y="300"/>
                      <a:pt x="1488" y="273"/>
                    </a:cubicBezTo>
                    <a:cubicBezTo>
                      <a:pt x="1475" y="241"/>
                      <a:pt x="1442" y="210"/>
                      <a:pt x="1304" y="147"/>
                    </a:cubicBezTo>
                    <a:cubicBezTo>
                      <a:pt x="1300" y="145"/>
                      <a:pt x="1295" y="143"/>
                      <a:pt x="1289" y="140"/>
                    </a:cubicBezTo>
                    <a:cubicBezTo>
                      <a:pt x="1289" y="139"/>
                      <a:pt x="1288" y="139"/>
                      <a:pt x="1288" y="139"/>
                    </a:cubicBezTo>
                    <a:cubicBezTo>
                      <a:pt x="1269" y="128"/>
                      <a:pt x="1233" y="98"/>
                      <a:pt x="1207" y="89"/>
                    </a:cubicBezTo>
                    <a:cubicBezTo>
                      <a:pt x="1234" y="91"/>
                      <a:pt x="1277" y="95"/>
                      <a:pt x="1277" y="95"/>
                    </a:cubicBezTo>
                    <a:cubicBezTo>
                      <a:pt x="1270" y="72"/>
                      <a:pt x="1187" y="15"/>
                      <a:pt x="1020" y="53"/>
                    </a:cubicBezTo>
                    <a:cubicBezTo>
                      <a:pt x="1010" y="189"/>
                      <a:pt x="1010" y="189"/>
                      <a:pt x="1010" y="189"/>
                    </a:cubicBezTo>
                    <a:cubicBezTo>
                      <a:pt x="1136" y="197"/>
                      <a:pt x="1228" y="241"/>
                      <a:pt x="1252" y="256"/>
                    </a:cubicBezTo>
                    <a:cubicBezTo>
                      <a:pt x="1348" y="319"/>
                      <a:pt x="1573" y="511"/>
                      <a:pt x="1242" y="715"/>
                    </a:cubicBezTo>
                    <a:cubicBezTo>
                      <a:pt x="1242" y="715"/>
                      <a:pt x="981" y="805"/>
                      <a:pt x="864" y="936"/>
                    </a:cubicBezTo>
                    <a:cubicBezTo>
                      <a:pt x="747" y="1066"/>
                      <a:pt x="613" y="1090"/>
                      <a:pt x="536" y="1043"/>
                    </a:cubicBezTo>
                    <a:cubicBezTo>
                      <a:pt x="459" y="996"/>
                      <a:pt x="118" y="669"/>
                      <a:pt x="563" y="330"/>
                    </a:cubicBezTo>
                    <a:cubicBezTo>
                      <a:pt x="675" y="244"/>
                      <a:pt x="786" y="205"/>
                      <a:pt x="886" y="192"/>
                    </a:cubicBezTo>
                    <a:cubicBezTo>
                      <a:pt x="884" y="24"/>
                      <a:pt x="884" y="24"/>
                      <a:pt x="884" y="24"/>
                    </a:cubicBezTo>
                    <a:cubicBezTo>
                      <a:pt x="847" y="32"/>
                      <a:pt x="802" y="45"/>
                      <a:pt x="759" y="61"/>
                    </a:cubicBezTo>
                    <a:cubicBezTo>
                      <a:pt x="790" y="43"/>
                      <a:pt x="813" y="29"/>
                      <a:pt x="813" y="28"/>
                    </a:cubicBezTo>
                    <a:cubicBezTo>
                      <a:pt x="814" y="14"/>
                      <a:pt x="591" y="0"/>
                      <a:pt x="437" y="269"/>
                    </a:cubicBezTo>
                    <a:cubicBezTo>
                      <a:pt x="434" y="276"/>
                      <a:pt x="427" y="173"/>
                      <a:pt x="427" y="173"/>
                    </a:cubicBezTo>
                    <a:cubicBezTo>
                      <a:pt x="427" y="173"/>
                      <a:pt x="375" y="219"/>
                      <a:pt x="370" y="315"/>
                    </a:cubicBezTo>
                    <a:cubicBezTo>
                      <a:pt x="370" y="320"/>
                      <a:pt x="368" y="323"/>
                      <a:pt x="364" y="327"/>
                    </a:cubicBezTo>
                    <a:cubicBezTo>
                      <a:pt x="300" y="315"/>
                      <a:pt x="239" y="446"/>
                      <a:pt x="215" y="491"/>
                    </a:cubicBezTo>
                    <a:cubicBezTo>
                      <a:pt x="150" y="615"/>
                      <a:pt x="140" y="783"/>
                      <a:pt x="140" y="921"/>
                    </a:cubicBezTo>
                    <a:cubicBezTo>
                      <a:pt x="140" y="966"/>
                      <a:pt x="140" y="1011"/>
                      <a:pt x="142" y="1056"/>
                    </a:cubicBezTo>
                    <a:cubicBezTo>
                      <a:pt x="133" y="1112"/>
                      <a:pt x="121" y="1169"/>
                      <a:pt x="112" y="1224"/>
                    </a:cubicBezTo>
                    <a:cubicBezTo>
                      <a:pt x="100" y="1295"/>
                      <a:pt x="87" y="1382"/>
                      <a:pt x="56" y="1448"/>
                    </a:cubicBezTo>
                    <a:cubicBezTo>
                      <a:pt x="38" y="1486"/>
                      <a:pt x="6" y="1545"/>
                      <a:pt x="0" y="1586"/>
                    </a:cubicBezTo>
                    <a:cubicBezTo>
                      <a:pt x="27" y="1540"/>
                      <a:pt x="60" y="1504"/>
                      <a:pt x="79" y="1447"/>
                    </a:cubicBezTo>
                    <a:cubicBezTo>
                      <a:pt x="85" y="1521"/>
                      <a:pt x="94" y="1587"/>
                      <a:pt x="111" y="1659"/>
                    </a:cubicBezTo>
                    <a:cubicBezTo>
                      <a:pt x="125" y="1720"/>
                      <a:pt x="134" y="1799"/>
                      <a:pt x="164" y="1854"/>
                    </a:cubicBezTo>
                    <a:cubicBezTo>
                      <a:pt x="163" y="1808"/>
                      <a:pt x="169" y="1765"/>
                      <a:pt x="172" y="1720"/>
                    </a:cubicBezTo>
                    <a:cubicBezTo>
                      <a:pt x="172" y="1777"/>
                      <a:pt x="218" y="1842"/>
                      <a:pt x="248" y="1887"/>
                    </a:cubicBezTo>
                    <a:cubicBezTo>
                      <a:pt x="266" y="1914"/>
                      <a:pt x="283" y="1942"/>
                      <a:pt x="301" y="1970"/>
                    </a:cubicBezTo>
                    <a:cubicBezTo>
                      <a:pt x="260" y="2041"/>
                      <a:pt x="228" y="2103"/>
                      <a:pt x="224" y="2135"/>
                    </a:cubicBezTo>
                    <a:cubicBezTo>
                      <a:pt x="208" y="2240"/>
                      <a:pt x="857" y="2446"/>
                      <a:pt x="881" y="2439"/>
                    </a:cubicBezTo>
                    <a:cubicBezTo>
                      <a:pt x="893" y="2435"/>
                      <a:pt x="976" y="2368"/>
                      <a:pt x="1054" y="2306"/>
                    </a:cubicBezTo>
                    <a:cubicBezTo>
                      <a:pt x="1076" y="2302"/>
                      <a:pt x="1100" y="2299"/>
                      <a:pt x="1124" y="2299"/>
                    </a:cubicBezTo>
                    <a:cubicBezTo>
                      <a:pt x="1210" y="2298"/>
                      <a:pt x="1309" y="2321"/>
                      <a:pt x="1363" y="2240"/>
                    </a:cubicBezTo>
                    <a:cubicBezTo>
                      <a:pt x="1309" y="2164"/>
                      <a:pt x="1253" y="2094"/>
                      <a:pt x="1220" y="2006"/>
                    </a:cubicBezTo>
                    <a:cubicBezTo>
                      <a:pt x="1206" y="1970"/>
                      <a:pt x="1193" y="1929"/>
                      <a:pt x="1192" y="1908"/>
                    </a:cubicBezTo>
                    <a:cubicBezTo>
                      <a:pt x="1189" y="1851"/>
                      <a:pt x="1193" y="1793"/>
                      <a:pt x="1192" y="1736"/>
                    </a:cubicBezTo>
                    <a:cubicBezTo>
                      <a:pt x="1191" y="1713"/>
                      <a:pt x="1193" y="1686"/>
                      <a:pt x="1199" y="1667"/>
                    </a:cubicBezTo>
                    <a:cubicBezTo>
                      <a:pt x="1212" y="1697"/>
                      <a:pt x="1237" y="1761"/>
                      <a:pt x="1266" y="1778"/>
                    </a:cubicBezTo>
                    <a:cubicBezTo>
                      <a:pt x="1262" y="1714"/>
                      <a:pt x="1229" y="1623"/>
                      <a:pt x="1228" y="1556"/>
                    </a:cubicBezTo>
                    <a:cubicBezTo>
                      <a:pt x="1228" y="1529"/>
                      <a:pt x="1223" y="1469"/>
                      <a:pt x="1224" y="1439"/>
                    </a:cubicBezTo>
                    <a:cubicBezTo>
                      <a:pt x="1286" y="1421"/>
                      <a:pt x="1312" y="1425"/>
                      <a:pt x="1362" y="1432"/>
                    </a:cubicBezTo>
                    <a:cubicBezTo>
                      <a:pt x="1415" y="1440"/>
                      <a:pt x="1481" y="1447"/>
                      <a:pt x="1528" y="1431"/>
                    </a:cubicBezTo>
                    <a:cubicBezTo>
                      <a:pt x="1588" y="1410"/>
                      <a:pt x="1578" y="1312"/>
                      <a:pt x="1588" y="1279"/>
                    </a:cubicBezTo>
                    <a:cubicBezTo>
                      <a:pt x="1602" y="1228"/>
                      <a:pt x="1685" y="1201"/>
                      <a:pt x="1646" y="1154"/>
                    </a:cubicBezTo>
                    <a:cubicBezTo>
                      <a:pt x="1682" y="1127"/>
                      <a:pt x="1674" y="1103"/>
                      <a:pt x="1663" y="1088"/>
                    </a:cubicBezTo>
                    <a:cubicBezTo>
                      <a:pt x="1653" y="1074"/>
                      <a:pt x="1641" y="1061"/>
                      <a:pt x="1630" y="1047"/>
                    </a:cubicBezTo>
                    <a:cubicBezTo>
                      <a:pt x="1657" y="1044"/>
                      <a:pt x="1682" y="1037"/>
                      <a:pt x="1694" y="1020"/>
                    </a:cubicBezTo>
                    <a:cubicBezTo>
                      <a:pt x="1726" y="977"/>
                      <a:pt x="1669" y="919"/>
                      <a:pt x="1616" y="84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</p:grpSp>
        <p:sp>
          <p:nvSpPr>
            <p:cNvPr id="81" name="ïŝ1ïḑè">
              <a:extLst>
                <a:ext uri="{FF2B5EF4-FFF2-40B4-BE49-F238E27FC236}">
                  <a16:creationId xmlns:a16="http://schemas.microsoft.com/office/drawing/2014/main" id="{490D739C-FB02-4D8D-8F24-6057FDB46DB1}"/>
                </a:ext>
              </a:extLst>
            </p:cNvPr>
            <p:cNvSpPr/>
            <p:nvPr/>
          </p:nvSpPr>
          <p:spPr>
            <a:xfrm>
              <a:off x="1684562" y="1582731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2" name="íš1ïḍè">
              <a:extLst>
                <a:ext uri="{FF2B5EF4-FFF2-40B4-BE49-F238E27FC236}">
                  <a16:creationId xmlns:a16="http://schemas.microsoft.com/office/drawing/2014/main" id="{C087F102-0892-474E-8D86-C33FA2B51ACC}"/>
                </a:ext>
              </a:extLst>
            </p:cNvPr>
            <p:cNvSpPr/>
            <p:nvPr/>
          </p:nvSpPr>
          <p:spPr>
            <a:xfrm>
              <a:off x="1684562" y="2289305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3" name="iṥľiḓé">
              <a:extLst>
                <a:ext uri="{FF2B5EF4-FFF2-40B4-BE49-F238E27FC236}">
                  <a16:creationId xmlns:a16="http://schemas.microsoft.com/office/drawing/2014/main" id="{887AAB62-5D8B-4E2C-A829-C6DBED9B699A}"/>
                </a:ext>
              </a:extLst>
            </p:cNvPr>
            <p:cNvSpPr/>
            <p:nvPr/>
          </p:nvSpPr>
          <p:spPr>
            <a:xfrm>
              <a:off x="1684562" y="2995879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4" name="ï$ḷïďe">
              <a:extLst>
                <a:ext uri="{FF2B5EF4-FFF2-40B4-BE49-F238E27FC236}">
                  <a16:creationId xmlns:a16="http://schemas.microsoft.com/office/drawing/2014/main" id="{0207E892-F63B-4267-9230-C74C75809FE7}"/>
                </a:ext>
              </a:extLst>
            </p:cNvPr>
            <p:cNvSpPr/>
            <p:nvPr/>
          </p:nvSpPr>
          <p:spPr>
            <a:xfrm>
              <a:off x="1684562" y="3702453"/>
              <a:ext cx="4759325" cy="578768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85" name="îṣļíḑè">
              <a:extLst>
                <a:ext uri="{FF2B5EF4-FFF2-40B4-BE49-F238E27FC236}">
                  <a16:creationId xmlns:a16="http://schemas.microsoft.com/office/drawing/2014/main" id="{E7D200CE-6693-4790-975C-6679C75FD658}"/>
                </a:ext>
              </a:extLst>
            </p:cNvPr>
            <p:cNvSpPr/>
            <p:nvPr/>
          </p:nvSpPr>
          <p:spPr>
            <a:xfrm>
              <a:off x="1684562" y="4409027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6" name="ïŝḷiḑè">
              <a:extLst>
                <a:ext uri="{FF2B5EF4-FFF2-40B4-BE49-F238E27FC236}">
                  <a16:creationId xmlns:a16="http://schemas.microsoft.com/office/drawing/2014/main" id="{B1E03C93-4901-41D0-84A1-E567CE426C09}"/>
                </a:ext>
              </a:extLst>
            </p:cNvPr>
            <p:cNvSpPr/>
            <p:nvPr/>
          </p:nvSpPr>
          <p:spPr>
            <a:xfrm>
              <a:off x="1684562" y="5115601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cxnSp>
          <p:nvCxnSpPr>
            <p:cNvPr id="87" name="íṧ1iḓê">
              <a:extLst>
                <a:ext uri="{FF2B5EF4-FFF2-40B4-BE49-F238E27FC236}">
                  <a16:creationId xmlns:a16="http://schemas.microsoft.com/office/drawing/2014/main" id="{A6005DFD-7C1F-4F17-848B-5E1883B45848}"/>
                </a:ext>
              </a:extLst>
            </p:cNvPr>
            <p:cNvCxnSpPr/>
            <p:nvPr/>
          </p:nvCxnSpPr>
          <p:spPr>
            <a:xfrm>
              <a:off x="1684562" y="2225402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íṩľïde">
              <a:extLst>
                <a:ext uri="{FF2B5EF4-FFF2-40B4-BE49-F238E27FC236}">
                  <a16:creationId xmlns:a16="http://schemas.microsoft.com/office/drawing/2014/main" id="{DD7BFE17-4476-442B-970C-8262FCF3C724}"/>
                </a:ext>
              </a:extLst>
            </p:cNvPr>
            <p:cNvCxnSpPr/>
            <p:nvPr/>
          </p:nvCxnSpPr>
          <p:spPr>
            <a:xfrm>
              <a:off x="1684562" y="2931976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iṩḷîḓe">
              <a:extLst>
                <a:ext uri="{FF2B5EF4-FFF2-40B4-BE49-F238E27FC236}">
                  <a16:creationId xmlns:a16="http://schemas.microsoft.com/office/drawing/2014/main" id="{8D79F59B-7BFA-400E-B4F7-308714C8F49F}"/>
                </a:ext>
              </a:extLst>
            </p:cNvPr>
            <p:cNvCxnSpPr/>
            <p:nvPr/>
          </p:nvCxnSpPr>
          <p:spPr>
            <a:xfrm>
              <a:off x="1684562" y="3638550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i$ḷïde">
              <a:extLst>
                <a:ext uri="{FF2B5EF4-FFF2-40B4-BE49-F238E27FC236}">
                  <a16:creationId xmlns:a16="http://schemas.microsoft.com/office/drawing/2014/main" id="{61519AA2-C4DE-4FE9-99D9-1299CADB6A49}"/>
                </a:ext>
              </a:extLst>
            </p:cNvPr>
            <p:cNvCxnSpPr/>
            <p:nvPr/>
          </p:nvCxnSpPr>
          <p:spPr>
            <a:xfrm>
              <a:off x="1684562" y="4345124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îslîdé">
              <a:extLst>
                <a:ext uri="{FF2B5EF4-FFF2-40B4-BE49-F238E27FC236}">
                  <a16:creationId xmlns:a16="http://schemas.microsoft.com/office/drawing/2014/main" id="{23C9BDAF-6C1E-44F7-9ACF-B6AD0D9AFEEE}"/>
                </a:ext>
              </a:extLst>
            </p:cNvPr>
            <p:cNvCxnSpPr/>
            <p:nvPr/>
          </p:nvCxnSpPr>
          <p:spPr>
            <a:xfrm>
              <a:off x="1684562" y="5051698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îš1iḑê">
              <a:extLst>
                <a:ext uri="{FF2B5EF4-FFF2-40B4-BE49-F238E27FC236}">
                  <a16:creationId xmlns:a16="http://schemas.microsoft.com/office/drawing/2014/main" id="{86961635-EDB4-47C4-97A8-9BD9D97AAD84}"/>
                </a:ext>
              </a:extLst>
            </p:cNvPr>
            <p:cNvSpPr/>
            <p:nvPr/>
          </p:nvSpPr>
          <p:spPr bwMode="auto">
            <a:xfrm>
              <a:off x="7142901" y="3833062"/>
              <a:ext cx="398782" cy="317548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084938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śḻîď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ṥļïḍé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ľïde"/>
          <p:cNvSpPr>
            <a:spLocks noGrp="1"/>
          </p:cNvSpPr>
          <p:nvPr>
            <p:ph type="ctrTitle"/>
          </p:nvPr>
        </p:nvSpPr>
        <p:spPr>
          <a:xfrm>
            <a:off x="1101897" y="1807491"/>
            <a:ext cx="10845798" cy="1621509"/>
          </a:xfrm>
        </p:spPr>
        <p:txBody>
          <a:bodyPr>
            <a:normAutofit fontScale="90000"/>
          </a:bodyPr>
          <a:lstStyle/>
          <a:p>
            <a:r>
              <a:rPr lang="en-US" altLang="zh-CN" sz="9800" spc="-150" dirty="0">
                <a:solidFill>
                  <a:schemeClr val="accent1"/>
                </a:solidFill>
              </a:rPr>
              <a:t>THANKS</a:t>
            </a:r>
            <a:br>
              <a:rPr lang="en-US" altLang="zh-CN" dirty="0">
                <a:solidFill>
                  <a:schemeClr val="accent1"/>
                </a:solidFill>
              </a:rPr>
            </a:br>
            <a:r>
              <a:rPr lang="en-US" altLang="zh-CN" b="0" dirty="0">
                <a:solidFill>
                  <a:schemeClr val="accent1"/>
                </a:solidFill>
              </a:rPr>
              <a:t>And Your Slogan Here</a:t>
            </a:r>
            <a:endParaRPr lang="zh-CN" altLang="en-US" b="0" dirty="0">
              <a:solidFill>
                <a:schemeClr val="accent1"/>
              </a:solidFill>
            </a:endParaRPr>
          </a:p>
        </p:txBody>
      </p:sp>
      <p:sp>
        <p:nvSpPr>
          <p:cNvPr id="7" name="işḷïďe"/>
          <p:cNvSpPr>
            <a:spLocks noGrp="1"/>
          </p:cNvSpPr>
          <p:nvPr>
            <p:ph type="body" sz="quarter" idx="18"/>
          </p:nvPr>
        </p:nvSpPr>
        <p:spPr>
          <a:xfrm>
            <a:off x="1101897" y="4563670"/>
            <a:ext cx="10845798" cy="310871"/>
          </a:xfrm>
        </p:spPr>
        <p:txBody>
          <a:bodyPr/>
          <a:lstStyle/>
          <a:p>
            <a:r>
              <a:rPr lang="zh-CN" altLang="en-US" sz="1400" dirty="0">
                <a:solidFill>
                  <a:schemeClr val="accent6"/>
                </a:solidFill>
              </a:rPr>
              <a:t>www.whu.edu.cn</a:t>
            </a:r>
            <a:endParaRPr lang="en-US" altLang="zh-CN" sz="1400" dirty="0">
              <a:solidFill>
                <a:schemeClr val="accent6"/>
              </a:solidFill>
            </a:endParaRPr>
          </a:p>
        </p:txBody>
      </p:sp>
      <p:sp>
        <p:nvSpPr>
          <p:cNvPr id="6" name="îṩḷíde"/>
          <p:cNvSpPr>
            <a:spLocks noGrp="1"/>
          </p:cNvSpPr>
          <p:nvPr>
            <p:ph type="body" sz="quarter" idx="10"/>
          </p:nvPr>
        </p:nvSpPr>
        <p:spPr>
          <a:xfrm>
            <a:off x="1101899" y="4267399"/>
            <a:ext cx="10845798" cy="296271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altLang="zh-CN" dirty="0">
                <a:solidFill>
                  <a:schemeClr val="accent6"/>
                </a:solidFill>
              </a:rPr>
              <a:t>Speaker name and title</a:t>
            </a:r>
          </a:p>
        </p:txBody>
      </p:sp>
      <p:sp>
        <p:nvSpPr>
          <p:cNvPr id="4" name="îśḷiḋé">
            <a:extLst>
              <a:ext uri="{FF2B5EF4-FFF2-40B4-BE49-F238E27FC236}">
                <a16:creationId xmlns:a16="http://schemas.microsoft.com/office/drawing/2014/main" id="{685A42A3-ECF1-4AD8-97EF-81C4C9A8A4DE}"/>
              </a:ext>
            </a:extLst>
          </p:cNvPr>
          <p:cNvSpPr txBox="1"/>
          <p:nvPr/>
        </p:nvSpPr>
        <p:spPr>
          <a:xfrm>
            <a:off x="1101897" y="1329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弘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拓新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ļï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>
            <a:spLocks noGrp="1"/>
          </p:cNvSpPr>
          <p:nvPr>
            <p:ph type="title"/>
          </p:nvPr>
        </p:nvSpPr>
        <p:spPr>
          <a:xfrm>
            <a:off x="5104812" y="2904140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</a:rPr>
              <a:t>Section Header Her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iṩlíḓe"/>
          <p:cNvSpPr>
            <a:spLocks noGrp="1"/>
          </p:cNvSpPr>
          <p:nvPr>
            <p:ph type="body" idx="1"/>
          </p:nvPr>
        </p:nvSpPr>
        <p:spPr>
          <a:xfrm>
            <a:off x="5105928" y="3799490"/>
            <a:ext cx="5419185" cy="1015623"/>
          </a:xfrm>
        </p:spPr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îṧḻiď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487760" y="2699610"/>
            <a:ext cx="2299509" cy="211550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accent1"/>
                </a:solidFill>
                <a:cs typeface="Arial" panose="020B0604020202020204" pitchFamily="34" charset="0"/>
              </a:rPr>
              <a:t>01</a:t>
            </a:r>
            <a:endParaRPr lang="zh-CN" altLang="en-US" b="1" spc="-15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grpSp>
        <p:nvGrpSpPr>
          <p:cNvPr id="7" name="íŝľïḑè">
            <a:extLst>
              <a:ext uri="{FF2B5EF4-FFF2-40B4-BE49-F238E27FC236}">
                <a16:creationId xmlns:a16="http://schemas.microsoft.com/office/drawing/2014/main" id="{5887023F-CA52-49C1-BF17-BC1691FBA3C0}"/>
              </a:ext>
            </a:extLst>
          </p:cNvPr>
          <p:cNvGrpSpPr/>
          <p:nvPr/>
        </p:nvGrpSpPr>
        <p:grpSpPr>
          <a:xfrm>
            <a:off x="9887107" y="698500"/>
            <a:ext cx="1739402" cy="539077"/>
            <a:chOff x="4996000" y="520587"/>
            <a:chExt cx="2264418" cy="701791"/>
          </a:xfrm>
        </p:grpSpPr>
        <p:grpSp>
          <p:nvGrpSpPr>
            <p:cNvPr id="8" name="iṣ1ide">
              <a:extLst>
                <a:ext uri="{FF2B5EF4-FFF2-40B4-BE49-F238E27FC236}">
                  <a16:creationId xmlns:a16="http://schemas.microsoft.com/office/drawing/2014/main" id="{964281DA-29B2-45F9-AE63-2628FD4D77D5}"/>
                </a:ext>
              </a:extLst>
            </p:cNvPr>
            <p:cNvGrpSpPr/>
            <p:nvPr/>
          </p:nvGrpSpPr>
          <p:grpSpPr>
            <a:xfrm>
              <a:off x="4996000" y="520587"/>
              <a:ext cx="697196" cy="701791"/>
              <a:chOff x="3551238" y="3067050"/>
              <a:chExt cx="722313" cy="727075"/>
            </a:xfrm>
          </p:grpSpPr>
          <p:sp>
            <p:nvSpPr>
              <p:cNvPr id="39" name="i$ľidè">
                <a:extLst>
                  <a:ext uri="{FF2B5EF4-FFF2-40B4-BE49-F238E27FC236}">
                    <a16:creationId xmlns:a16="http://schemas.microsoft.com/office/drawing/2014/main" id="{6DBD5FC8-CE98-414F-9771-DCDCCD6DAE25}"/>
                  </a:ext>
                </a:extLst>
              </p:cNvPr>
              <p:cNvSpPr/>
              <p:nvPr/>
            </p:nvSpPr>
            <p:spPr bwMode="auto">
              <a:xfrm>
                <a:off x="3575051" y="3087688"/>
                <a:ext cx="673100" cy="679450"/>
              </a:xfrm>
              <a:custGeom>
                <a:avLst/>
                <a:gdLst>
                  <a:gd name="T0" fmla="*/ 102 w 204"/>
                  <a:gd name="T1" fmla="*/ 0 h 204"/>
                  <a:gd name="T2" fmla="*/ 204 w 204"/>
                  <a:gd name="T3" fmla="*/ 102 h 204"/>
                  <a:gd name="T4" fmla="*/ 102 w 204"/>
                  <a:gd name="T5" fmla="*/ 204 h 204"/>
                  <a:gd name="T6" fmla="*/ 0 w 204"/>
                  <a:gd name="T7" fmla="*/ 102 h 204"/>
                  <a:gd name="T8" fmla="*/ 102 w 204"/>
                  <a:gd name="T9" fmla="*/ 0 h 204"/>
                  <a:gd name="T10" fmla="*/ 102 w 204"/>
                  <a:gd name="T11" fmla="*/ 25 h 204"/>
                  <a:gd name="T12" fmla="*/ 24 w 204"/>
                  <a:gd name="T13" fmla="*/ 103 h 204"/>
                  <a:gd name="T14" fmla="*/ 102 w 204"/>
                  <a:gd name="T15" fmla="*/ 181 h 204"/>
                  <a:gd name="T16" fmla="*/ 180 w 204"/>
                  <a:gd name="T17" fmla="*/ 103 h 204"/>
                  <a:gd name="T18" fmla="*/ 102 w 204"/>
                  <a:gd name="T19" fmla="*/ 25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0"/>
                    </a:moveTo>
                    <a:cubicBezTo>
                      <a:pt x="159" y="0"/>
                      <a:pt x="204" y="46"/>
                      <a:pt x="204" y="102"/>
                    </a:cubicBezTo>
                    <a:cubicBezTo>
                      <a:pt x="204" y="158"/>
                      <a:pt x="159" y="204"/>
                      <a:pt x="102" y="204"/>
                    </a:cubicBezTo>
                    <a:cubicBezTo>
                      <a:pt x="46" y="204"/>
                      <a:pt x="0" y="158"/>
                      <a:pt x="0" y="102"/>
                    </a:cubicBezTo>
                    <a:cubicBezTo>
                      <a:pt x="0" y="46"/>
                      <a:pt x="46" y="0"/>
                      <a:pt x="102" y="0"/>
                    </a:cubicBezTo>
                    <a:close/>
                    <a:moveTo>
                      <a:pt x="102" y="25"/>
                    </a:moveTo>
                    <a:cubicBezTo>
                      <a:pt x="59" y="25"/>
                      <a:pt x="24" y="60"/>
                      <a:pt x="24" y="103"/>
                    </a:cubicBezTo>
                    <a:cubicBezTo>
                      <a:pt x="24" y="146"/>
                      <a:pt x="59" y="181"/>
                      <a:pt x="102" y="181"/>
                    </a:cubicBezTo>
                    <a:cubicBezTo>
                      <a:pt x="145" y="181"/>
                      <a:pt x="180" y="146"/>
                      <a:pt x="180" y="103"/>
                    </a:cubicBezTo>
                    <a:cubicBezTo>
                      <a:pt x="180" y="60"/>
                      <a:pt x="145" y="25"/>
                      <a:pt x="102" y="25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sľïḑe">
                <a:extLst>
                  <a:ext uri="{FF2B5EF4-FFF2-40B4-BE49-F238E27FC236}">
                    <a16:creationId xmlns:a16="http://schemas.microsoft.com/office/drawing/2014/main" id="{093E2A9A-51E5-4BFF-94D4-53398457D954}"/>
                  </a:ext>
                </a:extLst>
              </p:cNvPr>
              <p:cNvSpPr/>
              <p:nvPr/>
            </p:nvSpPr>
            <p:spPr bwMode="auto">
              <a:xfrm>
                <a:off x="3621088" y="3103563"/>
                <a:ext cx="584200" cy="203200"/>
              </a:xfrm>
              <a:custGeom>
                <a:avLst/>
                <a:gdLst>
                  <a:gd name="T0" fmla="*/ 8 w 177"/>
                  <a:gd name="T1" fmla="*/ 53 h 61"/>
                  <a:gd name="T2" fmla="*/ 0 w 177"/>
                  <a:gd name="T3" fmla="*/ 56 h 61"/>
                  <a:gd name="T4" fmla="*/ 5 w 177"/>
                  <a:gd name="T5" fmla="*/ 52 h 61"/>
                  <a:gd name="T6" fmla="*/ 4 w 177"/>
                  <a:gd name="T7" fmla="*/ 50 h 61"/>
                  <a:gd name="T8" fmla="*/ 5 w 177"/>
                  <a:gd name="T9" fmla="*/ 48 h 61"/>
                  <a:gd name="T10" fmla="*/ 10 w 177"/>
                  <a:gd name="T11" fmla="*/ 41 h 61"/>
                  <a:gd name="T12" fmla="*/ 17 w 177"/>
                  <a:gd name="T13" fmla="*/ 50 h 61"/>
                  <a:gd name="T14" fmla="*/ 14 w 177"/>
                  <a:gd name="T15" fmla="*/ 35 h 61"/>
                  <a:gd name="T16" fmla="*/ 23 w 177"/>
                  <a:gd name="T17" fmla="*/ 46 h 61"/>
                  <a:gd name="T18" fmla="*/ 31 w 177"/>
                  <a:gd name="T19" fmla="*/ 38 h 61"/>
                  <a:gd name="T20" fmla="*/ 29 w 177"/>
                  <a:gd name="T21" fmla="*/ 40 h 61"/>
                  <a:gd name="T22" fmla="*/ 18 w 177"/>
                  <a:gd name="T23" fmla="*/ 32 h 61"/>
                  <a:gd name="T24" fmla="*/ 19 w 177"/>
                  <a:gd name="T25" fmla="*/ 30 h 61"/>
                  <a:gd name="T26" fmla="*/ 21 w 177"/>
                  <a:gd name="T27" fmla="*/ 27 h 61"/>
                  <a:gd name="T28" fmla="*/ 41 w 177"/>
                  <a:gd name="T29" fmla="*/ 29 h 61"/>
                  <a:gd name="T30" fmla="*/ 43 w 177"/>
                  <a:gd name="T31" fmla="*/ 29 h 61"/>
                  <a:gd name="T32" fmla="*/ 35 w 177"/>
                  <a:gd name="T33" fmla="*/ 35 h 61"/>
                  <a:gd name="T34" fmla="*/ 31 w 177"/>
                  <a:gd name="T35" fmla="*/ 21 h 61"/>
                  <a:gd name="T36" fmla="*/ 46 w 177"/>
                  <a:gd name="T37" fmla="*/ 11 h 61"/>
                  <a:gd name="T38" fmla="*/ 47 w 177"/>
                  <a:gd name="T39" fmla="*/ 11 h 61"/>
                  <a:gd name="T40" fmla="*/ 47 w 177"/>
                  <a:gd name="T41" fmla="*/ 26 h 61"/>
                  <a:gd name="T42" fmla="*/ 39 w 177"/>
                  <a:gd name="T43" fmla="*/ 15 h 61"/>
                  <a:gd name="T44" fmla="*/ 72 w 177"/>
                  <a:gd name="T45" fmla="*/ 16 h 61"/>
                  <a:gd name="T46" fmla="*/ 71 w 177"/>
                  <a:gd name="T47" fmla="*/ 2 h 61"/>
                  <a:gd name="T48" fmla="*/ 65 w 177"/>
                  <a:gd name="T49" fmla="*/ 15 h 61"/>
                  <a:gd name="T50" fmla="*/ 64 w 177"/>
                  <a:gd name="T51" fmla="*/ 4 h 61"/>
                  <a:gd name="T52" fmla="*/ 84 w 177"/>
                  <a:gd name="T53" fmla="*/ 1 h 61"/>
                  <a:gd name="T54" fmla="*/ 84 w 177"/>
                  <a:gd name="T55" fmla="*/ 1 h 61"/>
                  <a:gd name="T56" fmla="*/ 78 w 177"/>
                  <a:gd name="T57" fmla="*/ 16 h 61"/>
                  <a:gd name="T58" fmla="*/ 77 w 177"/>
                  <a:gd name="T59" fmla="*/ 15 h 61"/>
                  <a:gd name="T60" fmla="*/ 90 w 177"/>
                  <a:gd name="T61" fmla="*/ 1 h 61"/>
                  <a:gd name="T62" fmla="*/ 94 w 177"/>
                  <a:gd name="T63" fmla="*/ 15 h 61"/>
                  <a:gd name="T64" fmla="*/ 92 w 177"/>
                  <a:gd name="T65" fmla="*/ 15 h 61"/>
                  <a:gd name="T66" fmla="*/ 113 w 177"/>
                  <a:gd name="T67" fmla="*/ 3 h 61"/>
                  <a:gd name="T68" fmla="*/ 102 w 177"/>
                  <a:gd name="T69" fmla="*/ 2 h 61"/>
                  <a:gd name="T70" fmla="*/ 105 w 177"/>
                  <a:gd name="T71" fmla="*/ 14 h 61"/>
                  <a:gd name="T72" fmla="*/ 117 w 177"/>
                  <a:gd name="T73" fmla="*/ 5 h 61"/>
                  <a:gd name="T74" fmla="*/ 122 w 177"/>
                  <a:gd name="T75" fmla="*/ 19 h 61"/>
                  <a:gd name="T76" fmla="*/ 119 w 177"/>
                  <a:gd name="T77" fmla="*/ 13 h 61"/>
                  <a:gd name="T78" fmla="*/ 121 w 177"/>
                  <a:gd name="T79" fmla="*/ 12 h 61"/>
                  <a:gd name="T80" fmla="*/ 124 w 177"/>
                  <a:gd name="T81" fmla="*/ 10 h 61"/>
                  <a:gd name="T82" fmla="*/ 131 w 177"/>
                  <a:gd name="T83" fmla="*/ 26 h 61"/>
                  <a:gd name="T84" fmla="*/ 126 w 177"/>
                  <a:gd name="T85" fmla="*/ 23 h 61"/>
                  <a:gd name="T86" fmla="*/ 124 w 177"/>
                  <a:gd name="T87" fmla="*/ 23 h 61"/>
                  <a:gd name="T88" fmla="*/ 137 w 177"/>
                  <a:gd name="T89" fmla="*/ 14 h 61"/>
                  <a:gd name="T90" fmla="*/ 133 w 177"/>
                  <a:gd name="T91" fmla="*/ 11 h 61"/>
                  <a:gd name="T92" fmla="*/ 137 w 177"/>
                  <a:gd name="T93" fmla="*/ 32 h 61"/>
                  <a:gd name="T94" fmla="*/ 137 w 177"/>
                  <a:gd name="T95" fmla="*/ 32 h 61"/>
                  <a:gd name="T96" fmla="*/ 145 w 177"/>
                  <a:gd name="T97" fmla="*/ 19 h 61"/>
                  <a:gd name="T98" fmla="*/ 146 w 177"/>
                  <a:gd name="T99" fmla="*/ 19 h 61"/>
                  <a:gd name="T100" fmla="*/ 159 w 177"/>
                  <a:gd name="T101" fmla="*/ 31 h 61"/>
                  <a:gd name="T102" fmla="*/ 149 w 177"/>
                  <a:gd name="T103" fmla="*/ 42 h 61"/>
                  <a:gd name="T104" fmla="*/ 155 w 177"/>
                  <a:gd name="T105" fmla="*/ 27 h 61"/>
                  <a:gd name="T106" fmla="*/ 166 w 177"/>
                  <a:gd name="T107" fmla="*/ 40 h 61"/>
                  <a:gd name="T108" fmla="*/ 160 w 177"/>
                  <a:gd name="T109" fmla="*/ 37 h 61"/>
                  <a:gd name="T110" fmla="*/ 153 w 177"/>
                  <a:gd name="T111" fmla="*/ 46 h 61"/>
                  <a:gd name="T112" fmla="*/ 177 w 177"/>
                  <a:gd name="T113" fmla="*/ 55 h 61"/>
                  <a:gd name="T114" fmla="*/ 162 w 177"/>
                  <a:gd name="T115" fmla="*/ 60 h 61"/>
                  <a:gd name="T116" fmla="*/ 165 w 177"/>
                  <a:gd name="T117" fmla="*/ 55 h 61"/>
                  <a:gd name="T118" fmla="*/ 173 w 177"/>
                  <a:gd name="T119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7" h="61">
                    <a:moveTo>
                      <a:pt x="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7"/>
                      <a:pt x="6" y="47"/>
                    </a:cubicBezTo>
                    <a:cubicBezTo>
                      <a:pt x="6" y="47"/>
                      <a:pt x="6" y="47"/>
                      <a:pt x="6" y="4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15" y="60"/>
                      <a:pt x="15" y="60"/>
                      <a:pt x="15" y="60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3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4" y="50"/>
                      <a:pt x="4" y="51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13" y="54"/>
                      <a:pt x="13" y="54"/>
                      <a:pt x="13" y="5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6" y="48"/>
                      <a:pt x="6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6" y="46"/>
                      <a:pt x="6" y="46"/>
                      <a:pt x="6" y="46"/>
                    </a:cubicBezTo>
                    <a:close/>
                    <a:moveTo>
                      <a:pt x="22" y="48"/>
                    </a:moveTo>
                    <a:cubicBezTo>
                      <a:pt x="22" y="49"/>
                      <a:pt x="21" y="49"/>
                      <a:pt x="21" y="49"/>
                    </a:cubicBezTo>
                    <a:cubicBezTo>
                      <a:pt x="20" y="50"/>
                      <a:pt x="19" y="49"/>
                      <a:pt x="18" y="48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1"/>
                      <a:pt x="10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18" y="50"/>
                      <a:pt x="19" y="51"/>
                      <a:pt x="20" y="50"/>
                    </a:cubicBezTo>
                    <a:cubicBezTo>
                      <a:pt x="21" y="50"/>
                      <a:pt x="22" y="50"/>
                      <a:pt x="23" y="49"/>
                    </a:cubicBezTo>
                    <a:cubicBezTo>
                      <a:pt x="24" y="48"/>
                      <a:pt x="24" y="47"/>
                      <a:pt x="24" y="46"/>
                    </a:cubicBezTo>
                    <a:cubicBezTo>
                      <a:pt x="24" y="45"/>
                      <a:pt x="23" y="44"/>
                      <a:pt x="22" y="4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4" y="36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4" y="37"/>
                      <a:pt x="14" y="37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23" y="44"/>
                      <a:pt x="23" y="45"/>
                      <a:pt x="23" y="46"/>
                    </a:cubicBezTo>
                    <a:cubicBezTo>
                      <a:pt x="23" y="47"/>
                      <a:pt x="23" y="47"/>
                      <a:pt x="22" y="48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6"/>
                      <a:pt x="34" y="36"/>
                      <a:pt x="34" y="36"/>
                    </a:cubicBezTo>
                    <a:cubicBezTo>
                      <a:pt x="34" y="35"/>
                      <a:pt x="34" y="35"/>
                      <a:pt x="34" y="35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8"/>
                      <a:pt x="32" y="37"/>
                      <a:pt x="32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9" y="41"/>
                      <a:pt x="29" y="40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7" y="42"/>
                      <a:pt x="27" y="41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8" y="32"/>
                      <a:pt x="17" y="32"/>
                      <a:pt x="17" y="3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0"/>
                      <a:pt x="19" y="31"/>
                      <a:pt x="19" y="31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2" y="27"/>
                      <a:pt x="22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33" y="36"/>
                      <a:pt x="33" y="36"/>
                      <a:pt x="33" y="36"/>
                    </a:cubicBezTo>
                    <a:close/>
                    <a:moveTo>
                      <a:pt x="38" y="26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9"/>
                      <a:pt x="41" y="30"/>
                      <a:pt x="41" y="30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9"/>
                      <a:pt x="42" y="29"/>
                      <a:pt x="42" y="28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3"/>
                      <a:pt x="35" y="34"/>
                      <a:pt x="35" y="34"/>
                    </a:cubicBezTo>
                    <a:cubicBezTo>
                      <a:pt x="35" y="34"/>
                      <a:pt x="35" y="34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6" y="33"/>
                    </a:cubicBezTo>
                    <a:cubicBezTo>
                      <a:pt x="36" y="33"/>
                      <a:pt x="36" y="32"/>
                      <a:pt x="36" y="32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8" y="26"/>
                      <a:pt x="38" y="26"/>
                      <a:pt x="38" y="26"/>
                    </a:cubicBezTo>
                    <a:close/>
                    <a:moveTo>
                      <a:pt x="31" y="21"/>
                    </a:moveTo>
                    <a:cubicBezTo>
                      <a:pt x="31" y="21"/>
                      <a:pt x="31" y="21"/>
                      <a:pt x="31" y="21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1" y="21"/>
                      <a:pt x="31" y="21"/>
                      <a:pt x="31" y="21"/>
                    </a:cubicBezTo>
                    <a:close/>
                    <a:moveTo>
                      <a:pt x="51" y="21"/>
                    </a:moveTo>
                    <a:cubicBezTo>
                      <a:pt x="51" y="21"/>
                      <a:pt x="51" y="21"/>
                      <a:pt x="51" y="2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6" y="11"/>
                      <a:pt x="45" y="11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1"/>
                      <a:pt x="47" y="11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6" y="27"/>
                      <a:pt x="46" y="26"/>
                      <a:pt x="45" y="26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9" y="14"/>
                      <a:pt x="39" y="14"/>
                      <a:pt x="38" y="1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51" y="21"/>
                      <a:pt x="51" y="21"/>
                      <a:pt x="51" y="21"/>
                    </a:cubicBezTo>
                    <a:close/>
                    <a:moveTo>
                      <a:pt x="70" y="17"/>
                    </a:moveTo>
                    <a:cubicBezTo>
                      <a:pt x="70" y="17"/>
                      <a:pt x="71" y="17"/>
                      <a:pt x="72" y="16"/>
                    </a:cubicBezTo>
                    <a:cubicBezTo>
                      <a:pt x="72" y="15"/>
                      <a:pt x="72" y="14"/>
                      <a:pt x="72" y="14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69" y="3"/>
                      <a:pt x="69" y="3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0" y="2"/>
                      <a:pt x="70" y="2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5"/>
                      <a:pt x="73" y="16"/>
                      <a:pt x="72" y="16"/>
                    </a:cubicBezTo>
                    <a:cubicBezTo>
                      <a:pt x="71" y="17"/>
                      <a:pt x="71" y="18"/>
                      <a:pt x="70" y="18"/>
                    </a:cubicBezTo>
                    <a:cubicBezTo>
                      <a:pt x="68" y="18"/>
                      <a:pt x="67" y="18"/>
                      <a:pt x="66" y="18"/>
                    </a:cubicBezTo>
                    <a:cubicBezTo>
                      <a:pt x="66" y="17"/>
                      <a:pt x="65" y="17"/>
                      <a:pt x="65" y="15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2" y="5"/>
                      <a:pt x="62" y="4"/>
                      <a:pt x="62" y="4"/>
                    </a:cubicBezTo>
                    <a:cubicBezTo>
                      <a:pt x="62" y="4"/>
                      <a:pt x="62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5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6"/>
                      <a:pt x="67" y="17"/>
                      <a:pt x="67" y="17"/>
                    </a:cubicBezTo>
                    <a:cubicBezTo>
                      <a:pt x="68" y="18"/>
                      <a:pt x="69" y="18"/>
                      <a:pt x="70" y="17"/>
                    </a:cubicBezTo>
                    <a:close/>
                    <a:moveTo>
                      <a:pt x="84" y="12"/>
                    </a:move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4" y="1"/>
                      <a:pt x="84" y="1"/>
                      <a:pt x="83" y="1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5" y="1"/>
                      <a:pt x="85" y="1"/>
                      <a:pt x="85" y="1"/>
                    </a:cubicBezTo>
                    <a:cubicBezTo>
                      <a:pt x="85" y="1"/>
                      <a:pt x="85" y="1"/>
                      <a:pt x="84" y="1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85" y="16"/>
                      <a:pt x="85" y="16"/>
                      <a:pt x="85" y="16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7" y="15"/>
                      <a:pt x="78" y="15"/>
                      <a:pt x="78" y="16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5" y="16"/>
                      <a:pt x="75" y="16"/>
                      <a:pt x="75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6"/>
                      <a:pt x="77" y="16"/>
                      <a:pt x="77" y="16"/>
                    </a:cubicBezTo>
                    <a:cubicBezTo>
                      <a:pt x="77" y="15"/>
                      <a:pt x="77" y="15"/>
                      <a:pt x="77" y="15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2"/>
                      <a:pt x="76" y="2"/>
                      <a:pt x="76" y="1"/>
                    </a:cubicBezTo>
                    <a:cubicBezTo>
                      <a:pt x="76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84" y="12"/>
                      <a:pt x="84" y="12"/>
                      <a:pt x="84" y="12"/>
                    </a:cubicBezTo>
                    <a:close/>
                    <a:moveTo>
                      <a:pt x="90" y="1"/>
                    </a:moveTo>
                    <a:cubicBezTo>
                      <a:pt x="90" y="0"/>
                      <a:pt x="90" y="0"/>
                      <a:pt x="90" y="0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8" y="1"/>
                      <a:pt x="98" y="1"/>
                      <a:pt x="98" y="1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5" y="1"/>
                      <a:pt x="95" y="1"/>
                      <a:pt x="95" y="2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4" y="15"/>
                    </a:cubicBezTo>
                    <a:cubicBezTo>
                      <a:pt x="94" y="15"/>
                      <a:pt x="94" y="15"/>
                      <a:pt x="95" y="15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89" y="16"/>
                      <a:pt x="89" y="16"/>
                      <a:pt x="89" y="16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3" y="2"/>
                      <a:pt x="93" y="2"/>
                      <a:pt x="93" y="2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3" y="1"/>
                      <a:pt x="92" y="1"/>
                    </a:cubicBezTo>
                    <a:cubicBezTo>
                      <a:pt x="90" y="1"/>
                      <a:pt x="90" y="1"/>
                      <a:pt x="90" y="1"/>
                    </a:cubicBezTo>
                    <a:close/>
                    <a:moveTo>
                      <a:pt x="109" y="3"/>
                    </a:moveTo>
                    <a:cubicBezTo>
                      <a:pt x="109" y="2"/>
                      <a:pt x="109" y="2"/>
                      <a:pt x="109" y="2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2" y="3"/>
                      <a:pt x="112" y="3"/>
                      <a:pt x="111" y="4"/>
                    </a:cubicBezTo>
                    <a:cubicBezTo>
                      <a:pt x="111" y="4"/>
                      <a:pt x="111" y="4"/>
                      <a:pt x="111" y="4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4" y="17"/>
                      <a:pt x="104" y="17"/>
                      <a:pt x="104" y="17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3"/>
                      <a:pt x="103" y="2"/>
                      <a:pt x="103" y="2"/>
                    </a:cubicBezTo>
                    <a:cubicBezTo>
                      <a:pt x="103" y="2"/>
                      <a:pt x="103" y="2"/>
                      <a:pt x="102" y="2"/>
                    </a:cubicBezTo>
                    <a:cubicBezTo>
                      <a:pt x="102" y="2"/>
                      <a:pt x="102" y="2"/>
                      <a:pt x="102" y="2"/>
                    </a:cubicBezTo>
                    <a:cubicBezTo>
                      <a:pt x="102" y="1"/>
                      <a:pt x="102" y="1"/>
                      <a:pt x="102" y="1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3"/>
                      <a:pt x="105" y="3"/>
                      <a:pt x="105" y="3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10" y="4"/>
                      <a:pt x="110" y="4"/>
                      <a:pt x="110" y="3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09" y="3"/>
                      <a:pt x="109" y="3"/>
                      <a:pt x="109" y="3"/>
                    </a:cubicBezTo>
                    <a:close/>
                    <a:moveTo>
                      <a:pt x="116" y="5"/>
                    </a:move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7" y="5"/>
                      <a:pt x="117" y="6"/>
                      <a:pt x="117" y="6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3" y="18"/>
                      <a:pt x="113" y="19"/>
                      <a:pt x="113" y="19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11" y="19"/>
                      <a:pt x="111" y="19"/>
                      <a:pt x="111" y="19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122" y="19"/>
                      <a:pt x="122" y="19"/>
                      <a:pt x="122" y="19"/>
                    </a:cubicBezTo>
                    <a:cubicBezTo>
                      <a:pt x="122" y="18"/>
                      <a:pt x="122" y="18"/>
                      <a:pt x="122" y="18"/>
                    </a:cubicBezTo>
                    <a:cubicBezTo>
                      <a:pt x="121" y="19"/>
                      <a:pt x="120" y="20"/>
                      <a:pt x="120" y="20"/>
                    </a:cubicBezTo>
                    <a:cubicBezTo>
                      <a:pt x="119" y="21"/>
                      <a:pt x="118" y="21"/>
                      <a:pt x="117" y="20"/>
                    </a:cubicBezTo>
                    <a:cubicBezTo>
                      <a:pt x="115" y="20"/>
                      <a:pt x="115" y="20"/>
                      <a:pt x="115" y="20"/>
                    </a:cubicBezTo>
                    <a:cubicBezTo>
                      <a:pt x="115" y="20"/>
                      <a:pt x="114" y="19"/>
                      <a:pt x="114" y="19"/>
                    </a:cubicBezTo>
                    <a:cubicBezTo>
                      <a:pt x="114" y="19"/>
                      <a:pt x="114" y="19"/>
                      <a:pt x="114" y="19"/>
                    </a:cubicBezTo>
                    <a:cubicBezTo>
                      <a:pt x="116" y="12"/>
                      <a:pt x="116" y="12"/>
                      <a:pt x="116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3"/>
                      <a:pt x="120" y="13"/>
                      <a:pt x="120" y="14"/>
                    </a:cubicBezTo>
                    <a:cubicBezTo>
                      <a:pt x="120" y="14"/>
                      <a:pt x="120" y="15"/>
                      <a:pt x="120" y="15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0" y="16"/>
                      <a:pt x="120" y="16"/>
                      <a:pt x="120" y="16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21" y="11"/>
                      <a:pt x="121" y="11"/>
                      <a:pt x="121" y="11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0" y="13"/>
                      <a:pt x="120" y="13"/>
                      <a:pt x="119" y="12"/>
                    </a:cubicBezTo>
                    <a:cubicBezTo>
                      <a:pt x="117" y="12"/>
                      <a:pt x="117" y="12"/>
                      <a:pt x="117" y="12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8" y="6"/>
                      <a:pt x="119" y="6"/>
                      <a:pt x="119" y="6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2" y="7"/>
                      <a:pt x="122" y="7"/>
                      <a:pt x="122" y="7"/>
                    </a:cubicBezTo>
                    <a:cubicBezTo>
                      <a:pt x="122" y="7"/>
                      <a:pt x="123" y="7"/>
                      <a:pt x="123" y="8"/>
                    </a:cubicBezTo>
                    <a:cubicBezTo>
                      <a:pt x="124" y="8"/>
                      <a:pt x="124" y="9"/>
                      <a:pt x="124" y="1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5" y="7"/>
                      <a:pt x="125" y="7"/>
                      <a:pt x="125" y="7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16" y="5"/>
                      <a:pt x="116" y="5"/>
                      <a:pt x="116" y="5"/>
                    </a:cubicBezTo>
                    <a:close/>
                    <a:moveTo>
                      <a:pt x="136" y="17"/>
                    </a:moveTo>
                    <a:cubicBezTo>
                      <a:pt x="136" y="18"/>
                      <a:pt x="135" y="19"/>
                      <a:pt x="134" y="19"/>
                    </a:cubicBezTo>
                    <a:cubicBezTo>
                      <a:pt x="133" y="19"/>
                      <a:pt x="133" y="19"/>
                      <a:pt x="132" y="19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1" y="26"/>
                      <a:pt x="131" y="27"/>
                      <a:pt x="131" y="27"/>
                    </a:cubicBezTo>
                    <a:cubicBezTo>
                      <a:pt x="131" y="27"/>
                      <a:pt x="131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0" y="18"/>
                      <a:pt x="130" y="18"/>
                      <a:pt x="130" y="18"/>
                    </a:cubicBezTo>
                    <a:cubicBezTo>
                      <a:pt x="129" y="17"/>
                      <a:pt x="129" y="17"/>
                      <a:pt x="129" y="17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25" y="24"/>
                      <a:pt x="125" y="24"/>
                      <a:pt x="126" y="24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3" y="23"/>
                      <a:pt x="124" y="23"/>
                      <a:pt x="124" y="23"/>
                    </a:cubicBezTo>
                    <a:cubicBezTo>
                      <a:pt x="124" y="23"/>
                      <a:pt x="124" y="23"/>
                      <a:pt x="124" y="23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30" y="11"/>
                      <a:pt x="130" y="11"/>
                      <a:pt x="130" y="10"/>
                    </a:cubicBezTo>
                    <a:cubicBezTo>
                      <a:pt x="130" y="10"/>
                      <a:pt x="130" y="10"/>
                      <a:pt x="130" y="1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2"/>
                      <a:pt x="136" y="13"/>
                      <a:pt x="137" y="14"/>
                    </a:cubicBezTo>
                    <a:cubicBezTo>
                      <a:pt x="137" y="15"/>
                      <a:pt x="137" y="16"/>
                      <a:pt x="136" y="17"/>
                    </a:cubicBezTo>
                    <a:close/>
                    <a:moveTo>
                      <a:pt x="129" y="17"/>
                    </a:move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2" y="18"/>
                      <a:pt x="133" y="18"/>
                    </a:cubicBezTo>
                    <a:cubicBezTo>
                      <a:pt x="134" y="18"/>
                      <a:pt x="134" y="17"/>
                      <a:pt x="135" y="16"/>
                    </a:cubicBezTo>
                    <a:cubicBezTo>
                      <a:pt x="135" y="15"/>
                      <a:pt x="136" y="15"/>
                      <a:pt x="135" y="14"/>
                    </a:cubicBezTo>
                    <a:cubicBezTo>
                      <a:pt x="135" y="13"/>
                      <a:pt x="135" y="12"/>
                      <a:pt x="133" y="12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32" y="11"/>
                      <a:pt x="132" y="11"/>
                      <a:pt x="132" y="12"/>
                    </a:cubicBezTo>
                    <a:cubicBezTo>
                      <a:pt x="129" y="17"/>
                      <a:pt x="129" y="17"/>
                      <a:pt x="129" y="17"/>
                    </a:cubicBezTo>
                    <a:close/>
                    <a:moveTo>
                      <a:pt x="141" y="25"/>
                    </a:moveTo>
                    <a:cubicBezTo>
                      <a:pt x="142" y="27"/>
                      <a:pt x="142" y="28"/>
                      <a:pt x="142" y="28"/>
                    </a:cubicBezTo>
                    <a:cubicBezTo>
                      <a:pt x="142" y="29"/>
                      <a:pt x="142" y="30"/>
                      <a:pt x="142" y="30"/>
                    </a:cubicBezTo>
                    <a:cubicBezTo>
                      <a:pt x="141" y="31"/>
                      <a:pt x="141" y="32"/>
                      <a:pt x="140" y="32"/>
                    </a:cubicBezTo>
                    <a:cubicBezTo>
                      <a:pt x="139" y="32"/>
                      <a:pt x="138" y="32"/>
                      <a:pt x="137" y="32"/>
                    </a:cubicBezTo>
                    <a:cubicBezTo>
                      <a:pt x="137" y="31"/>
                      <a:pt x="136" y="30"/>
                      <a:pt x="136" y="29"/>
                    </a:cubicBezTo>
                    <a:cubicBezTo>
                      <a:pt x="135" y="28"/>
                      <a:pt x="136" y="27"/>
                      <a:pt x="136" y="26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5" y="30"/>
                      <a:pt x="135" y="30"/>
                      <a:pt x="135" y="30"/>
                    </a:cubicBezTo>
                    <a:cubicBezTo>
                      <a:pt x="135" y="30"/>
                      <a:pt x="135" y="30"/>
                      <a:pt x="136" y="31"/>
                    </a:cubicBezTo>
                    <a:cubicBezTo>
                      <a:pt x="136" y="31"/>
                      <a:pt x="136" y="32"/>
                      <a:pt x="137" y="32"/>
                    </a:cubicBezTo>
                    <a:cubicBezTo>
                      <a:pt x="138" y="33"/>
                      <a:pt x="139" y="33"/>
                      <a:pt x="140" y="33"/>
                    </a:cubicBezTo>
                    <a:cubicBezTo>
                      <a:pt x="142" y="33"/>
                      <a:pt x="142" y="32"/>
                      <a:pt x="143" y="31"/>
                    </a:cubicBezTo>
                    <a:cubicBezTo>
                      <a:pt x="144" y="30"/>
                      <a:pt x="144" y="29"/>
                      <a:pt x="144" y="28"/>
                    </a:cubicBezTo>
                    <a:cubicBezTo>
                      <a:pt x="144" y="27"/>
                      <a:pt x="143" y="26"/>
                      <a:pt x="142" y="25"/>
                    </a:cubicBezTo>
                    <a:cubicBezTo>
                      <a:pt x="141" y="23"/>
                      <a:pt x="141" y="22"/>
                      <a:pt x="141" y="22"/>
                    </a:cubicBezTo>
                    <a:cubicBezTo>
                      <a:pt x="141" y="21"/>
                      <a:pt x="141" y="20"/>
                      <a:pt x="141" y="20"/>
                    </a:cubicBezTo>
                    <a:cubicBezTo>
                      <a:pt x="142" y="19"/>
                      <a:pt x="142" y="19"/>
                      <a:pt x="143" y="19"/>
                    </a:cubicBezTo>
                    <a:cubicBezTo>
                      <a:pt x="144" y="18"/>
                      <a:pt x="144" y="18"/>
                      <a:pt x="145" y="19"/>
                    </a:cubicBezTo>
                    <a:cubicBezTo>
                      <a:pt x="146" y="20"/>
                      <a:pt x="147" y="20"/>
                      <a:pt x="147" y="21"/>
                    </a:cubicBezTo>
                    <a:cubicBezTo>
                      <a:pt x="147" y="22"/>
                      <a:pt x="147" y="23"/>
                      <a:pt x="147" y="24"/>
                    </a:cubicBezTo>
                    <a:cubicBezTo>
                      <a:pt x="147" y="24"/>
                      <a:pt x="147" y="24"/>
                      <a:pt x="147" y="24"/>
                    </a:cubicBezTo>
                    <a:cubicBezTo>
                      <a:pt x="149" y="21"/>
                      <a:pt x="149" y="21"/>
                      <a:pt x="149" y="21"/>
                    </a:cubicBezTo>
                    <a:cubicBezTo>
                      <a:pt x="149" y="21"/>
                      <a:pt x="149" y="21"/>
                      <a:pt x="148" y="21"/>
                    </a:cubicBezTo>
                    <a:cubicBezTo>
                      <a:pt x="148" y="21"/>
                      <a:pt x="148" y="21"/>
                      <a:pt x="148" y="21"/>
                    </a:cubicBezTo>
                    <a:cubicBezTo>
                      <a:pt x="148" y="21"/>
                      <a:pt x="147" y="20"/>
                      <a:pt x="147" y="20"/>
                    </a:cubicBezTo>
                    <a:cubicBezTo>
                      <a:pt x="147" y="19"/>
                      <a:pt x="146" y="19"/>
                      <a:pt x="146" y="19"/>
                    </a:cubicBezTo>
                    <a:cubicBezTo>
                      <a:pt x="145" y="18"/>
                      <a:pt x="144" y="18"/>
                      <a:pt x="143" y="18"/>
                    </a:cubicBezTo>
                    <a:cubicBezTo>
                      <a:pt x="141" y="18"/>
                      <a:pt x="141" y="19"/>
                      <a:pt x="140" y="19"/>
                    </a:cubicBezTo>
                    <a:cubicBezTo>
                      <a:pt x="139" y="20"/>
                      <a:pt x="139" y="21"/>
                      <a:pt x="139" y="22"/>
                    </a:cubicBezTo>
                    <a:cubicBezTo>
                      <a:pt x="140" y="23"/>
                      <a:pt x="140" y="24"/>
                      <a:pt x="141" y="25"/>
                    </a:cubicBezTo>
                    <a:close/>
                    <a:moveTo>
                      <a:pt x="154" y="26"/>
                    </a:moveTo>
                    <a:cubicBezTo>
                      <a:pt x="154" y="26"/>
                      <a:pt x="154" y="26"/>
                      <a:pt x="154" y="26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9" y="31"/>
                      <a:pt x="159" y="31"/>
                      <a:pt x="159" y="31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7" y="29"/>
                      <a:pt x="157" y="29"/>
                      <a:pt x="157" y="29"/>
                    </a:cubicBezTo>
                    <a:cubicBezTo>
                      <a:pt x="157" y="29"/>
                      <a:pt x="157" y="29"/>
                      <a:pt x="156" y="30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9"/>
                      <a:pt x="147" y="39"/>
                      <a:pt x="147" y="40"/>
                    </a:cubicBezTo>
                    <a:cubicBezTo>
                      <a:pt x="147" y="40"/>
                      <a:pt x="147" y="40"/>
                      <a:pt x="148" y="40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3" y="37"/>
                      <a:pt x="143" y="37"/>
                      <a:pt x="143" y="37"/>
                    </a:cubicBezTo>
                    <a:cubicBezTo>
                      <a:pt x="144" y="37"/>
                      <a:pt x="144" y="37"/>
                      <a:pt x="144" y="37"/>
                    </a:cubicBezTo>
                    <a:cubicBezTo>
                      <a:pt x="145" y="38"/>
                      <a:pt x="145" y="38"/>
                      <a:pt x="145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55" y="29"/>
                      <a:pt x="155" y="29"/>
                      <a:pt x="155" y="29"/>
                    </a:cubicBezTo>
                    <a:cubicBezTo>
                      <a:pt x="155" y="28"/>
                      <a:pt x="156" y="28"/>
                      <a:pt x="156" y="28"/>
                    </a:cubicBezTo>
                    <a:cubicBezTo>
                      <a:pt x="156" y="28"/>
                      <a:pt x="155" y="28"/>
                      <a:pt x="155" y="27"/>
                    </a:cubicBezTo>
                    <a:cubicBezTo>
                      <a:pt x="154" y="26"/>
                      <a:pt x="154" y="26"/>
                      <a:pt x="154" y="26"/>
                    </a:cubicBezTo>
                    <a:close/>
                    <a:moveTo>
                      <a:pt x="155" y="50"/>
                    </a:moveTo>
                    <a:cubicBezTo>
                      <a:pt x="156" y="50"/>
                      <a:pt x="156" y="50"/>
                      <a:pt x="156" y="50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5" y="49"/>
                      <a:pt x="155" y="48"/>
                      <a:pt x="155" y="48"/>
                    </a:cubicBezTo>
                    <a:cubicBezTo>
                      <a:pt x="165" y="40"/>
                      <a:pt x="165" y="40"/>
                      <a:pt x="165" y="40"/>
                    </a:cubicBezTo>
                    <a:cubicBezTo>
                      <a:pt x="166" y="40"/>
                      <a:pt x="166" y="40"/>
                      <a:pt x="166" y="40"/>
                    </a:cubicBezTo>
                    <a:cubicBezTo>
                      <a:pt x="166" y="40"/>
                      <a:pt x="166" y="40"/>
                      <a:pt x="167" y="40"/>
                    </a:cubicBezTo>
                    <a:cubicBezTo>
                      <a:pt x="167" y="41"/>
                      <a:pt x="167" y="42"/>
                      <a:pt x="167" y="42"/>
                    </a:cubicBezTo>
                    <a:cubicBezTo>
                      <a:pt x="167" y="43"/>
                      <a:pt x="167" y="43"/>
                      <a:pt x="166" y="45"/>
                    </a:cubicBezTo>
                    <a:cubicBezTo>
                      <a:pt x="166" y="45"/>
                      <a:pt x="166" y="45"/>
                      <a:pt x="166" y="45"/>
                    </a:cubicBezTo>
                    <a:cubicBezTo>
                      <a:pt x="169" y="42"/>
                      <a:pt x="169" y="42"/>
                      <a:pt x="169" y="42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62" y="37"/>
                      <a:pt x="163" y="37"/>
                      <a:pt x="163" y="37"/>
                    </a:cubicBezTo>
                    <a:cubicBezTo>
                      <a:pt x="163" y="37"/>
                      <a:pt x="164" y="37"/>
                      <a:pt x="164" y="38"/>
                    </a:cubicBezTo>
                    <a:cubicBezTo>
                      <a:pt x="165" y="38"/>
                      <a:pt x="165" y="38"/>
                      <a:pt x="165" y="38"/>
                    </a:cubicBezTo>
                    <a:cubicBezTo>
                      <a:pt x="165" y="39"/>
                      <a:pt x="165" y="39"/>
                      <a:pt x="164" y="39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4" y="47"/>
                      <a:pt x="154" y="47"/>
                    </a:cubicBezTo>
                    <a:cubicBezTo>
                      <a:pt x="154" y="47"/>
                      <a:pt x="153" y="47"/>
                      <a:pt x="153" y="47"/>
                    </a:cubicBezTo>
                    <a:cubicBezTo>
                      <a:pt x="153" y="46"/>
                      <a:pt x="153" y="46"/>
                      <a:pt x="153" y="46"/>
                    </a:cubicBezTo>
                    <a:cubicBezTo>
                      <a:pt x="152" y="47"/>
                      <a:pt x="152" y="47"/>
                      <a:pt x="152" y="47"/>
                    </a:cubicBezTo>
                    <a:cubicBezTo>
                      <a:pt x="155" y="50"/>
                      <a:pt x="155" y="50"/>
                      <a:pt x="155" y="50"/>
                    </a:cubicBezTo>
                    <a:close/>
                    <a:moveTo>
                      <a:pt x="174" y="54"/>
                    </a:moveTo>
                    <a:cubicBezTo>
                      <a:pt x="174" y="54"/>
                      <a:pt x="175" y="54"/>
                      <a:pt x="175" y="53"/>
                    </a:cubicBezTo>
                    <a:cubicBezTo>
                      <a:pt x="175" y="53"/>
                      <a:pt x="175" y="53"/>
                      <a:pt x="174" y="53"/>
                    </a:cubicBezTo>
                    <a:cubicBezTo>
                      <a:pt x="174" y="52"/>
                      <a:pt x="174" y="52"/>
                      <a:pt x="174" y="52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6" y="55"/>
                    </a:cubicBezTo>
                    <a:cubicBezTo>
                      <a:pt x="176" y="55"/>
                      <a:pt x="176" y="55"/>
                      <a:pt x="175" y="55"/>
                    </a:cubicBezTo>
                    <a:cubicBezTo>
                      <a:pt x="175" y="55"/>
                      <a:pt x="175" y="55"/>
                      <a:pt x="174" y="55"/>
                    </a:cubicBezTo>
                    <a:cubicBezTo>
                      <a:pt x="166" y="56"/>
                      <a:pt x="166" y="56"/>
                      <a:pt x="166" y="56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62" y="59"/>
                      <a:pt x="162" y="59"/>
                      <a:pt x="162" y="59"/>
                    </a:cubicBezTo>
                    <a:cubicBezTo>
                      <a:pt x="161" y="59"/>
                      <a:pt x="162" y="59"/>
                      <a:pt x="162" y="60"/>
                    </a:cubicBezTo>
                    <a:cubicBezTo>
                      <a:pt x="162" y="60"/>
                      <a:pt x="162" y="60"/>
                      <a:pt x="162" y="60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59" y="56"/>
                      <a:pt x="159" y="56"/>
                      <a:pt x="159" y="56"/>
                    </a:cubicBezTo>
                    <a:cubicBezTo>
                      <a:pt x="160" y="56"/>
                      <a:pt x="160" y="56"/>
                      <a:pt x="160" y="56"/>
                    </a:cubicBezTo>
                    <a:cubicBezTo>
                      <a:pt x="160" y="57"/>
                      <a:pt x="160" y="57"/>
                      <a:pt x="160" y="57"/>
                    </a:cubicBezTo>
                    <a:cubicBezTo>
                      <a:pt x="160" y="57"/>
                      <a:pt x="160" y="57"/>
                      <a:pt x="161" y="57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5" y="55"/>
                      <a:pt x="165" y="55"/>
                      <a:pt x="165" y="55"/>
                    </a:cubicBezTo>
                    <a:cubicBezTo>
                      <a:pt x="171" y="48"/>
                      <a:pt x="171" y="48"/>
                      <a:pt x="171" y="48"/>
                    </a:cubicBezTo>
                    <a:cubicBezTo>
                      <a:pt x="171" y="48"/>
                      <a:pt x="171" y="48"/>
                      <a:pt x="171" y="47"/>
                    </a:cubicBezTo>
                    <a:cubicBezTo>
                      <a:pt x="171" y="47"/>
                      <a:pt x="171" y="47"/>
                      <a:pt x="171" y="47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1" y="46"/>
                      <a:pt x="171" y="46"/>
                      <a:pt x="171" y="46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50"/>
                      <a:pt x="173" y="50"/>
                      <a:pt x="173" y="50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72" y="49"/>
                      <a:pt x="172" y="49"/>
                      <a:pt x="172" y="49"/>
                    </a:cubicBezTo>
                    <a:cubicBezTo>
                      <a:pt x="172" y="49"/>
                      <a:pt x="172" y="49"/>
                      <a:pt x="171" y="49"/>
                    </a:cubicBezTo>
                    <a:cubicBezTo>
                      <a:pt x="167" y="55"/>
                      <a:pt x="167" y="55"/>
                      <a:pt x="167" y="55"/>
                    </a:cubicBezTo>
                    <a:cubicBezTo>
                      <a:pt x="167" y="55"/>
                      <a:pt x="167" y="55"/>
                      <a:pt x="167" y="55"/>
                    </a:cubicBezTo>
                    <a:lnTo>
                      <a:pt x="174" y="54"/>
                    </a:lnTo>
                    <a:close/>
                  </a:path>
                </a:pathLst>
              </a:custGeom>
              <a:solidFill>
                <a:srgbClr val="FFFF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îṩlîďê">
                <a:extLst>
                  <a:ext uri="{FF2B5EF4-FFF2-40B4-BE49-F238E27FC236}">
                    <a16:creationId xmlns:a16="http://schemas.microsoft.com/office/drawing/2014/main" id="{58E6F0E7-9B09-4479-836C-D98D9F375E67}"/>
                  </a:ext>
                </a:extLst>
              </p:cNvPr>
              <p:cNvSpPr/>
              <p:nvPr/>
            </p:nvSpPr>
            <p:spPr bwMode="auto">
              <a:xfrm>
                <a:off x="3667126" y="3184525"/>
                <a:ext cx="492125" cy="496888"/>
              </a:xfrm>
              <a:custGeom>
                <a:avLst/>
                <a:gdLst>
                  <a:gd name="T0" fmla="*/ 74 w 149"/>
                  <a:gd name="T1" fmla="*/ 0 h 149"/>
                  <a:gd name="T2" fmla="*/ 149 w 149"/>
                  <a:gd name="T3" fmla="*/ 74 h 149"/>
                  <a:gd name="T4" fmla="*/ 74 w 149"/>
                  <a:gd name="T5" fmla="*/ 149 h 149"/>
                  <a:gd name="T6" fmla="*/ 0 w 149"/>
                  <a:gd name="T7" fmla="*/ 74 h 149"/>
                  <a:gd name="T8" fmla="*/ 74 w 149"/>
                  <a:gd name="T9" fmla="*/ 0 h 149"/>
                  <a:gd name="T10" fmla="*/ 74 w 149"/>
                  <a:gd name="T11" fmla="*/ 2 h 149"/>
                  <a:gd name="T12" fmla="*/ 2 w 149"/>
                  <a:gd name="T13" fmla="*/ 74 h 149"/>
                  <a:gd name="T14" fmla="*/ 74 w 149"/>
                  <a:gd name="T15" fmla="*/ 146 h 149"/>
                  <a:gd name="T16" fmla="*/ 146 w 149"/>
                  <a:gd name="T17" fmla="*/ 74 h 149"/>
                  <a:gd name="T18" fmla="*/ 74 w 149"/>
                  <a:gd name="T19" fmla="*/ 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9" h="149">
                    <a:moveTo>
                      <a:pt x="74" y="0"/>
                    </a:move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115"/>
                      <a:pt x="115" y="149"/>
                      <a:pt x="74" y="149"/>
                    </a:cubicBezTo>
                    <a:cubicBezTo>
                      <a:pt x="33" y="149"/>
                      <a:pt x="0" y="11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lose/>
                    <a:moveTo>
                      <a:pt x="74" y="2"/>
                    </a:moveTo>
                    <a:cubicBezTo>
                      <a:pt x="35" y="2"/>
                      <a:pt x="2" y="34"/>
                      <a:pt x="2" y="74"/>
                    </a:cubicBezTo>
                    <a:cubicBezTo>
                      <a:pt x="2" y="114"/>
                      <a:pt x="35" y="146"/>
                      <a:pt x="74" y="146"/>
                    </a:cubicBezTo>
                    <a:cubicBezTo>
                      <a:pt x="114" y="146"/>
                      <a:pt x="146" y="114"/>
                      <a:pt x="146" y="74"/>
                    </a:cubicBezTo>
                    <a:cubicBezTo>
                      <a:pt x="146" y="34"/>
                      <a:pt x="114" y="2"/>
                      <a:pt x="74" y="2"/>
                    </a:cubicBezTo>
                    <a:close/>
                  </a:path>
                </a:pathLst>
              </a:custGeom>
              <a:solidFill>
                <a:srgbClr val="0052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ïŝlïḍe">
                <a:extLst>
                  <a:ext uri="{FF2B5EF4-FFF2-40B4-BE49-F238E27FC236}">
                    <a16:creationId xmlns:a16="http://schemas.microsoft.com/office/drawing/2014/main" id="{D85F65B4-31DE-416E-AC78-5B077A42B38C}"/>
                  </a:ext>
                </a:extLst>
              </p:cNvPr>
              <p:cNvSpPr/>
              <p:nvPr/>
            </p:nvSpPr>
            <p:spPr bwMode="auto">
              <a:xfrm>
                <a:off x="3775076" y="3248025"/>
                <a:ext cx="274638" cy="146050"/>
              </a:xfrm>
              <a:custGeom>
                <a:avLst/>
                <a:gdLst>
                  <a:gd name="T0" fmla="*/ 10 w 83"/>
                  <a:gd name="T1" fmla="*/ 43 h 44"/>
                  <a:gd name="T2" fmla="*/ 18 w 83"/>
                  <a:gd name="T3" fmla="*/ 39 h 44"/>
                  <a:gd name="T4" fmla="*/ 67 w 83"/>
                  <a:gd name="T5" fmla="*/ 39 h 44"/>
                  <a:gd name="T6" fmla="*/ 73 w 83"/>
                  <a:gd name="T7" fmla="*/ 42 h 44"/>
                  <a:gd name="T8" fmla="*/ 76 w 83"/>
                  <a:gd name="T9" fmla="*/ 43 h 44"/>
                  <a:gd name="T10" fmla="*/ 83 w 83"/>
                  <a:gd name="T11" fmla="*/ 35 h 44"/>
                  <a:gd name="T12" fmla="*/ 76 w 83"/>
                  <a:gd name="T13" fmla="*/ 37 h 44"/>
                  <a:gd name="T14" fmla="*/ 69 w 83"/>
                  <a:gd name="T15" fmla="*/ 33 h 44"/>
                  <a:gd name="T16" fmla="*/ 70 w 83"/>
                  <a:gd name="T17" fmla="*/ 26 h 44"/>
                  <a:gd name="T18" fmla="*/ 64 w 83"/>
                  <a:gd name="T19" fmla="*/ 30 h 44"/>
                  <a:gd name="T20" fmla="*/ 59 w 83"/>
                  <a:gd name="T21" fmla="*/ 31 h 44"/>
                  <a:gd name="T22" fmla="*/ 56 w 83"/>
                  <a:gd name="T23" fmla="*/ 29 h 44"/>
                  <a:gd name="T24" fmla="*/ 56 w 83"/>
                  <a:gd name="T25" fmla="*/ 24 h 44"/>
                  <a:gd name="T26" fmla="*/ 58 w 83"/>
                  <a:gd name="T27" fmla="*/ 23 h 44"/>
                  <a:gd name="T28" fmla="*/ 58 w 83"/>
                  <a:gd name="T29" fmla="*/ 19 h 44"/>
                  <a:gd name="T30" fmla="*/ 54 w 83"/>
                  <a:gd name="T31" fmla="*/ 19 h 44"/>
                  <a:gd name="T32" fmla="*/ 53 w 83"/>
                  <a:gd name="T33" fmla="*/ 21 h 44"/>
                  <a:gd name="T34" fmla="*/ 44 w 83"/>
                  <a:gd name="T35" fmla="*/ 21 h 44"/>
                  <a:gd name="T36" fmla="*/ 43 w 83"/>
                  <a:gd name="T37" fmla="*/ 18 h 44"/>
                  <a:gd name="T38" fmla="*/ 44 w 83"/>
                  <a:gd name="T39" fmla="*/ 13 h 44"/>
                  <a:gd name="T40" fmla="*/ 43 w 83"/>
                  <a:gd name="T41" fmla="*/ 8 h 44"/>
                  <a:gd name="T42" fmla="*/ 43 w 83"/>
                  <a:gd name="T43" fmla="*/ 6 h 44"/>
                  <a:gd name="T44" fmla="*/ 43 w 83"/>
                  <a:gd name="T45" fmla="*/ 2 h 44"/>
                  <a:gd name="T46" fmla="*/ 43 w 83"/>
                  <a:gd name="T47" fmla="*/ 0 h 44"/>
                  <a:gd name="T48" fmla="*/ 40 w 83"/>
                  <a:gd name="T49" fmla="*/ 0 h 44"/>
                  <a:gd name="T50" fmla="*/ 39 w 83"/>
                  <a:gd name="T51" fmla="*/ 2 h 44"/>
                  <a:gd name="T52" fmla="*/ 39 w 83"/>
                  <a:gd name="T53" fmla="*/ 6 h 44"/>
                  <a:gd name="T54" fmla="*/ 39 w 83"/>
                  <a:gd name="T55" fmla="*/ 8 h 44"/>
                  <a:gd name="T56" fmla="*/ 38 w 83"/>
                  <a:gd name="T57" fmla="*/ 13 h 44"/>
                  <a:gd name="T58" fmla="*/ 38 w 83"/>
                  <a:gd name="T59" fmla="*/ 18 h 44"/>
                  <a:gd name="T60" fmla="*/ 38 w 83"/>
                  <a:gd name="T61" fmla="*/ 21 h 44"/>
                  <a:gd name="T62" fmla="*/ 30 w 83"/>
                  <a:gd name="T63" fmla="*/ 21 h 44"/>
                  <a:gd name="T64" fmla="*/ 29 w 83"/>
                  <a:gd name="T65" fmla="*/ 19 h 44"/>
                  <a:gd name="T66" fmla="*/ 25 w 83"/>
                  <a:gd name="T67" fmla="*/ 19 h 44"/>
                  <a:gd name="T68" fmla="*/ 25 w 83"/>
                  <a:gd name="T69" fmla="*/ 23 h 44"/>
                  <a:gd name="T70" fmla="*/ 26 w 83"/>
                  <a:gd name="T71" fmla="*/ 24 h 44"/>
                  <a:gd name="T72" fmla="*/ 27 w 83"/>
                  <a:gd name="T73" fmla="*/ 29 h 44"/>
                  <a:gd name="T74" fmla="*/ 22 w 83"/>
                  <a:gd name="T75" fmla="*/ 31 h 44"/>
                  <a:gd name="T76" fmla="*/ 13 w 83"/>
                  <a:gd name="T77" fmla="*/ 26 h 44"/>
                  <a:gd name="T78" fmla="*/ 13 w 83"/>
                  <a:gd name="T79" fmla="*/ 35 h 44"/>
                  <a:gd name="T80" fmla="*/ 7 w 83"/>
                  <a:gd name="T81" fmla="*/ 37 h 44"/>
                  <a:gd name="T82" fmla="*/ 0 w 83"/>
                  <a:gd name="T83" fmla="*/ 34 h 44"/>
                  <a:gd name="T84" fmla="*/ 5 w 83"/>
                  <a:gd name="T85" fmla="*/ 42 h 44"/>
                  <a:gd name="T86" fmla="*/ 10 w 83"/>
                  <a:gd name="T87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44">
                    <a:moveTo>
                      <a:pt x="10" y="43"/>
                    </a:moveTo>
                    <a:cubicBezTo>
                      <a:pt x="18" y="39"/>
                      <a:pt x="18" y="39"/>
                      <a:pt x="18" y="39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4" y="43"/>
                      <a:pt x="75" y="43"/>
                      <a:pt x="76" y="43"/>
                    </a:cubicBezTo>
                    <a:cubicBezTo>
                      <a:pt x="80" y="42"/>
                      <a:pt x="83" y="35"/>
                      <a:pt x="83" y="35"/>
                    </a:cubicBezTo>
                    <a:cubicBezTo>
                      <a:pt x="83" y="35"/>
                      <a:pt x="79" y="38"/>
                      <a:pt x="76" y="37"/>
                    </a:cubicBezTo>
                    <a:cubicBezTo>
                      <a:pt x="73" y="37"/>
                      <a:pt x="69" y="36"/>
                      <a:pt x="69" y="33"/>
                    </a:cubicBezTo>
                    <a:cubicBezTo>
                      <a:pt x="69" y="30"/>
                      <a:pt x="70" y="27"/>
                      <a:pt x="70" y="26"/>
                    </a:cubicBezTo>
                    <a:cubicBezTo>
                      <a:pt x="70" y="26"/>
                      <a:pt x="67" y="29"/>
                      <a:pt x="64" y="30"/>
                    </a:cubicBezTo>
                    <a:cubicBezTo>
                      <a:pt x="61" y="32"/>
                      <a:pt x="60" y="31"/>
                      <a:pt x="59" y="31"/>
                    </a:cubicBezTo>
                    <a:cubicBezTo>
                      <a:pt x="57" y="30"/>
                      <a:pt x="56" y="29"/>
                      <a:pt x="56" y="29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4" y="19"/>
                      <a:pt x="54" y="21"/>
                      <a:pt x="53" y="21"/>
                    </a:cubicBezTo>
                    <a:cubicBezTo>
                      <a:pt x="52" y="21"/>
                      <a:pt x="44" y="21"/>
                      <a:pt x="44" y="21"/>
                    </a:cubicBezTo>
                    <a:cubicBezTo>
                      <a:pt x="44" y="21"/>
                      <a:pt x="43" y="20"/>
                      <a:pt x="43" y="18"/>
                    </a:cubicBezTo>
                    <a:cubicBezTo>
                      <a:pt x="44" y="17"/>
                      <a:pt x="44" y="17"/>
                      <a:pt x="44" y="13"/>
                    </a:cubicBezTo>
                    <a:cubicBezTo>
                      <a:pt x="44" y="10"/>
                      <a:pt x="44" y="9"/>
                      <a:pt x="43" y="8"/>
                    </a:cubicBezTo>
                    <a:cubicBezTo>
                      <a:pt x="43" y="7"/>
                      <a:pt x="42" y="7"/>
                      <a:pt x="43" y="6"/>
                    </a:cubicBezTo>
                    <a:cubicBezTo>
                      <a:pt x="44" y="5"/>
                      <a:pt x="44" y="4"/>
                      <a:pt x="43" y="2"/>
                    </a:cubicBezTo>
                    <a:cubicBezTo>
                      <a:pt x="42" y="1"/>
                      <a:pt x="43" y="2"/>
                      <a:pt x="43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9" y="0"/>
                      <a:pt x="40" y="1"/>
                      <a:pt x="39" y="2"/>
                    </a:cubicBezTo>
                    <a:cubicBezTo>
                      <a:pt x="38" y="3"/>
                      <a:pt x="38" y="5"/>
                      <a:pt x="39" y="6"/>
                    </a:cubicBezTo>
                    <a:cubicBezTo>
                      <a:pt x="39" y="7"/>
                      <a:pt x="40" y="7"/>
                      <a:pt x="39" y="8"/>
                    </a:cubicBezTo>
                    <a:cubicBezTo>
                      <a:pt x="38" y="9"/>
                      <a:pt x="38" y="10"/>
                      <a:pt x="38" y="13"/>
                    </a:cubicBezTo>
                    <a:cubicBezTo>
                      <a:pt x="38" y="16"/>
                      <a:pt x="38" y="17"/>
                      <a:pt x="38" y="18"/>
                    </a:cubicBezTo>
                    <a:cubicBezTo>
                      <a:pt x="39" y="20"/>
                      <a:pt x="38" y="21"/>
                      <a:pt x="38" y="21"/>
                    </a:cubicBezTo>
                    <a:cubicBezTo>
                      <a:pt x="37" y="21"/>
                      <a:pt x="30" y="21"/>
                      <a:pt x="30" y="21"/>
                    </a:cubicBezTo>
                    <a:cubicBezTo>
                      <a:pt x="30" y="21"/>
                      <a:pt x="29" y="20"/>
                      <a:pt x="29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29"/>
                      <a:pt x="24" y="31"/>
                      <a:pt x="22" y="31"/>
                    </a:cubicBezTo>
                    <a:cubicBezTo>
                      <a:pt x="19" y="31"/>
                      <a:pt x="13" y="26"/>
                      <a:pt x="13" y="26"/>
                    </a:cubicBezTo>
                    <a:cubicBezTo>
                      <a:pt x="13" y="26"/>
                      <a:pt x="14" y="33"/>
                      <a:pt x="13" y="35"/>
                    </a:cubicBezTo>
                    <a:cubicBezTo>
                      <a:pt x="13" y="37"/>
                      <a:pt x="10" y="37"/>
                      <a:pt x="7" y="37"/>
                    </a:cubicBezTo>
                    <a:cubicBezTo>
                      <a:pt x="4" y="37"/>
                      <a:pt x="0" y="35"/>
                      <a:pt x="0" y="34"/>
                    </a:cubicBezTo>
                    <a:cubicBezTo>
                      <a:pt x="0" y="34"/>
                      <a:pt x="3" y="40"/>
                      <a:pt x="5" y="42"/>
                    </a:cubicBezTo>
                    <a:cubicBezTo>
                      <a:pt x="7" y="44"/>
                      <a:pt x="10" y="43"/>
                      <a:pt x="10" y="4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îŝľïde">
                <a:extLst>
                  <a:ext uri="{FF2B5EF4-FFF2-40B4-BE49-F238E27FC236}">
                    <a16:creationId xmlns:a16="http://schemas.microsoft.com/office/drawing/2014/main" id="{2CCDBC7A-FB45-4372-A47C-FDFE5E561290}"/>
                  </a:ext>
                </a:extLst>
              </p:cNvPr>
              <p:cNvSpPr/>
              <p:nvPr/>
            </p:nvSpPr>
            <p:spPr bwMode="auto">
              <a:xfrm>
                <a:off x="3614738" y="3370263"/>
                <a:ext cx="596900" cy="241300"/>
              </a:xfrm>
              <a:custGeom>
                <a:avLst/>
                <a:gdLst>
                  <a:gd name="T0" fmla="*/ 58 w 181"/>
                  <a:gd name="T1" fmla="*/ 72 h 72"/>
                  <a:gd name="T2" fmla="*/ 8 w 181"/>
                  <a:gd name="T3" fmla="*/ 72 h 72"/>
                  <a:gd name="T4" fmla="*/ 3 w 181"/>
                  <a:gd name="T5" fmla="*/ 63 h 72"/>
                  <a:gd name="T6" fmla="*/ 6 w 181"/>
                  <a:gd name="T7" fmla="*/ 63 h 72"/>
                  <a:gd name="T8" fmla="*/ 11 w 181"/>
                  <a:gd name="T9" fmla="*/ 55 h 72"/>
                  <a:gd name="T10" fmla="*/ 14 w 181"/>
                  <a:gd name="T11" fmla="*/ 55 h 72"/>
                  <a:gd name="T12" fmla="*/ 14 w 181"/>
                  <a:gd name="T13" fmla="*/ 29 h 72"/>
                  <a:gd name="T14" fmla="*/ 0 w 181"/>
                  <a:gd name="T15" fmla="*/ 4 h 72"/>
                  <a:gd name="T16" fmla="*/ 30 w 181"/>
                  <a:gd name="T17" fmla="*/ 0 h 72"/>
                  <a:gd name="T18" fmla="*/ 58 w 181"/>
                  <a:gd name="T19" fmla="*/ 8 h 72"/>
                  <a:gd name="T20" fmla="*/ 51 w 181"/>
                  <a:gd name="T21" fmla="*/ 25 h 72"/>
                  <a:gd name="T22" fmla="*/ 131 w 181"/>
                  <a:gd name="T23" fmla="*/ 25 h 72"/>
                  <a:gd name="T24" fmla="*/ 122 w 181"/>
                  <a:gd name="T25" fmla="*/ 8 h 72"/>
                  <a:gd name="T26" fmla="*/ 150 w 181"/>
                  <a:gd name="T27" fmla="*/ 0 h 72"/>
                  <a:gd name="T28" fmla="*/ 181 w 181"/>
                  <a:gd name="T29" fmla="*/ 5 h 72"/>
                  <a:gd name="T30" fmla="*/ 166 w 181"/>
                  <a:gd name="T31" fmla="*/ 28 h 72"/>
                  <a:gd name="T32" fmla="*/ 166 w 181"/>
                  <a:gd name="T33" fmla="*/ 55 h 72"/>
                  <a:gd name="T34" fmla="*/ 171 w 181"/>
                  <a:gd name="T35" fmla="*/ 55 h 72"/>
                  <a:gd name="T36" fmla="*/ 178 w 181"/>
                  <a:gd name="T37" fmla="*/ 65 h 72"/>
                  <a:gd name="T38" fmla="*/ 174 w 181"/>
                  <a:gd name="T39" fmla="*/ 72 h 72"/>
                  <a:gd name="T40" fmla="*/ 58 w 181"/>
                  <a:gd name="T4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1" h="72">
                    <a:moveTo>
                      <a:pt x="58" y="72"/>
                    </a:moveTo>
                    <a:cubicBezTo>
                      <a:pt x="8" y="72"/>
                      <a:pt x="8" y="72"/>
                      <a:pt x="8" y="72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7" y="61"/>
                      <a:pt x="10" y="57"/>
                      <a:pt x="11" y="55"/>
                    </a:cubicBezTo>
                    <a:cubicBezTo>
                      <a:pt x="12" y="55"/>
                      <a:pt x="13" y="55"/>
                      <a:pt x="14" y="55"/>
                    </a:cubicBezTo>
                    <a:cubicBezTo>
                      <a:pt x="14" y="45"/>
                      <a:pt x="14" y="39"/>
                      <a:pt x="14" y="29"/>
                    </a:cubicBezTo>
                    <a:cubicBezTo>
                      <a:pt x="6" y="25"/>
                      <a:pt x="0" y="19"/>
                      <a:pt x="0" y="4"/>
                    </a:cubicBezTo>
                    <a:cubicBezTo>
                      <a:pt x="13" y="19"/>
                      <a:pt x="25" y="20"/>
                      <a:pt x="30" y="0"/>
                    </a:cubicBezTo>
                    <a:cubicBezTo>
                      <a:pt x="40" y="22"/>
                      <a:pt x="50" y="16"/>
                      <a:pt x="58" y="8"/>
                    </a:cubicBezTo>
                    <a:cubicBezTo>
                      <a:pt x="59" y="17"/>
                      <a:pt x="51" y="24"/>
                      <a:pt x="5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8" y="21"/>
                      <a:pt x="123" y="15"/>
                      <a:pt x="122" y="8"/>
                    </a:cubicBezTo>
                    <a:cubicBezTo>
                      <a:pt x="131" y="18"/>
                      <a:pt x="141" y="23"/>
                      <a:pt x="150" y="0"/>
                    </a:cubicBezTo>
                    <a:cubicBezTo>
                      <a:pt x="160" y="23"/>
                      <a:pt x="169" y="16"/>
                      <a:pt x="181" y="5"/>
                    </a:cubicBezTo>
                    <a:cubicBezTo>
                      <a:pt x="178" y="23"/>
                      <a:pt x="174" y="23"/>
                      <a:pt x="166" y="28"/>
                    </a:cubicBezTo>
                    <a:cubicBezTo>
                      <a:pt x="166" y="38"/>
                      <a:pt x="166" y="45"/>
                      <a:pt x="166" y="55"/>
                    </a:cubicBezTo>
                    <a:cubicBezTo>
                      <a:pt x="168" y="55"/>
                      <a:pt x="169" y="55"/>
                      <a:pt x="171" y="55"/>
                    </a:cubicBezTo>
                    <a:cubicBezTo>
                      <a:pt x="178" y="65"/>
                      <a:pt x="178" y="65"/>
                      <a:pt x="178" y="65"/>
                    </a:cubicBezTo>
                    <a:cubicBezTo>
                      <a:pt x="174" y="72"/>
                      <a:pt x="174" y="72"/>
                      <a:pt x="174" y="72"/>
                    </a:cubicBezTo>
                    <a:lnTo>
                      <a:pt x="58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šľïḋé">
                <a:extLst>
                  <a:ext uri="{FF2B5EF4-FFF2-40B4-BE49-F238E27FC236}">
                    <a16:creationId xmlns:a16="http://schemas.microsoft.com/office/drawing/2014/main" id="{3A03368F-B7A6-4999-8714-1A32E6E7AE1A}"/>
                  </a:ext>
                </a:extLst>
              </p:cNvPr>
              <p:cNvSpPr/>
              <p:nvPr/>
            </p:nvSpPr>
            <p:spPr bwMode="auto">
              <a:xfrm>
                <a:off x="3624263" y="3381375"/>
                <a:ext cx="577850" cy="200025"/>
              </a:xfrm>
              <a:custGeom>
                <a:avLst/>
                <a:gdLst>
                  <a:gd name="T0" fmla="*/ 130 w 175"/>
                  <a:gd name="T1" fmla="*/ 51 h 60"/>
                  <a:gd name="T2" fmla="*/ 130 w 175"/>
                  <a:gd name="T3" fmla="*/ 50 h 60"/>
                  <a:gd name="T4" fmla="*/ 48 w 175"/>
                  <a:gd name="T5" fmla="*/ 50 h 60"/>
                  <a:gd name="T6" fmla="*/ 48 w 175"/>
                  <a:gd name="T7" fmla="*/ 51 h 60"/>
                  <a:gd name="T8" fmla="*/ 52 w 175"/>
                  <a:gd name="T9" fmla="*/ 51 h 60"/>
                  <a:gd name="T10" fmla="*/ 48 w 175"/>
                  <a:gd name="T11" fmla="*/ 60 h 60"/>
                  <a:gd name="T12" fmla="*/ 7 w 175"/>
                  <a:gd name="T13" fmla="*/ 60 h 60"/>
                  <a:gd name="T14" fmla="*/ 10 w 175"/>
                  <a:gd name="T15" fmla="*/ 54 h 60"/>
                  <a:gd name="T16" fmla="*/ 14 w 175"/>
                  <a:gd name="T17" fmla="*/ 54 h 60"/>
                  <a:gd name="T18" fmla="*/ 13 w 175"/>
                  <a:gd name="T19" fmla="*/ 25 h 60"/>
                  <a:gd name="T20" fmla="*/ 0 w 175"/>
                  <a:gd name="T21" fmla="*/ 7 h 60"/>
                  <a:gd name="T22" fmla="*/ 28 w 175"/>
                  <a:gd name="T23" fmla="*/ 0 h 60"/>
                  <a:gd name="T24" fmla="*/ 55 w 175"/>
                  <a:gd name="T25" fmla="*/ 7 h 60"/>
                  <a:gd name="T26" fmla="*/ 48 w 175"/>
                  <a:gd name="T27" fmla="*/ 22 h 60"/>
                  <a:gd name="T28" fmla="*/ 127 w 175"/>
                  <a:gd name="T29" fmla="*/ 22 h 60"/>
                  <a:gd name="T30" fmla="*/ 119 w 175"/>
                  <a:gd name="T31" fmla="*/ 7 h 60"/>
                  <a:gd name="T32" fmla="*/ 147 w 175"/>
                  <a:gd name="T33" fmla="*/ 0 h 60"/>
                  <a:gd name="T34" fmla="*/ 175 w 175"/>
                  <a:gd name="T35" fmla="*/ 7 h 60"/>
                  <a:gd name="T36" fmla="*/ 161 w 175"/>
                  <a:gd name="T37" fmla="*/ 24 h 60"/>
                  <a:gd name="T38" fmla="*/ 161 w 175"/>
                  <a:gd name="T39" fmla="*/ 53 h 60"/>
                  <a:gd name="T40" fmla="*/ 165 w 175"/>
                  <a:gd name="T41" fmla="*/ 53 h 60"/>
                  <a:gd name="T42" fmla="*/ 169 w 175"/>
                  <a:gd name="T43" fmla="*/ 60 h 60"/>
                  <a:gd name="T44" fmla="*/ 128 w 175"/>
                  <a:gd name="T45" fmla="*/ 60 h 60"/>
                  <a:gd name="T46" fmla="*/ 124 w 175"/>
                  <a:gd name="T47" fmla="*/ 51 h 60"/>
                  <a:gd name="T48" fmla="*/ 130 w 175"/>
                  <a:gd name="T49" fmla="*/ 5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5" h="60">
                    <a:moveTo>
                      <a:pt x="130" y="51"/>
                    </a:moveTo>
                    <a:cubicBezTo>
                      <a:pt x="130" y="50"/>
                      <a:pt x="130" y="50"/>
                      <a:pt x="130" y="50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34" y="60"/>
                      <a:pt x="20" y="60"/>
                      <a:pt x="7" y="60"/>
                    </a:cubicBezTo>
                    <a:cubicBezTo>
                      <a:pt x="8" y="58"/>
                      <a:pt x="9" y="56"/>
                      <a:pt x="10" y="54"/>
                    </a:cubicBezTo>
                    <a:cubicBezTo>
                      <a:pt x="11" y="54"/>
                      <a:pt x="12" y="54"/>
                      <a:pt x="14" y="54"/>
                    </a:cubicBezTo>
                    <a:cubicBezTo>
                      <a:pt x="14" y="44"/>
                      <a:pt x="13" y="34"/>
                      <a:pt x="13" y="25"/>
                    </a:cubicBezTo>
                    <a:cubicBezTo>
                      <a:pt x="5" y="20"/>
                      <a:pt x="1" y="14"/>
                      <a:pt x="0" y="7"/>
                    </a:cubicBezTo>
                    <a:cubicBezTo>
                      <a:pt x="12" y="18"/>
                      <a:pt x="22" y="17"/>
                      <a:pt x="28" y="0"/>
                    </a:cubicBezTo>
                    <a:cubicBezTo>
                      <a:pt x="37" y="22"/>
                      <a:pt x="47" y="15"/>
                      <a:pt x="55" y="7"/>
                    </a:cubicBezTo>
                    <a:cubicBezTo>
                      <a:pt x="55" y="14"/>
                      <a:pt x="50" y="17"/>
                      <a:pt x="48" y="22"/>
                    </a:cubicBezTo>
                    <a:cubicBezTo>
                      <a:pt x="127" y="22"/>
                      <a:pt x="127" y="22"/>
                      <a:pt x="127" y="22"/>
                    </a:cubicBezTo>
                    <a:cubicBezTo>
                      <a:pt x="125" y="18"/>
                      <a:pt x="120" y="14"/>
                      <a:pt x="119" y="7"/>
                    </a:cubicBezTo>
                    <a:cubicBezTo>
                      <a:pt x="127" y="15"/>
                      <a:pt x="137" y="22"/>
                      <a:pt x="147" y="0"/>
                    </a:cubicBezTo>
                    <a:cubicBezTo>
                      <a:pt x="153" y="17"/>
                      <a:pt x="163" y="18"/>
                      <a:pt x="175" y="7"/>
                    </a:cubicBezTo>
                    <a:cubicBezTo>
                      <a:pt x="173" y="14"/>
                      <a:pt x="169" y="19"/>
                      <a:pt x="161" y="24"/>
                    </a:cubicBezTo>
                    <a:cubicBezTo>
                      <a:pt x="161" y="34"/>
                      <a:pt x="161" y="44"/>
                      <a:pt x="161" y="53"/>
                    </a:cubicBezTo>
                    <a:cubicBezTo>
                      <a:pt x="162" y="53"/>
                      <a:pt x="164" y="53"/>
                      <a:pt x="165" y="53"/>
                    </a:cubicBezTo>
                    <a:cubicBezTo>
                      <a:pt x="166" y="55"/>
                      <a:pt x="167" y="58"/>
                      <a:pt x="169" y="60"/>
                    </a:cubicBezTo>
                    <a:cubicBezTo>
                      <a:pt x="155" y="60"/>
                      <a:pt x="142" y="60"/>
                      <a:pt x="128" y="60"/>
                    </a:cubicBezTo>
                    <a:cubicBezTo>
                      <a:pt x="124" y="51"/>
                      <a:pt x="124" y="51"/>
                      <a:pt x="124" y="51"/>
                    </a:cubicBezTo>
                    <a:lnTo>
                      <a:pt x="130" y="51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ṣḷíḓé">
                <a:extLst>
                  <a:ext uri="{FF2B5EF4-FFF2-40B4-BE49-F238E27FC236}">
                    <a16:creationId xmlns:a16="http://schemas.microsoft.com/office/drawing/2014/main" id="{55C577F3-FE07-4B80-B1B6-B1CCAC6496EF}"/>
                  </a:ext>
                </a:extLst>
              </p:cNvPr>
              <p:cNvSpPr/>
              <p:nvPr/>
            </p:nvSpPr>
            <p:spPr bwMode="auto">
              <a:xfrm>
                <a:off x="4065588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iŝ1íḍe">
                <a:extLst>
                  <a:ext uri="{FF2B5EF4-FFF2-40B4-BE49-F238E27FC236}">
                    <a16:creationId xmlns:a16="http://schemas.microsoft.com/office/drawing/2014/main" id="{D5C72B42-DB89-4101-947E-FEE4D332E1B6}"/>
                  </a:ext>
                </a:extLst>
              </p:cNvPr>
              <p:cNvSpPr/>
              <p:nvPr/>
            </p:nvSpPr>
            <p:spPr bwMode="auto">
              <a:xfrm>
                <a:off x="3740151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iṡļiḋè">
                <a:extLst>
                  <a:ext uri="{FF2B5EF4-FFF2-40B4-BE49-F238E27FC236}">
                    <a16:creationId xmlns:a16="http://schemas.microsoft.com/office/drawing/2014/main" id="{A43AC905-C801-43B5-BC86-8CDCA71B9CCB}"/>
                  </a:ext>
                </a:extLst>
              </p:cNvPr>
              <p:cNvSpPr/>
              <p:nvPr/>
            </p:nvSpPr>
            <p:spPr bwMode="auto">
              <a:xfrm>
                <a:off x="4125913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sḷíḍè">
                <a:extLst>
                  <a:ext uri="{FF2B5EF4-FFF2-40B4-BE49-F238E27FC236}">
                    <a16:creationId xmlns:a16="http://schemas.microsoft.com/office/drawing/2014/main" id="{21560483-532C-40C6-9F65-28623155533C}"/>
                  </a:ext>
                </a:extLst>
              </p:cNvPr>
              <p:cNvSpPr/>
              <p:nvPr/>
            </p:nvSpPr>
            <p:spPr bwMode="auto">
              <a:xfrm>
                <a:off x="3709988" y="3490913"/>
                <a:ext cx="15875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iṩ1íďé">
                <a:extLst>
                  <a:ext uri="{FF2B5EF4-FFF2-40B4-BE49-F238E27FC236}">
                    <a16:creationId xmlns:a16="http://schemas.microsoft.com/office/drawing/2014/main" id="{DF13D354-2A52-4FB7-A264-4296348B6973}"/>
                  </a:ext>
                </a:extLst>
              </p:cNvPr>
              <p:cNvSpPr/>
              <p:nvPr/>
            </p:nvSpPr>
            <p:spPr bwMode="auto">
              <a:xfrm>
                <a:off x="4095751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îṥlîďè">
                <a:extLst>
                  <a:ext uri="{FF2B5EF4-FFF2-40B4-BE49-F238E27FC236}">
                    <a16:creationId xmlns:a16="http://schemas.microsoft.com/office/drawing/2014/main" id="{16B772CB-0631-4627-9C55-A3A0067DF865}"/>
                  </a:ext>
                </a:extLst>
              </p:cNvPr>
              <p:cNvSpPr/>
              <p:nvPr/>
            </p:nvSpPr>
            <p:spPr bwMode="auto">
              <a:xfrm>
                <a:off x="3663951" y="3460750"/>
                <a:ext cx="495300" cy="3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iṥ1íḓê">
                <a:extLst>
                  <a:ext uri="{FF2B5EF4-FFF2-40B4-BE49-F238E27FC236}">
                    <a16:creationId xmlns:a16="http://schemas.microsoft.com/office/drawing/2014/main" id="{63C25C63-29C1-46D5-AB54-5D75702E224B}"/>
                  </a:ext>
                </a:extLst>
              </p:cNvPr>
              <p:cNvSpPr/>
              <p:nvPr/>
            </p:nvSpPr>
            <p:spPr bwMode="auto">
              <a:xfrm>
                <a:off x="3663951" y="3473450"/>
                <a:ext cx="11588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ïśľiďé">
                <a:extLst>
                  <a:ext uri="{FF2B5EF4-FFF2-40B4-BE49-F238E27FC236}">
                    <a16:creationId xmlns:a16="http://schemas.microsoft.com/office/drawing/2014/main" id="{7A8EB9C9-470B-4512-9338-03F0706B0C09}"/>
                  </a:ext>
                </a:extLst>
              </p:cNvPr>
              <p:cNvSpPr/>
              <p:nvPr/>
            </p:nvSpPr>
            <p:spPr bwMode="auto">
              <a:xfrm>
                <a:off x="3789363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íṥḷiďe">
                <a:extLst>
                  <a:ext uri="{FF2B5EF4-FFF2-40B4-BE49-F238E27FC236}">
                    <a16:creationId xmlns:a16="http://schemas.microsoft.com/office/drawing/2014/main" id="{D84F6295-4A18-47CA-BCCD-35DE1F837C10}"/>
                  </a:ext>
                </a:extLst>
              </p:cNvPr>
              <p:cNvSpPr/>
              <p:nvPr/>
            </p:nvSpPr>
            <p:spPr bwMode="auto">
              <a:xfrm>
                <a:off x="3851276" y="3473450"/>
                <a:ext cx="571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ï$liḋe">
                <a:extLst>
                  <a:ext uri="{FF2B5EF4-FFF2-40B4-BE49-F238E27FC236}">
                    <a16:creationId xmlns:a16="http://schemas.microsoft.com/office/drawing/2014/main" id="{ECE5A937-E230-4C54-A313-A60C5D736ADC}"/>
                  </a:ext>
                </a:extLst>
              </p:cNvPr>
              <p:cNvSpPr/>
              <p:nvPr/>
            </p:nvSpPr>
            <p:spPr bwMode="auto">
              <a:xfrm>
                <a:off x="3917951" y="3473450"/>
                <a:ext cx="555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šḷíḓê">
                <a:extLst>
                  <a:ext uri="{FF2B5EF4-FFF2-40B4-BE49-F238E27FC236}">
                    <a16:creationId xmlns:a16="http://schemas.microsoft.com/office/drawing/2014/main" id="{3162D2C4-85E5-46DE-A330-E5C9E40C19C7}"/>
                  </a:ext>
                </a:extLst>
              </p:cNvPr>
              <p:cNvSpPr/>
              <p:nvPr/>
            </p:nvSpPr>
            <p:spPr bwMode="auto">
              <a:xfrm>
                <a:off x="3994151" y="3473450"/>
                <a:ext cx="4286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ṡľídé">
                <a:extLst>
                  <a:ext uri="{FF2B5EF4-FFF2-40B4-BE49-F238E27FC236}">
                    <a16:creationId xmlns:a16="http://schemas.microsoft.com/office/drawing/2014/main" id="{F813E9E0-90C2-4E24-AF9A-F8651845FD2C}"/>
                  </a:ext>
                </a:extLst>
              </p:cNvPr>
              <p:cNvSpPr/>
              <p:nvPr/>
            </p:nvSpPr>
            <p:spPr bwMode="auto">
              <a:xfrm>
                <a:off x="4046538" y="3473450"/>
                <a:ext cx="112713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iṣľiḍe">
                <a:extLst>
                  <a:ext uri="{FF2B5EF4-FFF2-40B4-BE49-F238E27FC236}">
                    <a16:creationId xmlns:a16="http://schemas.microsoft.com/office/drawing/2014/main" id="{4583A55A-33A6-4281-B7CE-8D03FC7823E4}"/>
                  </a:ext>
                </a:extLst>
              </p:cNvPr>
              <p:cNvSpPr/>
              <p:nvPr/>
            </p:nvSpPr>
            <p:spPr bwMode="auto">
              <a:xfrm>
                <a:off x="3979863" y="3473450"/>
                <a:ext cx="7938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išļíďè">
                <a:extLst>
                  <a:ext uri="{FF2B5EF4-FFF2-40B4-BE49-F238E27FC236}">
                    <a16:creationId xmlns:a16="http://schemas.microsoft.com/office/drawing/2014/main" id="{E2298272-AE42-49F3-BCD5-470E3029C237}"/>
                  </a:ext>
                </a:extLst>
              </p:cNvPr>
              <p:cNvSpPr/>
              <p:nvPr/>
            </p:nvSpPr>
            <p:spPr bwMode="auto">
              <a:xfrm>
                <a:off x="3838576" y="3473450"/>
                <a:ext cx="6350" cy="4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iṥļiďê">
                <a:extLst>
                  <a:ext uri="{FF2B5EF4-FFF2-40B4-BE49-F238E27FC236}">
                    <a16:creationId xmlns:a16="http://schemas.microsoft.com/office/drawing/2014/main" id="{4B727AE9-449F-4A1F-87B7-05CC950C633E}"/>
                  </a:ext>
                </a:extLst>
              </p:cNvPr>
              <p:cNvSpPr/>
              <p:nvPr/>
            </p:nvSpPr>
            <p:spPr bwMode="auto">
              <a:xfrm>
                <a:off x="3851276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işlïḓê">
                <a:extLst>
                  <a:ext uri="{FF2B5EF4-FFF2-40B4-BE49-F238E27FC236}">
                    <a16:creationId xmlns:a16="http://schemas.microsoft.com/office/drawing/2014/main" id="{E601AFB5-1115-42D3-94BA-72B3763AD2A3}"/>
                  </a:ext>
                </a:extLst>
              </p:cNvPr>
              <p:cNvSpPr/>
              <p:nvPr/>
            </p:nvSpPr>
            <p:spPr bwMode="auto">
              <a:xfrm>
                <a:off x="3817938" y="3384550"/>
                <a:ext cx="26988" cy="15875"/>
              </a:xfrm>
              <a:custGeom>
                <a:avLst/>
                <a:gdLst>
                  <a:gd name="T0" fmla="*/ 7 w 8"/>
                  <a:gd name="T1" fmla="*/ 0 h 5"/>
                  <a:gd name="T2" fmla="*/ 8 w 8"/>
                  <a:gd name="T3" fmla="*/ 2 h 5"/>
                  <a:gd name="T4" fmla="*/ 1 w 8"/>
                  <a:gd name="T5" fmla="*/ 5 h 5"/>
                  <a:gd name="T6" fmla="*/ 7 w 8"/>
                  <a:gd name="T7" fmla="*/ 0 h 5"/>
                  <a:gd name="T8" fmla="*/ 7 w 8"/>
                  <a:gd name="T9" fmla="*/ 0 h 5"/>
                  <a:gd name="T10" fmla="*/ 7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7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2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iṥľîḋè">
                <a:extLst>
                  <a:ext uri="{FF2B5EF4-FFF2-40B4-BE49-F238E27FC236}">
                    <a16:creationId xmlns:a16="http://schemas.microsoft.com/office/drawing/2014/main" id="{DFA51B59-8B2C-49EC-A517-466F0066C841}"/>
                  </a:ext>
                </a:extLst>
              </p:cNvPr>
              <p:cNvSpPr/>
              <p:nvPr/>
            </p:nvSpPr>
            <p:spPr bwMode="auto">
              <a:xfrm>
                <a:off x="3983038" y="3384550"/>
                <a:ext cx="26988" cy="15875"/>
              </a:xfrm>
              <a:custGeom>
                <a:avLst/>
                <a:gdLst>
                  <a:gd name="T0" fmla="*/ 1 w 8"/>
                  <a:gd name="T1" fmla="*/ 0 h 5"/>
                  <a:gd name="T2" fmla="*/ 0 w 8"/>
                  <a:gd name="T3" fmla="*/ 2 h 5"/>
                  <a:gd name="T4" fmla="*/ 7 w 8"/>
                  <a:gd name="T5" fmla="*/ 5 h 5"/>
                  <a:gd name="T6" fmla="*/ 1 w 8"/>
                  <a:gd name="T7" fmla="*/ 0 h 5"/>
                  <a:gd name="T8" fmla="*/ 1 w 8"/>
                  <a:gd name="T9" fmla="*/ 0 h 5"/>
                  <a:gd name="T10" fmla="*/ 1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8" y="2"/>
                      <a:pt x="1" y="0"/>
                    </a:cubicBezTo>
                    <a:close/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ísľiďè">
                <a:extLst>
                  <a:ext uri="{FF2B5EF4-FFF2-40B4-BE49-F238E27FC236}">
                    <a16:creationId xmlns:a16="http://schemas.microsoft.com/office/drawing/2014/main" id="{EF7489F4-0F3C-45C2-907D-7140EB353DD5}"/>
                  </a:ext>
                </a:extLst>
              </p:cNvPr>
              <p:cNvSpPr/>
              <p:nvPr/>
            </p:nvSpPr>
            <p:spPr bwMode="auto">
              <a:xfrm>
                <a:off x="3884613" y="3384550"/>
                <a:ext cx="26988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ïṧḷidè">
                <a:extLst>
                  <a:ext uri="{FF2B5EF4-FFF2-40B4-BE49-F238E27FC236}">
                    <a16:creationId xmlns:a16="http://schemas.microsoft.com/office/drawing/2014/main" id="{7DC83B35-32FE-4480-8AA0-F7D147A01B6D}"/>
                  </a:ext>
                </a:extLst>
              </p:cNvPr>
              <p:cNvSpPr/>
              <p:nvPr/>
            </p:nvSpPr>
            <p:spPr bwMode="auto">
              <a:xfrm>
                <a:off x="3917951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ṩḻíḋè">
                <a:extLst>
                  <a:ext uri="{FF2B5EF4-FFF2-40B4-BE49-F238E27FC236}">
                    <a16:creationId xmlns:a16="http://schemas.microsoft.com/office/drawing/2014/main" id="{8D2921E2-2BFF-43F0-A503-22878BF7A42D}"/>
                  </a:ext>
                </a:extLst>
              </p:cNvPr>
              <p:cNvSpPr/>
              <p:nvPr/>
            </p:nvSpPr>
            <p:spPr bwMode="auto">
              <a:xfrm>
                <a:off x="3951288" y="3384550"/>
                <a:ext cx="25400" cy="6350"/>
              </a:xfrm>
              <a:custGeom>
                <a:avLst/>
                <a:gdLst>
                  <a:gd name="T0" fmla="*/ 8 w 8"/>
                  <a:gd name="T1" fmla="*/ 0 h 2"/>
                  <a:gd name="T2" fmla="*/ 8 w 8"/>
                  <a:gd name="T3" fmla="*/ 2 h 2"/>
                  <a:gd name="T4" fmla="*/ 0 w 8"/>
                  <a:gd name="T5" fmla="*/ 2 h 2"/>
                  <a:gd name="T6" fmla="*/ 8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cubicBezTo>
                      <a:pt x="8" y="2"/>
                      <a:pt x="8" y="2"/>
                      <a:pt x="8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šľîḋe">
                <a:extLst>
                  <a:ext uri="{FF2B5EF4-FFF2-40B4-BE49-F238E27FC236}">
                    <a16:creationId xmlns:a16="http://schemas.microsoft.com/office/drawing/2014/main" id="{4DB27832-7B8F-49DD-93E8-0075470F5513}"/>
                  </a:ext>
                </a:extLst>
              </p:cNvPr>
              <p:cNvSpPr/>
              <p:nvPr/>
            </p:nvSpPr>
            <p:spPr bwMode="auto">
              <a:xfrm>
                <a:off x="3771901" y="3484563"/>
                <a:ext cx="7938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íṡḻíďê">
                <a:extLst>
                  <a:ext uri="{FF2B5EF4-FFF2-40B4-BE49-F238E27FC236}">
                    <a16:creationId xmlns:a16="http://schemas.microsoft.com/office/drawing/2014/main" id="{B8BE3871-12C4-47DC-8DA0-AAC06CADEB11}"/>
                  </a:ext>
                </a:extLst>
              </p:cNvPr>
              <p:cNvSpPr/>
              <p:nvPr/>
            </p:nvSpPr>
            <p:spPr bwMode="auto">
              <a:xfrm>
                <a:off x="3786188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20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20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ṥļiďé">
                <a:extLst>
                  <a:ext uri="{FF2B5EF4-FFF2-40B4-BE49-F238E27FC236}">
                    <a16:creationId xmlns:a16="http://schemas.microsoft.com/office/drawing/2014/main" id="{B6EBE2FD-6E90-43DE-B6F8-DE554C5E8B4F}"/>
                  </a:ext>
                </a:extLst>
              </p:cNvPr>
              <p:cNvSpPr/>
              <p:nvPr/>
            </p:nvSpPr>
            <p:spPr bwMode="auto">
              <a:xfrm>
                <a:off x="3994151" y="3484563"/>
                <a:ext cx="46038" cy="60325"/>
              </a:xfrm>
              <a:custGeom>
                <a:avLst/>
                <a:gdLst>
                  <a:gd name="T0" fmla="*/ 8 w 29"/>
                  <a:gd name="T1" fmla="*/ 0 h 38"/>
                  <a:gd name="T2" fmla="*/ 18 w 29"/>
                  <a:gd name="T3" fmla="*/ 0 h 38"/>
                  <a:gd name="T4" fmla="*/ 29 w 29"/>
                  <a:gd name="T5" fmla="*/ 8 h 38"/>
                  <a:gd name="T6" fmla="*/ 29 w 29"/>
                  <a:gd name="T7" fmla="*/ 38 h 38"/>
                  <a:gd name="T8" fmla="*/ 0 w 29"/>
                  <a:gd name="T9" fmla="*/ 38 h 38"/>
                  <a:gd name="T10" fmla="*/ 0 w 29"/>
                  <a:gd name="T11" fmla="*/ 8 h 38"/>
                  <a:gd name="T12" fmla="*/ 8 w 29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8">
                    <a:moveTo>
                      <a:pt x="8" y="0"/>
                    </a:moveTo>
                    <a:lnTo>
                      <a:pt x="18" y="0"/>
                    </a:lnTo>
                    <a:lnTo>
                      <a:pt x="29" y="8"/>
                    </a:lnTo>
                    <a:lnTo>
                      <a:pt x="29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ïSļíḋe">
                <a:extLst>
                  <a:ext uri="{FF2B5EF4-FFF2-40B4-BE49-F238E27FC236}">
                    <a16:creationId xmlns:a16="http://schemas.microsoft.com/office/drawing/2014/main" id="{F2863064-96C7-4665-82BE-193F787767D7}"/>
                  </a:ext>
                </a:extLst>
              </p:cNvPr>
              <p:cNvSpPr/>
              <p:nvPr/>
            </p:nvSpPr>
            <p:spPr bwMode="auto">
              <a:xfrm>
                <a:off x="3851276" y="3484563"/>
                <a:ext cx="122238" cy="60325"/>
              </a:xfrm>
              <a:custGeom>
                <a:avLst/>
                <a:gdLst>
                  <a:gd name="T0" fmla="*/ 9 w 77"/>
                  <a:gd name="T1" fmla="*/ 0 h 38"/>
                  <a:gd name="T2" fmla="*/ 69 w 77"/>
                  <a:gd name="T3" fmla="*/ 0 h 38"/>
                  <a:gd name="T4" fmla="*/ 77 w 77"/>
                  <a:gd name="T5" fmla="*/ 8 h 38"/>
                  <a:gd name="T6" fmla="*/ 77 w 77"/>
                  <a:gd name="T7" fmla="*/ 38 h 38"/>
                  <a:gd name="T8" fmla="*/ 0 w 77"/>
                  <a:gd name="T9" fmla="*/ 38 h 38"/>
                  <a:gd name="T10" fmla="*/ 0 w 77"/>
                  <a:gd name="T11" fmla="*/ 8 h 38"/>
                  <a:gd name="T12" fmla="*/ 9 w 77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38">
                    <a:moveTo>
                      <a:pt x="9" y="0"/>
                    </a:moveTo>
                    <a:lnTo>
                      <a:pt x="69" y="0"/>
                    </a:lnTo>
                    <a:lnTo>
                      <a:pt x="77" y="8"/>
                    </a:lnTo>
                    <a:lnTo>
                      <a:pt x="77" y="38"/>
                    </a:lnTo>
                    <a:lnTo>
                      <a:pt x="0" y="38"/>
                    </a:lnTo>
                    <a:lnTo>
                      <a:pt x="0" y="8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iSḷïḍè">
                <a:extLst>
                  <a:ext uri="{FF2B5EF4-FFF2-40B4-BE49-F238E27FC236}">
                    <a16:creationId xmlns:a16="http://schemas.microsoft.com/office/drawing/2014/main" id="{FB77952F-64BD-4B14-AA93-EE535599DE95}"/>
                  </a:ext>
                </a:extLst>
              </p:cNvPr>
              <p:cNvSpPr/>
              <p:nvPr/>
            </p:nvSpPr>
            <p:spPr bwMode="auto">
              <a:xfrm>
                <a:off x="4046538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ïṧliḍè">
                <a:extLst>
                  <a:ext uri="{FF2B5EF4-FFF2-40B4-BE49-F238E27FC236}">
                    <a16:creationId xmlns:a16="http://schemas.microsoft.com/office/drawing/2014/main" id="{ACF7998E-F885-4670-8018-4C93A3692FC9}"/>
                  </a:ext>
                </a:extLst>
              </p:cNvPr>
              <p:cNvSpPr/>
              <p:nvPr/>
            </p:nvSpPr>
            <p:spPr bwMode="auto">
              <a:xfrm>
                <a:off x="3838576" y="3484563"/>
                <a:ext cx="6350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ṣḻíḓè">
                <a:extLst>
                  <a:ext uri="{FF2B5EF4-FFF2-40B4-BE49-F238E27FC236}">
                    <a16:creationId xmlns:a16="http://schemas.microsoft.com/office/drawing/2014/main" id="{BC204C22-86C2-4EA6-9DFA-35D205C37F08}"/>
                  </a:ext>
                </a:extLst>
              </p:cNvPr>
              <p:cNvSpPr/>
              <p:nvPr/>
            </p:nvSpPr>
            <p:spPr bwMode="auto">
              <a:xfrm>
                <a:off x="3979863" y="3484563"/>
                <a:ext cx="3175" cy="60325"/>
              </a:xfrm>
              <a:prstGeom prst="rect">
                <a:avLst/>
              </a:prstGeom>
              <a:solidFill>
                <a:srgbClr val="FFFFFF"/>
              </a:solidFill>
              <a:ln w="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íṡḷïḍé">
                <a:extLst>
                  <a:ext uri="{FF2B5EF4-FFF2-40B4-BE49-F238E27FC236}">
                    <a16:creationId xmlns:a16="http://schemas.microsoft.com/office/drawing/2014/main" id="{F240284E-977C-4BFB-803B-7BA23781C08D}"/>
                  </a:ext>
                </a:extLst>
              </p:cNvPr>
              <p:cNvSpPr/>
              <p:nvPr/>
            </p:nvSpPr>
            <p:spPr bwMode="auto">
              <a:xfrm>
                <a:off x="3811588" y="3551238"/>
                <a:ext cx="2047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îṡľíḍè">
                <a:extLst>
                  <a:ext uri="{FF2B5EF4-FFF2-40B4-BE49-F238E27FC236}">
                    <a16:creationId xmlns:a16="http://schemas.microsoft.com/office/drawing/2014/main" id="{24AF396E-018A-41ED-938A-720450026A52}"/>
                  </a:ext>
                </a:extLst>
              </p:cNvPr>
              <p:cNvSpPr/>
              <p:nvPr/>
            </p:nvSpPr>
            <p:spPr bwMode="auto">
              <a:xfrm>
                <a:off x="3805238" y="3557588"/>
                <a:ext cx="214313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îšļíḑe">
                <a:extLst>
                  <a:ext uri="{FF2B5EF4-FFF2-40B4-BE49-F238E27FC236}">
                    <a16:creationId xmlns:a16="http://schemas.microsoft.com/office/drawing/2014/main" id="{E0629D17-9C26-4229-AC9F-F34F09D817DE}"/>
                  </a:ext>
                </a:extLst>
              </p:cNvPr>
              <p:cNvSpPr/>
              <p:nvPr/>
            </p:nvSpPr>
            <p:spPr bwMode="auto">
              <a:xfrm>
                <a:off x="3802063" y="3567113"/>
                <a:ext cx="220663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ṡ1îḍe">
                <a:extLst>
                  <a:ext uri="{FF2B5EF4-FFF2-40B4-BE49-F238E27FC236}">
                    <a16:creationId xmlns:a16="http://schemas.microsoft.com/office/drawing/2014/main" id="{60D1D9E1-DD6E-4CED-A118-7522AD2E4B85}"/>
                  </a:ext>
                </a:extLst>
              </p:cNvPr>
              <p:cNvSpPr/>
              <p:nvPr/>
            </p:nvSpPr>
            <p:spPr bwMode="auto">
              <a:xfrm>
                <a:off x="3802063" y="3570288"/>
                <a:ext cx="2238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îṩ1íḋè">
                <a:extLst>
                  <a:ext uri="{FF2B5EF4-FFF2-40B4-BE49-F238E27FC236}">
                    <a16:creationId xmlns:a16="http://schemas.microsoft.com/office/drawing/2014/main" id="{0DFB190B-62EA-4466-8A66-34D7000C56EC}"/>
                  </a:ext>
                </a:extLst>
              </p:cNvPr>
              <p:cNvSpPr/>
              <p:nvPr/>
            </p:nvSpPr>
            <p:spPr bwMode="auto">
              <a:xfrm>
                <a:off x="3795713" y="3581400"/>
                <a:ext cx="234950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îṥliďê">
                <a:extLst>
                  <a:ext uri="{FF2B5EF4-FFF2-40B4-BE49-F238E27FC236}">
                    <a16:creationId xmlns:a16="http://schemas.microsoft.com/office/drawing/2014/main" id="{2EF0C56E-290A-4F94-96F7-F094F4534EA8}"/>
                  </a:ext>
                </a:extLst>
              </p:cNvPr>
              <p:cNvSpPr/>
              <p:nvPr/>
            </p:nvSpPr>
            <p:spPr bwMode="auto">
              <a:xfrm>
                <a:off x="3633788" y="3587750"/>
                <a:ext cx="560388" cy="6350"/>
              </a:xfrm>
              <a:custGeom>
                <a:avLst/>
                <a:gdLst>
                  <a:gd name="T0" fmla="*/ 0 w 353"/>
                  <a:gd name="T1" fmla="*/ 0 h 4"/>
                  <a:gd name="T2" fmla="*/ 353 w 353"/>
                  <a:gd name="T3" fmla="*/ 0 h 4"/>
                  <a:gd name="T4" fmla="*/ 351 w 353"/>
                  <a:gd name="T5" fmla="*/ 4 h 4"/>
                  <a:gd name="T6" fmla="*/ 2 w 353"/>
                  <a:gd name="T7" fmla="*/ 4 h 4"/>
                  <a:gd name="T8" fmla="*/ 0 w 35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3" h="4">
                    <a:moveTo>
                      <a:pt x="0" y="0"/>
                    </a:moveTo>
                    <a:lnTo>
                      <a:pt x="353" y="0"/>
                    </a:lnTo>
                    <a:lnTo>
                      <a:pt x="351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í$ḷiḋe">
                <a:extLst>
                  <a:ext uri="{FF2B5EF4-FFF2-40B4-BE49-F238E27FC236}">
                    <a16:creationId xmlns:a16="http://schemas.microsoft.com/office/drawing/2014/main" id="{717FCD8E-EAD1-4781-AE85-3ADEDA8E9526}"/>
                  </a:ext>
                </a:extLst>
              </p:cNvPr>
              <p:cNvSpPr/>
              <p:nvPr/>
            </p:nvSpPr>
            <p:spPr bwMode="auto">
              <a:xfrm>
                <a:off x="3640138" y="3600450"/>
                <a:ext cx="547688" cy="6350"/>
              </a:xfrm>
              <a:custGeom>
                <a:avLst/>
                <a:gdLst>
                  <a:gd name="T0" fmla="*/ 0 w 345"/>
                  <a:gd name="T1" fmla="*/ 0 h 4"/>
                  <a:gd name="T2" fmla="*/ 345 w 345"/>
                  <a:gd name="T3" fmla="*/ 0 h 4"/>
                  <a:gd name="T4" fmla="*/ 343 w 345"/>
                  <a:gd name="T5" fmla="*/ 4 h 4"/>
                  <a:gd name="T6" fmla="*/ 2 w 345"/>
                  <a:gd name="T7" fmla="*/ 4 h 4"/>
                  <a:gd name="T8" fmla="*/ 0 w 34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5" h="4">
                    <a:moveTo>
                      <a:pt x="0" y="0"/>
                    </a:moveTo>
                    <a:lnTo>
                      <a:pt x="345" y="0"/>
                    </a:lnTo>
                    <a:lnTo>
                      <a:pt x="343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ŝľïḑè">
                <a:extLst>
                  <a:ext uri="{FF2B5EF4-FFF2-40B4-BE49-F238E27FC236}">
                    <a16:creationId xmlns:a16="http://schemas.microsoft.com/office/drawing/2014/main" id="{7FCFC410-3DCB-4D82-8ACF-7BEF2D0C47BA}"/>
                  </a:ext>
                </a:extLst>
              </p:cNvPr>
              <p:cNvSpPr/>
              <p:nvPr/>
            </p:nvSpPr>
            <p:spPr bwMode="auto">
              <a:xfrm>
                <a:off x="3736976" y="3406775"/>
                <a:ext cx="352425" cy="4763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ŝ1ïdè">
                <a:extLst>
                  <a:ext uri="{FF2B5EF4-FFF2-40B4-BE49-F238E27FC236}">
                    <a16:creationId xmlns:a16="http://schemas.microsoft.com/office/drawing/2014/main" id="{17E8AB54-B9DF-41B0-ADF8-AE19463BA794}"/>
                  </a:ext>
                </a:extLst>
              </p:cNvPr>
              <p:cNvSpPr/>
              <p:nvPr/>
            </p:nvSpPr>
            <p:spPr bwMode="auto">
              <a:xfrm>
                <a:off x="3746501" y="3417888"/>
                <a:ext cx="3333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íšḻîdê">
                <a:extLst>
                  <a:ext uri="{FF2B5EF4-FFF2-40B4-BE49-F238E27FC236}">
                    <a16:creationId xmlns:a16="http://schemas.microsoft.com/office/drawing/2014/main" id="{0DC86C63-8E09-4ECF-99B3-51FDFA4AFD77}"/>
                  </a:ext>
                </a:extLst>
              </p:cNvPr>
              <p:cNvSpPr/>
              <p:nvPr/>
            </p:nvSpPr>
            <p:spPr bwMode="auto">
              <a:xfrm>
                <a:off x="3805238" y="3417888"/>
                <a:ext cx="211138" cy="1588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ṡ1iḑê">
                <a:extLst>
                  <a:ext uri="{FF2B5EF4-FFF2-40B4-BE49-F238E27FC236}">
                    <a16:creationId xmlns:a16="http://schemas.microsoft.com/office/drawing/2014/main" id="{E7C49BFF-0E3E-4F01-97B8-CD6FFCF49578}"/>
                  </a:ext>
                </a:extLst>
              </p:cNvPr>
              <p:cNvSpPr/>
              <p:nvPr/>
            </p:nvSpPr>
            <p:spPr bwMode="auto">
              <a:xfrm>
                <a:off x="3811588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ïṩ1îďè">
                <a:extLst>
                  <a:ext uri="{FF2B5EF4-FFF2-40B4-BE49-F238E27FC236}">
                    <a16:creationId xmlns:a16="http://schemas.microsoft.com/office/drawing/2014/main" id="{39375C0D-7B61-42BD-9906-96CCE6CA342F}"/>
                  </a:ext>
                </a:extLst>
              </p:cNvPr>
              <p:cNvSpPr/>
              <p:nvPr/>
            </p:nvSpPr>
            <p:spPr bwMode="auto">
              <a:xfrm>
                <a:off x="3802063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$1iḓê">
                <a:extLst>
                  <a:ext uri="{FF2B5EF4-FFF2-40B4-BE49-F238E27FC236}">
                    <a16:creationId xmlns:a16="http://schemas.microsoft.com/office/drawing/2014/main" id="{E689DB5B-A908-4960-845A-47E6FB604D81}"/>
                  </a:ext>
                </a:extLst>
              </p:cNvPr>
              <p:cNvSpPr/>
              <p:nvPr/>
            </p:nvSpPr>
            <p:spPr bwMode="auto">
              <a:xfrm>
                <a:off x="3789363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ïṧḷîḍè">
                <a:extLst>
                  <a:ext uri="{FF2B5EF4-FFF2-40B4-BE49-F238E27FC236}">
                    <a16:creationId xmlns:a16="http://schemas.microsoft.com/office/drawing/2014/main" id="{90E0E6C4-DF70-4097-86EC-71D2D7D8C500}"/>
                  </a:ext>
                </a:extLst>
              </p:cNvPr>
              <p:cNvSpPr/>
              <p:nvPr/>
            </p:nvSpPr>
            <p:spPr bwMode="auto">
              <a:xfrm>
                <a:off x="3822701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íšļïḓe">
                <a:extLst>
                  <a:ext uri="{FF2B5EF4-FFF2-40B4-BE49-F238E27FC236}">
                    <a16:creationId xmlns:a16="http://schemas.microsoft.com/office/drawing/2014/main" id="{3CED8BB2-D7D8-45D9-BF65-EB5E1002B4DC}"/>
                  </a:ext>
                </a:extLst>
              </p:cNvPr>
              <p:cNvSpPr/>
              <p:nvPr/>
            </p:nvSpPr>
            <p:spPr bwMode="auto">
              <a:xfrm>
                <a:off x="38322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iṧ1îḓê">
                <a:extLst>
                  <a:ext uri="{FF2B5EF4-FFF2-40B4-BE49-F238E27FC236}">
                    <a16:creationId xmlns:a16="http://schemas.microsoft.com/office/drawing/2014/main" id="{1C7F9E21-40CC-426D-B7C6-4923202CC5E6}"/>
                  </a:ext>
                </a:extLst>
              </p:cNvPr>
              <p:cNvSpPr/>
              <p:nvPr/>
            </p:nvSpPr>
            <p:spPr bwMode="auto">
              <a:xfrm>
                <a:off x="38449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ŝ1îďe">
                <a:extLst>
                  <a:ext uri="{FF2B5EF4-FFF2-40B4-BE49-F238E27FC236}">
                    <a16:creationId xmlns:a16="http://schemas.microsoft.com/office/drawing/2014/main" id="{91352ECA-A077-42DE-9D78-B811575BC116}"/>
                  </a:ext>
                </a:extLst>
              </p:cNvPr>
              <p:cNvSpPr/>
              <p:nvPr/>
            </p:nvSpPr>
            <p:spPr bwMode="auto">
              <a:xfrm>
                <a:off x="3854451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$ḷîḍê">
                <a:extLst>
                  <a:ext uri="{FF2B5EF4-FFF2-40B4-BE49-F238E27FC236}">
                    <a16:creationId xmlns:a16="http://schemas.microsoft.com/office/drawing/2014/main" id="{57BDADB0-03AB-4D6F-AFC5-075CB62E420F}"/>
                  </a:ext>
                </a:extLst>
              </p:cNvPr>
              <p:cNvSpPr/>
              <p:nvPr/>
            </p:nvSpPr>
            <p:spPr bwMode="auto">
              <a:xfrm>
                <a:off x="386556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ṩ1iḓè">
                <a:extLst>
                  <a:ext uri="{FF2B5EF4-FFF2-40B4-BE49-F238E27FC236}">
                    <a16:creationId xmlns:a16="http://schemas.microsoft.com/office/drawing/2014/main" id="{68D3C912-D7DC-4862-84AB-81F9542E6059}"/>
                  </a:ext>
                </a:extLst>
              </p:cNvPr>
              <p:cNvSpPr/>
              <p:nvPr/>
            </p:nvSpPr>
            <p:spPr bwMode="auto">
              <a:xfrm>
                <a:off x="3878263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iṧḻîďé">
                <a:extLst>
                  <a:ext uri="{FF2B5EF4-FFF2-40B4-BE49-F238E27FC236}">
                    <a16:creationId xmlns:a16="http://schemas.microsoft.com/office/drawing/2014/main" id="{F704FA79-16F2-495F-A354-165623AA7ACE}"/>
                  </a:ext>
                </a:extLst>
              </p:cNvPr>
              <p:cNvSpPr/>
              <p:nvPr/>
            </p:nvSpPr>
            <p:spPr bwMode="auto">
              <a:xfrm>
                <a:off x="38877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iSḷiḍe">
                <a:extLst>
                  <a:ext uri="{FF2B5EF4-FFF2-40B4-BE49-F238E27FC236}">
                    <a16:creationId xmlns:a16="http://schemas.microsoft.com/office/drawing/2014/main" id="{8053F7E1-6CC9-4394-B9E7-E350A4367F22}"/>
                  </a:ext>
                </a:extLst>
              </p:cNvPr>
              <p:cNvSpPr/>
              <p:nvPr/>
            </p:nvSpPr>
            <p:spPr bwMode="auto">
              <a:xfrm>
                <a:off x="3897313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íṧļide">
                <a:extLst>
                  <a:ext uri="{FF2B5EF4-FFF2-40B4-BE49-F238E27FC236}">
                    <a16:creationId xmlns:a16="http://schemas.microsoft.com/office/drawing/2014/main" id="{96B62E91-88A4-43D4-9076-85D7D2AABDF3}"/>
                  </a:ext>
                </a:extLst>
              </p:cNvPr>
              <p:cNvSpPr/>
              <p:nvPr/>
            </p:nvSpPr>
            <p:spPr bwMode="auto">
              <a:xfrm>
                <a:off x="3908426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sḻîḋè">
                <a:extLst>
                  <a:ext uri="{FF2B5EF4-FFF2-40B4-BE49-F238E27FC236}">
                    <a16:creationId xmlns:a16="http://schemas.microsoft.com/office/drawing/2014/main" id="{E3BA6E33-27E9-4028-8688-6A51AD81383F}"/>
                  </a:ext>
                </a:extLst>
              </p:cNvPr>
              <p:cNvSpPr/>
              <p:nvPr/>
            </p:nvSpPr>
            <p:spPr bwMode="auto">
              <a:xfrm>
                <a:off x="39211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ṥļîḑe">
                <a:extLst>
                  <a:ext uri="{FF2B5EF4-FFF2-40B4-BE49-F238E27FC236}">
                    <a16:creationId xmlns:a16="http://schemas.microsoft.com/office/drawing/2014/main" id="{C6439B15-E808-45F4-92E2-FEE7840B979B}"/>
                  </a:ext>
                </a:extLst>
              </p:cNvPr>
              <p:cNvSpPr/>
              <p:nvPr/>
            </p:nvSpPr>
            <p:spPr bwMode="auto">
              <a:xfrm>
                <a:off x="3930651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ïSḻîḑê">
                <a:extLst>
                  <a:ext uri="{FF2B5EF4-FFF2-40B4-BE49-F238E27FC236}">
                    <a16:creationId xmlns:a16="http://schemas.microsoft.com/office/drawing/2014/main" id="{43BA3A5F-E312-4B40-98AF-422C00CB4499}"/>
                  </a:ext>
                </a:extLst>
              </p:cNvPr>
              <p:cNvSpPr/>
              <p:nvPr/>
            </p:nvSpPr>
            <p:spPr bwMode="auto">
              <a:xfrm>
                <a:off x="3940176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i$ḻîḍê">
                <a:extLst>
                  <a:ext uri="{FF2B5EF4-FFF2-40B4-BE49-F238E27FC236}">
                    <a16:creationId xmlns:a16="http://schemas.microsoft.com/office/drawing/2014/main" id="{6273B674-0DFD-4C71-B53A-0A5E5E1134CC}"/>
                  </a:ext>
                </a:extLst>
              </p:cNvPr>
              <p:cNvSpPr/>
              <p:nvPr/>
            </p:nvSpPr>
            <p:spPr bwMode="auto">
              <a:xfrm>
                <a:off x="3951288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2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ṡḷîḍé">
                <a:extLst>
                  <a:ext uri="{FF2B5EF4-FFF2-40B4-BE49-F238E27FC236}">
                    <a16:creationId xmlns:a16="http://schemas.microsoft.com/office/drawing/2014/main" id="{227EE9AF-BC6A-4DD7-AB1F-7E971A00D7BD}"/>
                  </a:ext>
                </a:extLst>
              </p:cNvPr>
              <p:cNvSpPr/>
              <p:nvPr/>
            </p:nvSpPr>
            <p:spPr bwMode="auto">
              <a:xfrm>
                <a:off x="3963988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íśľïḍé">
                <a:extLst>
                  <a:ext uri="{FF2B5EF4-FFF2-40B4-BE49-F238E27FC236}">
                    <a16:creationId xmlns:a16="http://schemas.microsoft.com/office/drawing/2014/main" id="{A14181B4-926D-4BE9-82FB-4790BB93C68B}"/>
                  </a:ext>
                </a:extLst>
              </p:cNvPr>
              <p:cNvSpPr/>
              <p:nvPr/>
            </p:nvSpPr>
            <p:spPr bwMode="auto">
              <a:xfrm>
                <a:off x="3973513" y="3421063"/>
                <a:ext cx="6350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ṣļîdè">
                <a:extLst>
                  <a:ext uri="{FF2B5EF4-FFF2-40B4-BE49-F238E27FC236}">
                    <a16:creationId xmlns:a16="http://schemas.microsoft.com/office/drawing/2014/main" id="{EABC4195-C612-4980-8CDC-55C376955FCA}"/>
                  </a:ext>
                </a:extLst>
              </p:cNvPr>
              <p:cNvSpPr/>
              <p:nvPr/>
            </p:nvSpPr>
            <p:spPr bwMode="auto">
              <a:xfrm>
                <a:off x="3983038" y="3421063"/>
                <a:ext cx="7938" cy="30163"/>
              </a:xfrm>
              <a:custGeom>
                <a:avLst/>
                <a:gdLst>
                  <a:gd name="T0" fmla="*/ 0 w 2"/>
                  <a:gd name="T1" fmla="*/ 0 h 9"/>
                  <a:gd name="T2" fmla="*/ 2 w 2"/>
                  <a:gd name="T3" fmla="*/ 0 h 9"/>
                  <a:gd name="T4" fmla="*/ 2 w 2"/>
                  <a:gd name="T5" fmla="*/ 9 h 9"/>
                  <a:gd name="T6" fmla="*/ 0 w 2"/>
                  <a:gd name="T7" fmla="*/ 9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3"/>
                      <a:pt x="2" y="6"/>
                      <a:pt x="2" y="9"/>
                    </a:cubicBezTo>
                    <a:cubicBezTo>
                      <a:pt x="1" y="9"/>
                      <a:pt x="1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iṥľídè">
                <a:extLst>
                  <a:ext uri="{FF2B5EF4-FFF2-40B4-BE49-F238E27FC236}">
                    <a16:creationId xmlns:a16="http://schemas.microsoft.com/office/drawing/2014/main" id="{BCC7DD05-D909-44F8-815A-5F1632C40FBE}"/>
                  </a:ext>
                </a:extLst>
              </p:cNvPr>
              <p:cNvSpPr/>
              <p:nvPr/>
            </p:nvSpPr>
            <p:spPr bwMode="auto">
              <a:xfrm>
                <a:off x="3997326" y="3421063"/>
                <a:ext cx="3175" cy="30163"/>
              </a:xfrm>
              <a:custGeom>
                <a:avLst/>
                <a:gdLst>
                  <a:gd name="T0" fmla="*/ 0 w 1"/>
                  <a:gd name="T1" fmla="*/ 0 h 9"/>
                  <a:gd name="T2" fmla="*/ 1 w 1"/>
                  <a:gd name="T3" fmla="*/ 0 h 9"/>
                  <a:gd name="T4" fmla="*/ 1 w 1"/>
                  <a:gd name="T5" fmla="*/ 9 h 9"/>
                  <a:gd name="T6" fmla="*/ 0 w 1"/>
                  <a:gd name="T7" fmla="*/ 9 h 9"/>
                  <a:gd name="T8" fmla="*/ 0 w 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9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3"/>
                      <a:pt x="1" y="6"/>
                      <a:pt x="1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6"/>
                      <a:pt x="0" y="3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ṥlîďê">
                <a:extLst>
                  <a:ext uri="{FF2B5EF4-FFF2-40B4-BE49-F238E27FC236}">
                    <a16:creationId xmlns:a16="http://schemas.microsoft.com/office/drawing/2014/main" id="{756ACE74-54D3-49A4-A01B-2CE56E66D173}"/>
                  </a:ext>
                </a:extLst>
              </p:cNvPr>
              <p:cNvSpPr/>
              <p:nvPr/>
            </p:nvSpPr>
            <p:spPr bwMode="auto">
              <a:xfrm>
                <a:off x="4006851" y="3421063"/>
                <a:ext cx="3175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isḷïdê">
                <a:extLst>
                  <a:ext uri="{FF2B5EF4-FFF2-40B4-BE49-F238E27FC236}">
                    <a16:creationId xmlns:a16="http://schemas.microsoft.com/office/drawing/2014/main" id="{49ABD034-5CF5-4ADF-8DAA-791F2C34883C}"/>
                  </a:ext>
                </a:extLst>
              </p:cNvPr>
              <p:cNvSpPr/>
              <p:nvPr/>
            </p:nvSpPr>
            <p:spPr bwMode="auto">
              <a:xfrm>
                <a:off x="4016376" y="3421063"/>
                <a:ext cx="6350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š1ïḍè">
                <a:extLst>
                  <a:ext uri="{FF2B5EF4-FFF2-40B4-BE49-F238E27FC236}">
                    <a16:creationId xmlns:a16="http://schemas.microsoft.com/office/drawing/2014/main" id="{D4D4025E-61FA-402D-B402-00B239BAFBA4}"/>
                  </a:ext>
                </a:extLst>
              </p:cNvPr>
              <p:cNvSpPr/>
              <p:nvPr/>
            </p:nvSpPr>
            <p:spPr bwMode="auto">
              <a:xfrm>
                <a:off x="4025901" y="3421063"/>
                <a:ext cx="7938" cy="3016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ïşļíḋê">
                <a:extLst>
                  <a:ext uri="{FF2B5EF4-FFF2-40B4-BE49-F238E27FC236}">
                    <a16:creationId xmlns:a16="http://schemas.microsoft.com/office/drawing/2014/main" id="{08241C93-0BD3-42AD-9E74-FA441656E509}"/>
                  </a:ext>
                </a:extLst>
              </p:cNvPr>
              <p:cNvSpPr/>
              <p:nvPr/>
            </p:nvSpPr>
            <p:spPr bwMode="auto">
              <a:xfrm>
                <a:off x="4040188" y="3417888"/>
                <a:ext cx="39688" cy="3175"/>
              </a:xfrm>
              <a:prstGeom prst="rect">
                <a:avLst/>
              </a:pr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ṥlîḍê">
                <a:extLst>
                  <a:ext uri="{FF2B5EF4-FFF2-40B4-BE49-F238E27FC236}">
                    <a16:creationId xmlns:a16="http://schemas.microsoft.com/office/drawing/2014/main" id="{6A9BF84B-0330-4274-AACD-C6C24275D8DD}"/>
                  </a:ext>
                </a:extLst>
              </p:cNvPr>
              <p:cNvSpPr/>
              <p:nvPr/>
            </p:nvSpPr>
            <p:spPr bwMode="auto">
              <a:xfrm>
                <a:off x="3679826" y="3490913"/>
                <a:ext cx="17463" cy="63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íSlíḑê">
                <a:extLst>
                  <a:ext uri="{FF2B5EF4-FFF2-40B4-BE49-F238E27FC236}">
                    <a16:creationId xmlns:a16="http://schemas.microsoft.com/office/drawing/2014/main" id="{214F90F3-3858-45CA-A20B-263DA78774FB}"/>
                  </a:ext>
                </a:extLst>
              </p:cNvPr>
              <p:cNvSpPr/>
              <p:nvPr/>
            </p:nvSpPr>
            <p:spPr bwMode="auto">
              <a:xfrm>
                <a:off x="3884613" y="3490913"/>
                <a:ext cx="55563" cy="53975"/>
              </a:xfrm>
              <a:custGeom>
                <a:avLst/>
                <a:gdLst>
                  <a:gd name="T0" fmla="*/ 0 w 35"/>
                  <a:gd name="T1" fmla="*/ 0 h 34"/>
                  <a:gd name="T2" fmla="*/ 35 w 35"/>
                  <a:gd name="T3" fmla="*/ 0 h 34"/>
                  <a:gd name="T4" fmla="*/ 35 w 35"/>
                  <a:gd name="T5" fmla="*/ 34 h 34"/>
                  <a:gd name="T6" fmla="*/ 0 w 35"/>
                  <a:gd name="T7" fmla="*/ 34 h 34"/>
                  <a:gd name="T8" fmla="*/ 0 w 35"/>
                  <a:gd name="T9" fmla="*/ 0 h 34"/>
                  <a:gd name="T10" fmla="*/ 0 w 35"/>
                  <a:gd name="T11" fmla="*/ 0 h 34"/>
                  <a:gd name="T12" fmla="*/ 4 w 35"/>
                  <a:gd name="T13" fmla="*/ 8 h 34"/>
                  <a:gd name="T14" fmla="*/ 4 w 35"/>
                  <a:gd name="T15" fmla="*/ 27 h 34"/>
                  <a:gd name="T16" fmla="*/ 8 w 35"/>
                  <a:gd name="T17" fmla="*/ 27 h 34"/>
                  <a:gd name="T18" fmla="*/ 8 w 35"/>
                  <a:gd name="T19" fmla="*/ 8 h 34"/>
                  <a:gd name="T20" fmla="*/ 4 w 35"/>
                  <a:gd name="T21" fmla="*/ 8 h 34"/>
                  <a:gd name="T22" fmla="*/ 4 w 35"/>
                  <a:gd name="T23" fmla="*/ 8 h 34"/>
                  <a:gd name="T24" fmla="*/ 29 w 35"/>
                  <a:gd name="T25" fmla="*/ 8 h 34"/>
                  <a:gd name="T26" fmla="*/ 29 w 35"/>
                  <a:gd name="T27" fmla="*/ 27 h 34"/>
                  <a:gd name="T28" fmla="*/ 31 w 35"/>
                  <a:gd name="T29" fmla="*/ 27 h 34"/>
                  <a:gd name="T30" fmla="*/ 31 w 35"/>
                  <a:gd name="T31" fmla="*/ 8 h 34"/>
                  <a:gd name="T32" fmla="*/ 29 w 35"/>
                  <a:gd name="T33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4">
                    <a:moveTo>
                      <a:pt x="0" y="0"/>
                    </a:moveTo>
                    <a:lnTo>
                      <a:pt x="35" y="0"/>
                    </a:lnTo>
                    <a:lnTo>
                      <a:pt x="35" y="34"/>
                    </a:lnTo>
                    <a:lnTo>
                      <a:pt x="0" y="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8"/>
                    </a:moveTo>
                    <a:lnTo>
                      <a:pt x="4" y="27"/>
                    </a:lnTo>
                    <a:lnTo>
                      <a:pt x="8" y="27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29" y="8"/>
                    </a:moveTo>
                    <a:lnTo>
                      <a:pt x="29" y="27"/>
                    </a:lnTo>
                    <a:lnTo>
                      <a:pt x="31" y="27"/>
                    </a:lnTo>
                    <a:lnTo>
                      <a:pt x="31" y="8"/>
                    </a:lnTo>
                    <a:lnTo>
                      <a:pt x="29" y="8"/>
                    </a:ln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ṣľíḓè">
                <a:extLst>
                  <a:ext uri="{FF2B5EF4-FFF2-40B4-BE49-F238E27FC236}">
                    <a16:creationId xmlns:a16="http://schemas.microsoft.com/office/drawing/2014/main" id="{AFCF0FA2-5256-45D5-A92B-D211CBDC83EE}"/>
                  </a:ext>
                </a:extLst>
              </p:cNvPr>
              <p:cNvSpPr/>
              <p:nvPr/>
            </p:nvSpPr>
            <p:spPr bwMode="auto">
              <a:xfrm>
                <a:off x="3551238" y="3067050"/>
                <a:ext cx="722313" cy="727075"/>
              </a:xfrm>
              <a:custGeom>
                <a:avLst/>
                <a:gdLst>
                  <a:gd name="T0" fmla="*/ 109 w 219"/>
                  <a:gd name="T1" fmla="*/ 0 h 218"/>
                  <a:gd name="T2" fmla="*/ 219 w 219"/>
                  <a:gd name="T3" fmla="*/ 109 h 218"/>
                  <a:gd name="T4" fmla="*/ 109 w 219"/>
                  <a:gd name="T5" fmla="*/ 218 h 218"/>
                  <a:gd name="T6" fmla="*/ 0 w 219"/>
                  <a:gd name="T7" fmla="*/ 109 h 218"/>
                  <a:gd name="T8" fmla="*/ 109 w 219"/>
                  <a:gd name="T9" fmla="*/ 0 h 218"/>
                  <a:gd name="T10" fmla="*/ 109 w 219"/>
                  <a:gd name="T11" fmla="*/ 3 h 218"/>
                  <a:gd name="T12" fmla="*/ 4 w 219"/>
                  <a:gd name="T13" fmla="*/ 109 h 218"/>
                  <a:gd name="T14" fmla="*/ 109 w 219"/>
                  <a:gd name="T15" fmla="*/ 215 h 218"/>
                  <a:gd name="T16" fmla="*/ 215 w 219"/>
                  <a:gd name="T17" fmla="*/ 109 h 218"/>
                  <a:gd name="T18" fmla="*/ 109 w 219"/>
                  <a:gd name="T19" fmla="*/ 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9" h="218">
                    <a:moveTo>
                      <a:pt x="109" y="0"/>
                    </a:moveTo>
                    <a:cubicBezTo>
                      <a:pt x="170" y="0"/>
                      <a:pt x="219" y="49"/>
                      <a:pt x="219" y="109"/>
                    </a:cubicBezTo>
                    <a:cubicBezTo>
                      <a:pt x="219" y="169"/>
                      <a:pt x="170" y="218"/>
                      <a:pt x="109" y="218"/>
                    </a:cubicBezTo>
                    <a:cubicBezTo>
                      <a:pt x="49" y="218"/>
                      <a:pt x="0" y="169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lose/>
                    <a:moveTo>
                      <a:pt x="109" y="3"/>
                    </a:moveTo>
                    <a:cubicBezTo>
                      <a:pt x="51" y="3"/>
                      <a:pt x="4" y="51"/>
                      <a:pt x="4" y="109"/>
                    </a:cubicBezTo>
                    <a:cubicBezTo>
                      <a:pt x="4" y="167"/>
                      <a:pt x="51" y="215"/>
                      <a:pt x="109" y="215"/>
                    </a:cubicBezTo>
                    <a:cubicBezTo>
                      <a:pt x="168" y="215"/>
                      <a:pt x="215" y="167"/>
                      <a:pt x="215" y="109"/>
                    </a:cubicBezTo>
                    <a:cubicBezTo>
                      <a:pt x="215" y="51"/>
                      <a:pt x="168" y="3"/>
                      <a:pt x="109" y="3"/>
                    </a:cubicBezTo>
                    <a:close/>
                  </a:path>
                </a:pathLst>
              </a:custGeom>
              <a:solidFill>
                <a:srgbClr val="1E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ïṥļîde">
              <a:extLst>
                <a:ext uri="{FF2B5EF4-FFF2-40B4-BE49-F238E27FC236}">
                  <a16:creationId xmlns:a16="http://schemas.microsoft.com/office/drawing/2014/main" id="{897FABE8-6A64-4C24-B250-04AF06F675B1}"/>
                </a:ext>
              </a:extLst>
            </p:cNvPr>
            <p:cNvGrpSpPr/>
            <p:nvPr/>
          </p:nvGrpSpPr>
          <p:grpSpPr>
            <a:xfrm>
              <a:off x="5777051" y="601725"/>
              <a:ext cx="1483367" cy="539516"/>
              <a:chOff x="4412452" y="3106738"/>
              <a:chExt cx="2312689" cy="841148"/>
            </a:xfrm>
          </p:grpSpPr>
          <p:grpSp>
            <p:nvGrpSpPr>
              <p:cNvPr id="11" name="is1iḑe">
                <a:extLst>
                  <a:ext uri="{FF2B5EF4-FFF2-40B4-BE49-F238E27FC236}">
                    <a16:creationId xmlns:a16="http://schemas.microsoft.com/office/drawing/2014/main" id="{6944BFEA-5D9D-48AE-A731-E9C06E41ED57}"/>
                  </a:ext>
                </a:extLst>
              </p:cNvPr>
              <p:cNvGrpSpPr/>
              <p:nvPr/>
            </p:nvGrpSpPr>
            <p:grpSpPr>
              <a:xfrm>
                <a:off x="4422776" y="3106738"/>
                <a:ext cx="2293937" cy="617538"/>
                <a:chOff x="4422776" y="3106738"/>
                <a:chExt cx="2293937" cy="617538"/>
              </a:xfrm>
            </p:grpSpPr>
            <p:sp>
              <p:nvSpPr>
                <p:cNvPr id="28" name="ïṧlíḋè">
                  <a:extLst>
                    <a:ext uri="{FF2B5EF4-FFF2-40B4-BE49-F238E27FC236}">
                      <a16:creationId xmlns:a16="http://schemas.microsoft.com/office/drawing/2014/main" id="{30FA3E98-F942-4C52-B871-C2420DF05C82}"/>
                    </a:ext>
                  </a:extLst>
                </p:cNvPr>
                <p:cNvSpPr/>
                <p:nvPr/>
              </p:nvSpPr>
              <p:spPr bwMode="auto">
                <a:xfrm>
                  <a:off x="4811713" y="3200400"/>
                  <a:ext cx="49213" cy="100013"/>
                </a:xfrm>
                <a:custGeom>
                  <a:avLst/>
                  <a:gdLst>
                    <a:gd name="T0" fmla="*/ 0 w 15"/>
                    <a:gd name="T1" fmla="*/ 1 h 30"/>
                    <a:gd name="T2" fmla="*/ 1 w 15"/>
                    <a:gd name="T3" fmla="*/ 12 h 30"/>
                    <a:gd name="T4" fmla="*/ 0 w 15"/>
                    <a:gd name="T5" fmla="*/ 21 h 30"/>
                    <a:gd name="T6" fmla="*/ 2 w 15"/>
                    <a:gd name="T7" fmla="*/ 28 h 30"/>
                    <a:gd name="T8" fmla="*/ 7 w 15"/>
                    <a:gd name="T9" fmla="*/ 30 h 30"/>
                    <a:gd name="T10" fmla="*/ 12 w 15"/>
                    <a:gd name="T11" fmla="*/ 26 h 30"/>
                    <a:gd name="T12" fmla="*/ 15 w 15"/>
                    <a:gd name="T13" fmla="*/ 18 h 30"/>
                    <a:gd name="T14" fmla="*/ 3 w 15"/>
                    <a:gd name="T15" fmla="*/ 0 h 30"/>
                    <a:gd name="T16" fmla="*/ 0 w 15"/>
                    <a:gd name="T17" fmla="*/ 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30">
                      <a:moveTo>
                        <a:pt x="0" y="1"/>
                      </a:move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1" y="13"/>
                        <a:pt x="0" y="18"/>
                        <a:pt x="0" y="21"/>
                      </a:cubicBezTo>
                      <a:cubicBezTo>
                        <a:pt x="0" y="24"/>
                        <a:pt x="2" y="25"/>
                        <a:pt x="2" y="28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9" y="27"/>
                        <a:pt x="10" y="29"/>
                        <a:pt x="12" y="26"/>
                      </a:cubicBezTo>
                      <a:cubicBezTo>
                        <a:pt x="14" y="23"/>
                        <a:pt x="14" y="21"/>
                        <a:pt x="15" y="18"/>
                      </a:cubicBezTo>
                      <a:cubicBezTo>
                        <a:pt x="12" y="7"/>
                        <a:pt x="13" y="5"/>
                        <a:pt x="3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9" name="îṣḷïḑê">
                  <a:extLst>
                    <a:ext uri="{FF2B5EF4-FFF2-40B4-BE49-F238E27FC236}">
                      <a16:creationId xmlns:a16="http://schemas.microsoft.com/office/drawing/2014/main" id="{A013F7E7-51E9-46F0-B1B7-E9E423B4308A}"/>
                    </a:ext>
                  </a:extLst>
                </p:cNvPr>
                <p:cNvSpPr/>
                <p:nvPr/>
              </p:nvSpPr>
              <p:spPr bwMode="auto">
                <a:xfrm>
                  <a:off x="5221288" y="3184525"/>
                  <a:ext cx="36513" cy="122238"/>
                </a:xfrm>
                <a:custGeom>
                  <a:avLst/>
                  <a:gdLst>
                    <a:gd name="T0" fmla="*/ 0 w 11"/>
                    <a:gd name="T1" fmla="*/ 3 h 37"/>
                    <a:gd name="T2" fmla="*/ 2 w 11"/>
                    <a:gd name="T3" fmla="*/ 14 h 37"/>
                    <a:gd name="T4" fmla="*/ 0 w 11"/>
                    <a:gd name="T5" fmla="*/ 33 h 37"/>
                    <a:gd name="T6" fmla="*/ 0 w 11"/>
                    <a:gd name="T7" fmla="*/ 36 h 37"/>
                    <a:gd name="T8" fmla="*/ 2 w 11"/>
                    <a:gd name="T9" fmla="*/ 37 h 37"/>
                    <a:gd name="T10" fmla="*/ 8 w 11"/>
                    <a:gd name="T11" fmla="*/ 27 h 37"/>
                    <a:gd name="T12" fmla="*/ 11 w 11"/>
                    <a:gd name="T13" fmla="*/ 17 h 37"/>
                    <a:gd name="T14" fmla="*/ 11 w 11"/>
                    <a:gd name="T15" fmla="*/ 15 h 37"/>
                    <a:gd name="T16" fmla="*/ 7 w 11"/>
                    <a:gd name="T17" fmla="*/ 2 h 37"/>
                    <a:gd name="T18" fmla="*/ 2 w 11"/>
                    <a:gd name="T19" fmla="*/ 0 h 37"/>
                    <a:gd name="T20" fmla="*/ 0 w 11"/>
                    <a:gd name="T21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37">
                      <a:moveTo>
                        <a:pt x="0" y="3"/>
                      </a:move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2" y="19"/>
                        <a:pt x="0" y="27"/>
                        <a:pt x="0" y="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2" y="36"/>
                        <a:pt x="1" y="37"/>
                        <a:pt x="2" y="37"/>
                      </a:cubicBezTo>
                      <a:cubicBezTo>
                        <a:pt x="3" y="37"/>
                        <a:pt x="7" y="28"/>
                        <a:pt x="8" y="27"/>
                      </a:cubicBezTo>
                      <a:cubicBezTo>
                        <a:pt x="9" y="24"/>
                        <a:pt x="11" y="21"/>
                        <a:pt x="11" y="17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1" y="7"/>
                        <a:pt x="8" y="7"/>
                        <a:pt x="7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1"/>
                        <a:pt x="0" y="1"/>
                        <a:pt x="0" y="3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0" name="îślíḑê">
                  <a:extLst>
                    <a:ext uri="{FF2B5EF4-FFF2-40B4-BE49-F238E27FC236}">
                      <a16:creationId xmlns:a16="http://schemas.microsoft.com/office/drawing/2014/main" id="{37B5C18C-E005-462D-A8C3-8E364D8DE967}"/>
                    </a:ext>
                  </a:extLst>
                </p:cNvPr>
                <p:cNvSpPr/>
                <p:nvPr/>
              </p:nvSpPr>
              <p:spPr bwMode="auto">
                <a:xfrm>
                  <a:off x="4554538" y="3251200"/>
                  <a:ext cx="119063" cy="58738"/>
                </a:xfrm>
                <a:custGeom>
                  <a:avLst/>
                  <a:gdLst>
                    <a:gd name="T0" fmla="*/ 0 w 36"/>
                    <a:gd name="T1" fmla="*/ 15 h 18"/>
                    <a:gd name="T2" fmla="*/ 2 w 36"/>
                    <a:gd name="T3" fmla="*/ 16 h 18"/>
                    <a:gd name="T4" fmla="*/ 13 w 36"/>
                    <a:gd name="T5" fmla="*/ 18 h 18"/>
                    <a:gd name="T6" fmla="*/ 16 w 36"/>
                    <a:gd name="T7" fmla="*/ 18 h 18"/>
                    <a:gd name="T8" fmla="*/ 22 w 36"/>
                    <a:gd name="T9" fmla="*/ 17 h 18"/>
                    <a:gd name="T10" fmla="*/ 23 w 36"/>
                    <a:gd name="T11" fmla="*/ 17 h 18"/>
                    <a:gd name="T12" fmla="*/ 30 w 36"/>
                    <a:gd name="T13" fmla="*/ 13 h 18"/>
                    <a:gd name="T14" fmla="*/ 36 w 36"/>
                    <a:gd name="T15" fmla="*/ 8 h 18"/>
                    <a:gd name="T16" fmla="*/ 36 w 36"/>
                    <a:gd name="T17" fmla="*/ 7 h 18"/>
                    <a:gd name="T18" fmla="*/ 36 w 36"/>
                    <a:gd name="T19" fmla="*/ 4 h 18"/>
                    <a:gd name="T20" fmla="*/ 32 w 36"/>
                    <a:gd name="T21" fmla="*/ 0 h 18"/>
                    <a:gd name="T22" fmla="*/ 24 w 36"/>
                    <a:gd name="T23" fmla="*/ 3 h 18"/>
                    <a:gd name="T24" fmla="*/ 16 w 36"/>
                    <a:gd name="T25" fmla="*/ 7 h 18"/>
                    <a:gd name="T26" fmla="*/ 0 w 36"/>
                    <a:gd name="T27" fmla="*/ 15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18">
                      <a:moveTo>
                        <a:pt x="0" y="15"/>
                      </a:moveTo>
                      <a:cubicBezTo>
                        <a:pt x="1" y="16"/>
                        <a:pt x="1" y="16"/>
                        <a:pt x="2" y="16"/>
                      </a:cubicBezTo>
                      <a:cubicBezTo>
                        <a:pt x="6" y="16"/>
                        <a:pt x="9" y="18"/>
                        <a:pt x="13" y="18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6" y="16"/>
                        <a:pt x="28" y="14"/>
                        <a:pt x="30" y="13"/>
                      </a:cubicBezTo>
                      <a:cubicBezTo>
                        <a:pt x="34" y="11"/>
                        <a:pt x="33" y="10"/>
                        <a:pt x="36" y="8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6" y="4"/>
                        <a:pt x="36" y="4"/>
                        <a:pt x="36" y="4"/>
                      </a:cubicBezTo>
                      <a:cubicBezTo>
                        <a:pt x="36" y="1"/>
                        <a:pt x="33" y="2"/>
                        <a:pt x="32" y="0"/>
                      </a:cubicBezTo>
                      <a:cubicBezTo>
                        <a:pt x="29" y="1"/>
                        <a:pt x="27" y="1"/>
                        <a:pt x="24" y="3"/>
                      </a:cubicBezTo>
                      <a:cubicBezTo>
                        <a:pt x="21" y="4"/>
                        <a:pt x="19" y="6"/>
                        <a:pt x="16" y="7"/>
                      </a:cubicBezTo>
                      <a:cubicBezTo>
                        <a:pt x="11" y="11"/>
                        <a:pt x="4" y="10"/>
                        <a:pt x="0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1" name="ïṩ1íḋé">
                  <a:extLst>
                    <a:ext uri="{FF2B5EF4-FFF2-40B4-BE49-F238E27FC236}">
                      <a16:creationId xmlns:a16="http://schemas.microsoft.com/office/drawing/2014/main" id="{72377564-DC6B-4D24-A98E-423CF161B13C}"/>
                    </a:ext>
                  </a:extLst>
                </p:cNvPr>
                <p:cNvSpPr/>
                <p:nvPr/>
              </p:nvSpPr>
              <p:spPr bwMode="auto">
                <a:xfrm>
                  <a:off x="6359526" y="3263900"/>
                  <a:ext cx="93663" cy="139700"/>
                </a:xfrm>
                <a:custGeom>
                  <a:avLst/>
                  <a:gdLst>
                    <a:gd name="T0" fmla="*/ 15 w 28"/>
                    <a:gd name="T1" fmla="*/ 1 h 42"/>
                    <a:gd name="T2" fmla="*/ 6 w 28"/>
                    <a:gd name="T3" fmla="*/ 11 h 42"/>
                    <a:gd name="T4" fmla="*/ 6 w 28"/>
                    <a:gd name="T5" fmla="*/ 13 h 42"/>
                    <a:gd name="T6" fmla="*/ 5 w 28"/>
                    <a:gd name="T7" fmla="*/ 16 h 42"/>
                    <a:gd name="T8" fmla="*/ 6 w 28"/>
                    <a:gd name="T9" fmla="*/ 20 h 42"/>
                    <a:gd name="T10" fmla="*/ 6 w 28"/>
                    <a:gd name="T11" fmla="*/ 21 h 42"/>
                    <a:gd name="T12" fmla="*/ 0 w 28"/>
                    <a:gd name="T13" fmla="*/ 38 h 42"/>
                    <a:gd name="T14" fmla="*/ 0 w 28"/>
                    <a:gd name="T15" fmla="*/ 41 h 42"/>
                    <a:gd name="T16" fmla="*/ 3 w 28"/>
                    <a:gd name="T17" fmla="*/ 42 h 42"/>
                    <a:gd name="T18" fmla="*/ 9 w 28"/>
                    <a:gd name="T19" fmla="*/ 32 h 42"/>
                    <a:gd name="T20" fmla="*/ 12 w 28"/>
                    <a:gd name="T21" fmla="*/ 26 h 42"/>
                    <a:gd name="T22" fmla="*/ 14 w 28"/>
                    <a:gd name="T23" fmla="*/ 26 h 42"/>
                    <a:gd name="T24" fmla="*/ 20 w 28"/>
                    <a:gd name="T25" fmla="*/ 26 h 42"/>
                    <a:gd name="T26" fmla="*/ 28 w 28"/>
                    <a:gd name="T27" fmla="*/ 14 h 42"/>
                    <a:gd name="T28" fmla="*/ 28 w 28"/>
                    <a:gd name="T29" fmla="*/ 6 h 42"/>
                    <a:gd name="T30" fmla="*/ 28 w 28"/>
                    <a:gd name="T31" fmla="*/ 5 h 42"/>
                    <a:gd name="T32" fmla="*/ 27 w 28"/>
                    <a:gd name="T33" fmla="*/ 3 h 42"/>
                    <a:gd name="T34" fmla="*/ 26 w 28"/>
                    <a:gd name="T35" fmla="*/ 3 h 42"/>
                    <a:gd name="T36" fmla="*/ 24 w 28"/>
                    <a:gd name="T37" fmla="*/ 3 h 42"/>
                    <a:gd name="T38" fmla="*/ 23 w 28"/>
                    <a:gd name="T39" fmla="*/ 3 h 42"/>
                    <a:gd name="T40" fmla="*/ 20 w 28"/>
                    <a:gd name="T41" fmla="*/ 0 h 42"/>
                    <a:gd name="T42" fmla="*/ 15 w 28"/>
                    <a:gd name="T43" fmla="*/ 1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8" h="42">
                      <a:moveTo>
                        <a:pt x="15" y="1"/>
                      </a:moveTo>
                      <a:cubicBezTo>
                        <a:pt x="15" y="10"/>
                        <a:pt x="8" y="6"/>
                        <a:pt x="6" y="11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6" y="14"/>
                        <a:pt x="5" y="14"/>
                        <a:pt x="5" y="16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6" y="21"/>
                        <a:pt x="6" y="21"/>
                        <a:pt x="6" y="21"/>
                      </a:cubicBezTo>
                      <a:cubicBezTo>
                        <a:pt x="6" y="29"/>
                        <a:pt x="0" y="31"/>
                        <a:pt x="0" y="38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2" y="42"/>
                        <a:pt x="3" y="42"/>
                      </a:cubicBezTo>
                      <a:cubicBezTo>
                        <a:pt x="7" y="42"/>
                        <a:pt x="9" y="36"/>
                        <a:pt x="9" y="32"/>
                      </a:cubicBezTo>
                      <a:cubicBezTo>
                        <a:pt x="9" y="29"/>
                        <a:pt x="10" y="26"/>
                        <a:pt x="12" y="26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24" y="24"/>
                        <a:pt x="28" y="21"/>
                        <a:pt x="28" y="14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7" y="3"/>
                        <a:pt x="27" y="3"/>
                        <a:pt x="27" y="3"/>
                      </a:cubicBezTo>
                      <a:cubicBezTo>
                        <a:pt x="26" y="3"/>
                        <a:pt x="26" y="3"/>
                        <a:pt x="26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20" y="0"/>
                        <a:pt x="20" y="0"/>
                        <a:pt x="20" y="0"/>
                      </a:cubicBez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2" name="iṥļiḍè">
                  <a:extLst>
                    <a:ext uri="{FF2B5EF4-FFF2-40B4-BE49-F238E27FC236}">
                      <a16:creationId xmlns:a16="http://schemas.microsoft.com/office/drawing/2014/main" id="{74B2FD0E-BD08-4DD3-9A99-BB77A6BAB391}"/>
                    </a:ext>
                  </a:extLst>
                </p:cNvPr>
                <p:cNvSpPr/>
                <p:nvPr/>
              </p:nvSpPr>
              <p:spPr bwMode="auto">
                <a:xfrm>
                  <a:off x="5826126" y="3273425"/>
                  <a:ext cx="223838" cy="293688"/>
                </a:xfrm>
                <a:custGeom>
                  <a:avLst/>
                  <a:gdLst>
                    <a:gd name="T0" fmla="*/ 38 w 68"/>
                    <a:gd name="T1" fmla="*/ 16 h 88"/>
                    <a:gd name="T2" fmla="*/ 40 w 68"/>
                    <a:gd name="T3" fmla="*/ 5 h 88"/>
                    <a:gd name="T4" fmla="*/ 36 w 68"/>
                    <a:gd name="T5" fmla="*/ 1 h 88"/>
                    <a:gd name="T6" fmla="*/ 36 w 68"/>
                    <a:gd name="T7" fmla="*/ 1 h 88"/>
                    <a:gd name="T8" fmla="*/ 33 w 68"/>
                    <a:gd name="T9" fmla="*/ 0 h 88"/>
                    <a:gd name="T10" fmla="*/ 24 w 68"/>
                    <a:gd name="T11" fmla="*/ 7 h 88"/>
                    <a:gd name="T12" fmla="*/ 24 w 68"/>
                    <a:gd name="T13" fmla="*/ 8 h 88"/>
                    <a:gd name="T14" fmla="*/ 26 w 68"/>
                    <a:gd name="T15" fmla="*/ 18 h 88"/>
                    <a:gd name="T16" fmla="*/ 27 w 68"/>
                    <a:gd name="T17" fmla="*/ 28 h 88"/>
                    <a:gd name="T18" fmla="*/ 27 w 68"/>
                    <a:gd name="T19" fmla="*/ 39 h 88"/>
                    <a:gd name="T20" fmla="*/ 16 w 68"/>
                    <a:gd name="T21" fmla="*/ 48 h 88"/>
                    <a:gd name="T22" fmla="*/ 7 w 68"/>
                    <a:gd name="T23" fmla="*/ 49 h 88"/>
                    <a:gd name="T24" fmla="*/ 5 w 68"/>
                    <a:gd name="T25" fmla="*/ 49 h 88"/>
                    <a:gd name="T26" fmla="*/ 4 w 68"/>
                    <a:gd name="T27" fmla="*/ 49 h 88"/>
                    <a:gd name="T28" fmla="*/ 0 w 68"/>
                    <a:gd name="T29" fmla="*/ 54 h 88"/>
                    <a:gd name="T30" fmla="*/ 5 w 68"/>
                    <a:gd name="T31" fmla="*/ 60 h 88"/>
                    <a:gd name="T32" fmla="*/ 11 w 68"/>
                    <a:gd name="T33" fmla="*/ 60 h 88"/>
                    <a:gd name="T34" fmla="*/ 13 w 68"/>
                    <a:gd name="T35" fmla="*/ 59 h 88"/>
                    <a:gd name="T36" fmla="*/ 20 w 68"/>
                    <a:gd name="T37" fmla="*/ 66 h 88"/>
                    <a:gd name="T38" fmla="*/ 17 w 68"/>
                    <a:gd name="T39" fmla="*/ 72 h 88"/>
                    <a:gd name="T40" fmla="*/ 13 w 68"/>
                    <a:gd name="T41" fmla="*/ 76 h 88"/>
                    <a:gd name="T42" fmla="*/ 2 w 68"/>
                    <a:gd name="T43" fmla="*/ 82 h 88"/>
                    <a:gd name="T44" fmla="*/ 2 w 68"/>
                    <a:gd name="T45" fmla="*/ 83 h 88"/>
                    <a:gd name="T46" fmla="*/ 2 w 68"/>
                    <a:gd name="T47" fmla="*/ 87 h 88"/>
                    <a:gd name="T48" fmla="*/ 4 w 68"/>
                    <a:gd name="T49" fmla="*/ 88 h 88"/>
                    <a:gd name="T50" fmla="*/ 25 w 68"/>
                    <a:gd name="T51" fmla="*/ 77 h 88"/>
                    <a:gd name="T52" fmla="*/ 31 w 68"/>
                    <a:gd name="T53" fmla="*/ 69 h 88"/>
                    <a:gd name="T54" fmla="*/ 40 w 68"/>
                    <a:gd name="T55" fmla="*/ 63 h 88"/>
                    <a:gd name="T56" fmla="*/ 52 w 68"/>
                    <a:gd name="T57" fmla="*/ 70 h 88"/>
                    <a:gd name="T58" fmla="*/ 48 w 68"/>
                    <a:gd name="T59" fmla="*/ 79 h 88"/>
                    <a:gd name="T60" fmla="*/ 59 w 68"/>
                    <a:gd name="T61" fmla="*/ 81 h 88"/>
                    <a:gd name="T62" fmla="*/ 68 w 68"/>
                    <a:gd name="T63" fmla="*/ 71 h 88"/>
                    <a:gd name="T64" fmla="*/ 59 w 68"/>
                    <a:gd name="T65" fmla="*/ 62 h 88"/>
                    <a:gd name="T66" fmla="*/ 44 w 68"/>
                    <a:gd name="T67" fmla="*/ 60 h 88"/>
                    <a:gd name="T68" fmla="*/ 42 w 68"/>
                    <a:gd name="T69" fmla="*/ 60 h 88"/>
                    <a:gd name="T70" fmla="*/ 36 w 68"/>
                    <a:gd name="T71" fmla="*/ 53 h 88"/>
                    <a:gd name="T72" fmla="*/ 48 w 68"/>
                    <a:gd name="T73" fmla="*/ 42 h 88"/>
                    <a:gd name="T74" fmla="*/ 59 w 68"/>
                    <a:gd name="T75" fmla="*/ 32 h 88"/>
                    <a:gd name="T76" fmla="*/ 59 w 68"/>
                    <a:gd name="T77" fmla="*/ 30 h 88"/>
                    <a:gd name="T78" fmla="*/ 59 w 68"/>
                    <a:gd name="T79" fmla="*/ 29 h 88"/>
                    <a:gd name="T80" fmla="*/ 54 w 68"/>
                    <a:gd name="T81" fmla="*/ 26 h 88"/>
                    <a:gd name="T82" fmla="*/ 51 w 68"/>
                    <a:gd name="T83" fmla="*/ 27 h 88"/>
                    <a:gd name="T84" fmla="*/ 50 w 68"/>
                    <a:gd name="T85" fmla="*/ 27 h 88"/>
                    <a:gd name="T86" fmla="*/ 41 w 68"/>
                    <a:gd name="T87" fmla="*/ 33 h 88"/>
                    <a:gd name="T88" fmla="*/ 38 w 68"/>
                    <a:gd name="T89" fmla="*/ 28 h 88"/>
                    <a:gd name="T90" fmla="*/ 38 w 68"/>
                    <a:gd name="T91" fmla="*/ 27 h 88"/>
                    <a:gd name="T92" fmla="*/ 38 w 68"/>
                    <a:gd name="T93" fmla="*/ 1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8" h="88">
                      <a:moveTo>
                        <a:pt x="38" y="16"/>
                      </a:moveTo>
                      <a:cubicBezTo>
                        <a:pt x="39" y="11"/>
                        <a:pt x="40" y="9"/>
                        <a:pt x="40" y="5"/>
                      </a:cubicBezTo>
                      <a:cubicBezTo>
                        <a:pt x="40" y="3"/>
                        <a:pt x="38" y="1"/>
                        <a:pt x="36" y="1"/>
                      </a:cubicBezTo>
                      <a:cubicBezTo>
                        <a:pt x="36" y="1"/>
                        <a:pt x="36" y="1"/>
                        <a:pt x="36" y="1"/>
                      </a:cubicBezTo>
                      <a:cubicBezTo>
                        <a:pt x="34" y="1"/>
                        <a:pt x="34" y="1"/>
                        <a:pt x="33" y="0"/>
                      </a:cubicBezTo>
                      <a:cubicBezTo>
                        <a:pt x="28" y="3"/>
                        <a:pt x="28" y="1"/>
                        <a:pt x="24" y="7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2"/>
                        <a:pt x="26" y="14"/>
                        <a:pt x="26" y="18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8" y="45"/>
                        <a:pt x="22" y="48"/>
                        <a:pt x="16" y="48"/>
                      </a:cubicBezTo>
                      <a:cubicBezTo>
                        <a:pt x="7" y="49"/>
                        <a:pt x="7" y="49"/>
                        <a:pt x="7" y="49"/>
                      </a:cubicBezTo>
                      <a:cubicBezTo>
                        <a:pt x="5" y="49"/>
                        <a:pt x="5" y="49"/>
                        <a:pt x="5" y="49"/>
                      </a:cubicBezTo>
                      <a:cubicBezTo>
                        <a:pt x="4" y="49"/>
                        <a:pt x="4" y="49"/>
                        <a:pt x="4" y="49"/>
                      </a:cubicBezTo>
                      <a:cubicBezTo>
                        <a:pt x="2" y="50"/>
                        <a:pt x="0" y="51"/>
                        <a:pt x="0" y="54"/>
                      </a:cubicBezTo>
                      <a:cubicBezTo>
                        <a:pt x="0" y="56"/>
                        <a:pt x="3" y="60"/>
                        <a:pt x="5" y="60"/>
                      </a:cubicBezTo>
                      <a:cubicBezTo>
                        <a:pt x="11" y="60"/>
                        <a:pt x="11" y="60"/>
                        <a:pt x="11" y="60"/>
                      </a:cubicBezTo>
                      <a:cubicBezTo>
                        <a:pt x="12" y="60"/>
                        <a:pt x="12" y="60"/>
                        <a:pt x="13" y="59"/>
                      </a:cubicBezTo>
                      <a:cubicBezTo>
                        <a:pt x="17" y="62"/>
                        <a:pt x="17" y="60"/>
                        <a:pt x="20" y="66"/>
                      </a:cubicBezTo>
                      <a:cubicBezTo>
                        <a:pt x="18" y="69"/>
                        <a:pt x="20" y="68"/>
                        <a:pt x="17" y="72"/>
                      </a:cubicBezTo>
                      <a:cubicBezTo>
                        <a:pt x="15" y="73"/>
                        <a:pt x="15" y="75"/>
                        <a:pt x="13" y="76"/>
                      </a:cubicBezTo>
                      <a:cubicBezTo>
                        <a:pt x="8" y="79"/>
                        <a:pt x="7" y="80"/>
                        <a:pt x="2" y="82"/>
                      </a:cubicBezTo>
                      <a:cubicBezTo>
                        <a:pt x="2" y="83"/>
                        <a:pt x="2" y="83"/>
                        <a:pt x="2" y="83"/>
                      </a:cubicBezTo>
                      <a:cubicBezTo>
                        <a:pt x="2" y="87"/>
                        <a:pt x="2" y="87"/>
                        <a:pt x="2" y="87"/>
                      </a:cubicBezTo>
                      <a:cubicBezTo>
                        <a:pt x="4" y="87"/>
                        <a:pt x="3" y="88"/>
                        <a:pt x="4" y="88"/>
                      </a:cubicBezTo>
                      <a:cubicBezTo>
                        <a:pt x="13" y="88"/>
                        <a:pt x="20" y="82"/>
                        <a:pt x="25" y="77"/>
                      </a:cubicBezTo>
                      <a:cubicBezTo>
                        <a:pt x="26" y="76"/>
                        <a:pt x="30" y="71"/>
                        <a:pt x="31" y="69"/>
                      </a:cubicBezTo>
                      <a:cubicBezTo>
                        <a:pt x="33" y="65"/>
                        <a:pt x="35" y="63"/>
                        <a:pt x="40" y="63"/>
                      </a:cubicBezTo>
                      <a:cubicBezTo>
                        <a:pt x="45" y="63"/>
                        <a:pt x="49" y="67"/>
                        <a:pt x="52" y="70"/>
                      </a:cubicBezTo>
                      <a:cubicBezTo>
                        <a:pt x="48" y="79"/>
                        <a:pt x="48" y="79"/>
                        <a:pt x="48" y="79"/>
                      </a:cubicBezTo>
                      <a:cubicBezTo>
                        <a:pt x="50" y="79"/>
                        <a:pt x="58" y="81"/>
                        <a:pt x="59" y="81"/>
                      </a:cubicBezTo>
                      <a:cubicBezTo>
                        <a:pt x="65" y="81"/>
                        <a:pt x="67" y="76"/>
                        <a:pt x="68" y="71"/>
                      </a:cubicBezTo>
                      <a:cubicBezTo>
                        <a:pt x="67" y="65"/>
                        <a:pt x="63" y="64"/>
                        <a:pt x="59" y="62"/>
                      </a:cubicBezTo>
                      <a:cubicBezTo>
                        <a:pt x="53" y="59"/>
                        <a:pt x="51" y="60"/>
                        <a:pt x="44" y="60"/>
                      </a:cubicBezTo>
                      <a:cubicBezTo>
                        <a:pt x="43" y="60"/>
                        <a:pt x="43" y="60"/>
                        <a:pt x="42" y="60"/>
                      </a:cubicBezTo>
                      <a:cubicBezTo>
                        <a:pt x="40" y="59"/>
                        <a:pt x="36" y="56"/>
                        <a:pt x="36" y="53"/>
                      </a:cubicBezTo>
                      <a:cubicBezTo>
                        <a:pt x="36" y="51"/>
                        <a:pt x="45" y="44"/>
                        <a:pt x="48" y="42"/>
                      </a:cubicBezTo>
                      <a:cubicBezTo>
                        <a:pt x="50" y="41"/>
                        <a:pt x="59" y="34"/>
                        <a:pt x="59" y="32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59" y="29"/>
                        <a:pt x="59" y="29"/>
                        <a:pt x="59" y="29"/>
                      </a:cubicBezTo>
                      <a:cubicBezTo>
                        <a:pt x="54" y="26"/>
                        <a:pt x="54" y="26"/>
                        <a:pt x="54" y="26"/>
                      </a:cubicBezTo>
                      <a:cubicBezTo>
                        <a:pt x="53" y="27"/>
                        <a:pt x="53" y="27"/>
                        <a:pt x="5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cubicBezTo>
                        <a:pt x="46" y="32"/>
                        <a:pt x="46" y="30"/>
                        <a:pt x="41" y="33"/>
                      </a:cubicBezTo>
                      <a:cubicBezTo>
                        <a:pt x="40" y="31"/>
                        <a:pt x="39" y="30"/>
                        <a:pt x="38" y="28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lnTo>
                        <a:pt x="38" y="16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3" name="ïṡľiḍê">
                  <a:extLst>
                    <a:ext uri="{FF2B5EF4-FFF2-40B4-BE49-F238E27FC236}">
                      <a16:creationId xmlns:a16="http://schemas.microsoft.com/office/drawing/2014/main" id="{77B76EA6-0D64-43B0-BB5D-120C567A497A}"/>
                    </a:ext>
                  </a:extLst>
                </p:cNvPr>
                <p:cNvSpPr/>
                <p:nvPr/>
              </p:nvSpPr>
              <p:spPr bwMode="auto">
                <a:xfrm>
                  <a:off x="4518026" y="3506788"/>
                  <a:ext cx="53975" cy="71438"/>
                </a:xfrm>
                <a:custGeom>
                  <a:avLst/>
                  <a:gdLst>
                    <a:gd name="T0" fmla="*/ 14 w 16"/>
                    <a:gd name="T1" fmla="*/ 17 h 21"/>
                    <a:gd name="T2" fmla="*/ 16 w 16"/>
                    <a:gd name="T3" fmla="*/ 12 h 21"/>
                    <a:gd name="T4" fmla="*/ 11 w 16"/>
                    <a:gd name="T5" fmla="*/ 5 h 21"/>
                    <a:gd name="T6" fmla="*/ 5 w 16"/>
                    <a:gd name="T7" fmla="*/ 0 h 21"/>
                    <a:gd name="T8" fmla="*/ 2 w 16"/>
                    <a:gd name="T9" fmla="*/ 4 h 21"/>
                    <a:gd name="T10" fmla="*/ 2 w 16"/>
                    <a:gd name="T11" fmla="*/ 5 h 21"/>
                    <a:gd name="T12" fmla="*/ 2 w 16"/>
                    <a:gd name="T13" fmla="*/ 8 h 21"/>
                    <a:gd name="T14" fmla="*/ 2 w 16"/>
                    <a:gd name="T15" fmla="*/ 9 h 21"/>
                    <a:gd name="T16" fmla="*/ 0 w 16"/>
                    <a:gd name="T17" fmla="*/ 17 h 21"/>
                    <a:gd name="T18" fmla="*/ 3 w 16"/>
                    <a:gd name="T19" fmla="*/ 21 h 21"/>
                    <a:gd name="T20" fmla="*/ 4 w 16"/>
                    <a:gd name="T21" fmla="*/ 21 h 21"/>
                    <a:gd name="T22" fmla="*/ 5 w 16"/>
                    <a:gd name="T23" fmla="*/ 21 h 21"/>
                    <a:gd name="T24" fmla="*/ 14 w 16"/>
                    <a:gd name="T25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21">
                      <a:moveTo>
                        <a:pt x="14" y="17"/>
                      </a:moveTo>
                      <a:cubicBezTo>
                        <a:pt x="14" y="15"/>
                        <a:pt x="16" y="13"/>
                        <a:pt x="16" y="12"/>
                      </a:cubicBezTo>
                      <a:cubicBezTo>
                        <a:pt x="16" y="11"/>
                        <a:pt x="12" y="7"/>
                        <a:pt x="11" y="5"/>
                      </a:cubicBezTo>
                      <a:cubicBezTo>
                        <a:pt x="11" y="3"/>
                        <a:pt x="8" y="0"/>
                        <a:pt x="5" y="0"/>
                      </a:cubicBezTo>
                      <a:cubicBezTo>
                        <a:pt x="4" y="0"/>
                        <a:pt x="3" y="3"/>
                        <a:pt x="2" y="4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2" y="9"/>
                        <a:pt x="2" y="9"/>
                        <a:pt x="2" y="9"/>
                      </a:cubicBezTo>
                      <a:cubicBezTo>
                        <a:pt x="1" y="11"/>
                        <a:pt x="0" y="14"/>
                        <a:pt x="0" y="17"/>
                      </a:cubicBezTo>
                      <a:cubicBezTo>
                        <a:pt x="0" y="19"/>
                        <a:pt x="1" y="20"/>
                        <a:pt x="3" y="21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5" y="21"/>
                        <a:pt x="5" y="21"/>
                        <a:pt x="5" y="21"/>
                      </a:cubicBezTo>
                      <a:cubicBezTo>
                        <a:pt x="7" y="21"/>
                        <a:pt x="11" y="17"/>
                        <a:pt x="14" y="17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4" name="îşlïḓe">
                  <a:extLst>
                    <a:ext uri="{FF2B5EF4-FFF2-40B4-BE49-F238E27FC236}">
                      <a16:creationId xmlns:a16="http://schemas.microsoft.com/office/drawing/2014/main" id="{55F5E52B-AE1C-4F21-A20B-F3E81A8616D7}"/>
                    </a:ext>
                  </a:extLst>
                </p:cNvPr>
                <p:cNvSpPr/>
                <p:nvPr/>
              </p:nvSpPr>
              <p:spPr bwMode="auto">
                <a:xfrm>
                  <a:off x="5319713" y="3133725"/>
                  <a:ext cx="222250" cy="500063"/>
                </a:xfrm>
                <a:custGeom>
                  <a:avLst/>
                  <a:gdLst>
                    <a:gd name="T0" fmla="*/ 47 w 67"/>
                    <a:gd name="T1" fmla="*/ 96 h 150"/>
                    <a:gd name="T2" fmla="*/ 51 w 67"/>
                    <a:gd name="T3" fmla="*/ 96 h 150"/>
                    <a:gd name="T4" fmla="*/ 46 w 67"/>
                    <a:gd name="T5" fmla="*/ 114 h 150"/>
                    <a:gd name="T6" fmla="*/ 42 w 67"/>
                    <a:gd name="T7" fmla="*/ 113 h 150"/>
                    <a:gd name="T8" fmla="*/ 39 w 67"/>
                    <a:gd name="T9" fmla="*/ 108 h 150"/>
                    <a:gd name="T10" fmla="*/ 21 w 67"/>
                    <a:gd name="T11" fmla="*/ 78 h 150"/>
                    <a:gd name="T12" fmla="*/ 29 w 67"/>
                    <a:gd name="T13" fmla="*/ 73 h 150"/>
                    <a:gd name="T14" fmla="*/ 32 w 67"/>
                    <a:gd name="T15" fmla="*/ 74 h 150"/>
                    <a:gd name="T16" fmla="*/ 32 w 67"/>
                    <a:gd name="T17" fmla="*/ 77 h 150"/>
                    <a:gd name="T18" fmla="*/ 32 w 67"/>
                    <a:gd name="T19" fmla="*/ 79 h 150"/>
                    <a:gd name="T20" fmla="*/ 21 w 67"/>
                    <a:gd name="T21" fmla="*/ 78 h 150"/>
                    <a:gd name="T22" fmla="*/ 53 w 67"/>
                    <a:gd name="T23" fmla="*/ 118 h 150"/>
                    <a:gd name="T24" fmla="*/ 66 w 67"/>
                    <a:gd name="T25" fmla="*/ 108 h 150"/>
                    <a:gd name="T26" fmla="*/ 60 w 67"/>
                    <a:gd name="T27" fmla="*/ 98 h 150"/>
                    <a:gd name="T28" fmla="*/ 51 w 67"/>
                    <a:gd name="T29" fmla="*/ 82 h 150"/>
                    <a:gd name="T30" fmla="*/ 47 w 67"/>
                    <a:gd name="T31" fmla="*/ 71 h 150"/>
                    <a:gd name="T32" fmla="*/ 60 w 67"/>
                    <a:gd name="T33" fmla="*/ 58 h 150"/>
                    <a:gd name="T34" fmla="*/ 53 w 67"/>
                    <a:gd name="T35" fmla="*/ 52 h 150"/>
                    <a:gd name="T36" fmla="*/ 44 w 67"/>
                    <a:gd name="T37" fmla="*/ 50 h 150"/>
                    <a:gd name="T38" fmla="*/ 48 w 67"/>
                    <a:gd name="T39" fmla="*/ 38 h 150"/>
                    <a:gd name="T40" fmla="*/ 66 w 67"/>
                    <a:gd name="T41" fmla="*/ 17 h 150"/>
                    <a:gd name="T42" fmla="*/ 66 w 67"/>
                    <a:gd name="T43" fmla="*/ 13 h 150"/>
                    <a:gd name="T44" fmla="*/ 56 w 67"/>
                    <a:gd name="T45" fmla="*/ 1 h 150"/>
                    <a:gd name="T46" fmla="*/ 55 w 67"/>
                    <a:gd name="T47" fmla="*/ 7 h 150"/>
                    <a:gd name="T48" fmla="*/ 50 w 67"/>
                    <a:gd name="T49" fmla="*/ 18 h 150"/>
                    <a:gd name="T50" fmla="*/ 42 w 67"/>
                    <a:gd name="T51" fmla="*/ 15 h 150"/>
                    <a:gd name="T52" fmla="*/ 40 w 67"/>
                    <a:gd name="T53" fmla="*/ 15 h 150"/>
                    <a:gd name="T54" fmla="*/ 41 w 67"/>
                    <a:gd name="T55" fmla="*/ 26 h 150"/>
                    <a:gd name="T56" fmla="*/ 41 w 67"/>
                    <a:gd name="T57" fmla="*/ 30 h 150"/>
                    <a:gd name="T58" fmla="*/ 37 w 67"/>
                    <a:gd name="T59" fmla="*/ 33 h 150"/>
                    <a:gd name="T60" fmla="*/ 30 w 67"/>
                    <a:gd name="T61" fmla="*/ 29 h 150"/>
                    <a:gd name="T62" fmla="*/ 9 w 67"/>
                    <a:gd name="T63" fmla="*/ 50 h 150"/>
                    <a:gd name="T64" fmla="*/ 4 w 67"/>
                    <a:gd name="T65" fmla="*/ 59 h 150"/>
                    <a:gd name="T66" fmla="*/ 23 w 67"/>
                    <a:gd name="T67" fmla="*/ 51 h 150"/>
                    <a:gd name="T68" fmla="*/ 30 w 67"/>
                    <a:gd name="T69" fmla="*/ 58 h 150"/>
                    <a:gd name="T70" fmla="*/ 26 w 67"/>
                    <a:gd name="T71" fmla="*/ 65 h 150"/>
                    <a:gd name="T72" fmla="*/ 19 w 67"/>
                    <a:gd name="T73" fmla="*/ 64 h 150"/>
                    <a:gd name="T74" fmla="*/ 16 w 67"/>
                    <a:gd name="T75" fmla="*/ 67 h 150"/>
                    <a:gd name="T76" fmla="*/ 16 w 67"/>
                    <a:gd name="T77" fmla="*/ 72 h 150"/>
                    <a:gd name="T78" fmla="*/ 3 w 67"/>
                    <a:gd name="T79" fmla="*/ 105 h 150"/>
                    <a:gd name="T80" fmla="*/ 6 w 67"/>
                    <a:gd name="T81" fmla="*/ 110 h 150"/>
                    <a:gd name="T82" fmla="*/ 9 w 67"/>
                    <a:gd name="T83" fmla="*/ 111 h 150"/>
                    <a:gd name="T84" fmla="*/ 24 w 67"/>
                    <a:gd name="T85" fmla="*/ 89 h 150"/>
                    <a:gd name="T86" fmla="*/ 32 w 67"/>
                    <a:gd name="T87" fmla="*/ 93 h 150"/>
                    <a:gd name="T88" fmla="*/ 32 w 67"/>
                    <a:gd name="T89" fmla="*/ 96 h 150"/>
                    <a:gd name="T90" fmla="*/ 29 w 67"/>
                    <a:gd name="T91" fmla="*/ 113 h 150"/>
                    <a:gd name="T92" fmla="*/ 29 w 67"/>
                    <a:gd name="T93" fmla="*/ 115 h 150"/>
                    <a:gd name="T94" fmla="*/ 22 w 67"/>
                    <a:gd name="T95" fmla="*/ 122 h 150"/>
                    <a:gd name="T96" fmla="*/ 10 w 67"/>
                    <a:gd name="T97" fmla="*/ 124 h 150"/>
                    <a:gd name="T98" fmla="*/ 15 w 67"/>
                    <a:gd name="T99" fmla="*/ 144 h 150"/>
                    <a:gd name="T100" fmla="*/ 17 w 67"/>
                    <a:gd name="T101" fmla="*/ 150 h 150"/>
                    <a:gd name="T102" fmla="*/ 38 w 67"/>
                    <a:gd name="T103" fmla="*/ 12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7" h="150">
                      <a:moveTo>
                        <a:pt x="39" y="107"/>
                      </a:moveTo>
                      <a:cubicBezTo>
                        <a:pt x="39" y="103"/>
                        <a:pt x="44" y="96"/>
                        <a:pt x="47" y="96"/>
                      </a:cubicBezTo>
                      <a:cubicBezTo>
                        <a:pt x="50" y="96"/>
                        <a:pt x="50" y="96"/>
                        <a:pt x="50" y="96"/>
                      </a:cubicBez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3" y="98"/>
                        <a:pt x="55" y="101"/>
                        <a:pt x="55" y="104"/>
                      </a:cubicBezTo>
                      <a:cubicBezTo>
                        <a:pt x="55" y="108"/>
                        <a:pt x="49" y="112"/>
                        <a:pt x="46" y="114"/>
                      </a:cubicBezTo>
                      <a:cubicBezTo>
                        <a:pt x="45" y="114"/>
                        <a:pt x="45" y="113"/>
                        <a:pt x="43" y="113"/>
                      </a:cubicBezTo>
                      <a:cubicBezTo>
                        <a:pt x="42" y="113"/>
                        <a:pt x="42" y="113"/>
                        <a:pt x="42" y="113"/>
                      </a:cubicBezTo>
                      <a:cubicBezTo>
                        <a:pt x="39" y="109"/>
                        <a:pt x="39" y="109"/>
                        <a:pt x="39" y="109"/>
                      </a:cubicBezTo>
                      <a:cubicBezTo>
                        <a:pt x="39" y="108"/>
                        <a:pt x="39" y="108"/>
                        <a:pt x="39" y="108"/>
                      </a:cubicBezTo>
                      <a:cubicBezTo>
                        <a:pt x="39" y="107"/>
                        <a:pt x="39" y="107"/>
                        <a:pt x="39" y="107"/>
                      </a:cubicBezTo>
                      <a:close/>
                      <a:moveTo>
                        <a:pt x="21" y="78"/>
                      </a:moveTo>
                      <a:cubicBezTo>
                        <a:pt x="21" y="77"/>
                        <a:pt x="25" y="73"/>
                        <a:pt x="26" y="73"/>
                      </a:cubicBezTo>
                      <a:cubicBezTo>
                        <a:pt x="27" y="73"/>
                        <a:pt x="27" y="73"/>
                        <a:pt x="29" y="7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4"/>
                        <a:pt x="32" y="74"/>
                        <a:pt x="32" y="74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32" y="77"/>
                        <a:pt x="32" y="77"/>
                        <a:pt x="32" y="77"/>
                      </a:cubicBezTo>
                      <a:cubicBezTo>
                        <a:pt x="32" y="78"/>
                        <a:pt x="32" y="78"/>
                        <a:pt x="32" y="78"/>
                      </a:cubicBezTo>
                      <a:cubicBezTo>
                        <a:pt x="32" y="79"/>
                        <a:pt x="32" y="79"/>
                        <a:pt x="32" y="79"/>
                      </a:cubicBezTo>
                      <a:cubicBezTo>
                        <a:pt x="31" y="82"/>
                        <a:pt x="29" y="83"/>
                        <a:pt x="25" y="83"/>
                      </a:cubicBezTo>
                      <a:cubicBezTo>
                        <a:pt x="23" y="83"/>
                        <a:pt x="21" y="81"/>
                        <a:pt x="21" y="78"/>
                      </a:cubicBezTo>
                      <a:close/>
                      <a:moveTo>
                        <a:pt x="38" y="125"/>
                      </a:moveTo>
                      <a:cubicBezTo>
                        <a:pt x="43" y="122"/>
                        <a:pt x="47" y="120"/>
                        <a:pt x="53" y="118"/>
                      </a:cubicBezTo>
                      <a:cubicBezTo>
                        <a:pt x="57" y="116"/>
                        <a:pt x="57" y="116"/>
                        <a:pt x="60" y="114"/>
                      </a:cubicBezTo>
                      <a:cubicBezTo>
                        <a:pt x="64" y="111"/>
                        <a:pt x="63" y="110"/>
                        <a:pt x="66" y="108"/>
                      </a:cubicBezTo>
                      <a:cubicBezTo>
                        <a:pt x="67" y="104"/>
                        <a:pt x="67" y="104"/>
                        <a:pt x="67" y="104"/>
                      </a:cubicBezTo>
                      <a:cubicBezTo>
                        <a:pt x="64" y="100"/>
                        <a:pt x="64" y="101"/>
                        <a:pt x="60" y="98"/>
                      </a:cubicBezTo>
                      <a:cubicBezTo>
                        <a:pt x="58" y="96"/>
                        <a:pt x="55" y="95"/>
                        <a:pt x="54" y="92"/>
                      </a:cubicBezTo>
                      <a:cubicBezTo>
                        <a:pt x="53" y="88"/>
                        <a:pt x="53" y="84"/>
                        <a:pt x="51" y="82"/>
                      </a:cubicBezTo>
                      <a:cubicBezTo>
                        <a:pt x="49" y="79"/>
                        <a:pt x="47" y="77"/>
                        <a:pt x="47" y="73"/>
                      </a:cubicBezTo>
                      <a:cubicBezTo>
                        <a:pt x="47" y="72"/>
                        <a:pt x="47" y="72"/>
                        <a:pt x="47" y="71"/>
                      </a:cubicBezTo>
                      <a:cubicBezTo>
                        <a:pt x="49" y="67"/>
                        <a:pt x="47" y="67"/>
                        <a:pt x="53" y="64"/>
                      </a:cubicBezTo>
                      <a:cubicBezTo>
                        <a:pt x="55" y="64"/>
                        <a:pt x="60" y="60"/>
                        <a:pt x="60" y="58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60" y="53"/>
                        <a:pt x="56" y="51"/>
                        <a:pt x="53" y="52"/>
                      </a:cubicBezTo>
                      <a:cubicBezTo>
                        <a:pt x="47" y="52"/>
                        <a:pt x="47" y="52"/>
                        <a:pt x="47" y="52"/>
                      </a:cubicBezTo>
                      <a:cubicBezTo>
                        <a:pt x="46" y="52"/>
                        <a:pt x="45" y="51"/>
                        <a:pt x="44" y="50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4" y="44"/>
                        <a:pt x="47" y="41"/>
                        <a:pt x="48" y="38"/>
                      </a:cubicBezTo>
                      <a:cubicBezTo>
                        <a:pt x="49" y="34"/>
                        <a:pt x="50" y="33"/>
                        <a:pt x="53" y="30"/>
                      </a:cubicBezTo>
                      <a:cubicBezTo>
                        <a:pt x="56" y="27"/>
                        <a:pt x="66" y="22"/>
                        <a:pt x="66" y="17"/>
                      </a:cubicBezTo>
                      <a:cubicBezTo>
                        <a:pt x="66" y="14"/>
                        <a:pt x="66" y="14"/>
                        <a:pt x="66" y="14"/>
                      </a:cubicBezTo>
                      <a:cubicBezTo>
                        <a:pt x="66" y="13"/>
                        <a:pt x="66" y="13"/>
                        <a:pt x="66" y="13"/>
                      </a:cubicBezTo>
                      <a:cubicBezTo>
                        <a:pt x="65" y="10"/>
                        <a:pt x="62" y="0"/>
                        <a:pt x="58" y="0"/>
                      </a:cubicBezTo>
                      <a:cubicBezTo>
                        <a:pt x="57" y="0"/>
                        <a:pt x="57" y="0"/>
                        <a:pt x="56" y="1"/>
                      </a:cubicBezTo>
                      <a:cubicBezTo>
                        <a:pt x="56" y="3"/>
                        <a:pt x="55" y="3"/>
                        <a:pt x="55" y="5"/>
                      </a:cubicBezTo>
                      <a:cubicBezTo>
                        <a:pt x="55" y="7"/>
                        <a:pt x="55" y="7"/>
                        <a:pt x="55" y="7"/>
                      </a:cubicBezTo>
                      <a:cubicBezTo>
                        <a:pt x="55" y="11"/>
                        <a:pt x="53" y="15"/>
                        <a:pt x="51" y="18"/>
                      </a:cubicBezTo>
                      <a:cubicBezTo>
                        <a:pt x="50" y="18"/>
                        <a:pt x="50" y="18"/>
                        <a:pt x="50" y="18"/>
                      </a:cubicBezTo>
                      <a:cubicBezTo>
                        <a:pt x="48" y="18"/>
                        <a:pt x="48" y="18"/>
                        <a:pt x="47" y="19"/>
                      </a:cubicBezTo>
                      <a:cubicBezTo>
                        <a:pt x="42" y="15"/>
                        <a:pt x="42" y="15"/>
                        <a:pt x="42" y="15"/>
                      </a:cubicBezTo>
                      <a:cubicBezTo>
                        <a:pt x="41" y="15"/>
                        <a:pt x="41" y="15"/>
                        <a:pt x="41" y="15"/>
                      </a:cubicBezTo>
                      <a:cubicBezTo>
                        <a:pt x="40" y="15"/>
                        <a:pt x="40" y="15"/>
                        <a:pt x="40" y="15"/>
                      </a:cubicBezTo>
                      <a:cubicBezTo>
                        <a:pt x="39" y="15"/>
                        <a:pt x="38" y="16"/>
                        <a:pt x="38" y="17"/>
                      </a:cubicBezTo>
                      <a:cubicBezTo>
                        <a:pt x="38" y="19"/>
                        <a:pt x="41" y="22"/>
                        <a:pt x="41" y="26"/>
                      </a:cubicBezTo>
                      <a:cubicBezTo>
                        <a:pt x="41" y="29"/>
                        <a:pt x="41" y="29"/>
                        <a:pt x="41" y="29"/>
                      </a:cubicBezTo>
                      <a:cubicBezTo>
                        <a:pt x="41" y="30"/>
                        <a:pt x="41" y="30"/>
                        <a:pt x="41" y="30"/>
                      </a:cubicBezTo>
                      <a:cubicBezTo>
                        <a:pt x="38" y="33"/>
                        <a:pt x="38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5" y="34"/>
                        <a:pt x="34" y="34"/>
                      </a:cubicBezTo>
                      <a:cubicBezTo>
                        <a:pt x="32" y="33"/>
                        <a:pt x="31" y="31"/>
                        <a:pt x="30" y="29"/>
                      </a:cubicBezTo>
                      <a:cubicBezTo>
                        <a:pt x="24" y="29"/>
                        <a:pt x="30" y="41"/>
                        <a:pt x="19" y="45"/>
                      </a:cubicBezTo>
                      <a:cubicBezTo>
                        <a:pt x="16" y="46"/>
                        <a:pt x="12" y="48"/>
                        <a:pt x="9" y="50"/>
                      </a:cubicBezTo>
                      <a:cubicBezTo>
                        <a:pt x="6" y="51"/>
                        <a:pt x="1" y="53"/>
                        <a:pt x="0" y="55"/>
                      </a:cubicBezTo>
                      <a:cubicBezTo>
                        <a:pt x="1" y="58"/>
                        <a:pt x="1" y="57"/>
                        <a:pt x="4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10" y="59"/>
                        <a:pt x="20" y="51"/>
                        <a:pt x="23" y="51"/>
                      </a:cubicBezTo>
                      <a:cubicBezTo>
                        <a:pt x="25" y="51"/>
                        <a:pt x="24" y="51"/>
                        <a:pt x="27" y="52"/>
                      </a:cubicBezTo>
                      <a:cubicBezTo>
                        <a:pt x="29" y="54"/>
                        <a:pt x="29" y="55"/>
                        <a:pt x="30" y="58"/>
                      </a:cubicBezTo>
                      <a:cubicBezTo>
                        <a:pt x="30" y="59"/>
                        <a:pt x="30" y="59"/>
                        <a:pt x="30" y="59"/>
                      </a:cubicBezTo>
                      <a:cubicBezTo>
                        <a:pt x="30" y="62"/>
                        <a:pt x="28" y="64"/>
                        <a:pt x="26" y="65"/>
                      </a:cubicBezTo>
                      <a:cubicBezTo>
                        <a:pt x="21" y="64"/>
                        <a:pt x="21" y="64"/>
                        <a:pt x="21" y="64"/>
                      </a:cubicBezTo>
                      <a:cubicBezTo>
                        <a:pt x="20" y="64"/>
                        <a:pt x="20" y="64"/>
                        <a:pt x="19" y="64"/>
                      </a:cubicBezTo>
                      <a:cubicBezTo>
                        <a:pt x="18" y="64"/>
                        <a:pt x="18" y="64"/>
                        <a:pt x="18" y="64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16" y="68"/>
                        <a:pt x="16" y="68"/>
                        <a:pt x="16" y="68"/>
                      </a:cubicBezTo>
                      <a:cubicBezTo>
                        <a:pt x="16" y="72"/>
                        <a:pt x="16" y="72"/>
                        <a:pt x="16" y="72"/>
                      </a:cubicBezTo>
                      <a:cubicBezTo>
                        <a:pt x="16" y="78"/>
                        <a:pt x="13" y="85"/>
                        <a:pt x="11" y="90"/>
                      </a:cubicBezTo>
                      <a:cubicBezTo>
                        <a:pt x="9" y="94"/>
                        <a:pt x="3" y="100"/>
                        <a:pt x="3" y="105"/>
                      </a:cubicBezTo>
                      <a:cubicBezTo>
                        <a:pt x="3" y="106"/>
                        <a:pt x="4" y="109"/>
                        <a:pt x="5" y="110"/>
                      </a:cubicBezTo>
                      <a:cubicBezTo>
                        <a:pt x="6" y="110"/>
                        <a:pt x="6" y="110"/>
                        <a:pt x="6" y="110"/>
                      </a:cubicBezTo>
                      <a:cubicBezTo>
                        <a:pt x="7" y="110"/>
                        <a:pt x="7" y="110"/>
                        <a:pt x="7" y="110"/>
                      </a:cubicBezTo>
                      <a:cubicBezTo>
                        <a:pt x="9" y="110"/>
                        <a:pt x="8" y="110"/>
                        <a:pt x="9" y="111"/>
                      </a:cubicBezTo>
                      <a:cubicBezTo>
                        <a:pt x="11" y="109"/>
                        <a:pt x="15" y="101"/>
                        <a:pt x="15" y="98"/>
                      </a:cubicBezTo>
                      <a:cubicBezTo>
                        <a:pt x="17" y="94"/>
                        <a:pt x="20" y="89"/>
                        <a:pt x="24" y="89"/>
                      </a:cubicBezTo>
                      <a:cubicBezTo>
                        <a:pt x="25" y="89"/>
                        <a:pt x="25" y="89"/>
                        <a:pt x="26" y="88"/>
                      </a:cubicBezTo>
                      <a:cubicBezTo>
                        <a:pt x="28" y="90"/>
                        <a:pt x="32" y="90"/>
                        <a:pt x="32" y="93"/>
                      </a:cubicBez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8" y="102"/>
                        <a:pt x="25" y="101"/>
                        <a:pt x="23" y="104"/>
                      </a:cubicBezTo>
                      <a:cubicBezTo>
                        <a:pt x="26" y="109"/>
                        <a:pt x="27" y="108"/>
                        <a:pt x="29" y="113"/>
                      </a:cubicBezTo>
                      <a:cubicBezTo>
                        <a:pt x="29" y="114"/>
                        <a:pt x="29" y="114"/>
                        <a:pt x="29" y="114"/>
                      </a:cubicBezTo>
                      <a:cubicBezTo>
                        <a:pt x="29" y="115"/>
                        <a:pt x="29" y="115"/>
                        <a:pt x="29" y="115"/>
                      </a:cubicBezTo>
                      <a:cubicBezTo>
                        <a:pt x="29" y="116"/>
                        <a:pt x="29" y="116"/>
                        <a:pt x="29" y="116"/>
                      </a:cubicBezTo>
                      <a:cubicBezTo>
                        <a:pt x="28" y="119"/>
                        <a:pt x="26" y="123"/>
                        <a:pt x="22" y="122"/>
                      </a:cubicBezTo>
                      <a:cubicBezTo>
                        <a:pt x="15" y="122"/>
                        <a:pt x="15" y="122"/>
                        <a:pt x="15" y="122"/>
                      </a:cubicBezTo>
                      <a:cubicBezTo>
                        <a:pt x="14" y="122"/>
                        <a:pt x="11" y="124"/>
                        <a:pt x="10" y="124"/>
                      </a:cubicBezTo>
                      <a:cubicBezTo>
                        <a:pt x="13" y="127"/>
                        <a:pt x="23" y="129"/>
                        <a:pt x="23" y="133"/>
                      </a:cubicBezTo>
                      <a:cubicBezTo>
                        <a:pt x="23" y="137"/>
                        <a:pt x="18" y="142"/>
                        <a:pt x="15" y="144"/>
                      </a:cubicBezTo>
                      <a:cubicBezTo>
                        <a:pt x="15" y="150"/>
                        <a:pt x="15" y="150"/>
                        <a:pt x="15" y="150"/>
                      </a:cubicBezTo>
                      <a:cubicBezTo>
                        <a:pt x="17" y="150"/>
                        <a:pt x="17" y="150"/>
                        <a:pt x="17" y="150"/>
                      </a:cubicBezTo>
                      <a:cubicBezTo>
                        <a:pt x="20" y="150"/>
                        <a:pt x="27" y="141"/>
                        <a:pt x="29" y="139"/>
                      </a:cubicBezTo>
                      <a:cubicBezTo>
                        <a:pt x="33" y="135"/>
                        <a:pt x="34" y="129"/>
                        <a:pt x="38" y="12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5" name="îs1îḋê">
                  <a:extLst>
                    <a:ext uri="{FF2B5EF4-FFF2-40B4-BE49-F238E27FC236}">
                      <a16:creationId xmlns:a16="http://schemas.microsoft.com/office/drawing/2014/main" id="{72D80E97-603E-4E49-9487-A26096E0067B}"/>
                    </a:ext>
                  </a:extLst>
                </p:cNvPr>
                <p:cNvSpPr/>
                <p:nvPr/>
              </p:nvSpPr>
              <p:spPr bwMode="auto">
                <a:xfrm>
                  <a:off x="4422776" y="3106738"/>
                  <a:ext cx="412750" cy="596900"/>
                </a:xfrm>
                <a:custGeom>
                  <a:avLst/>
                  <a:gdLst>
                    <a:gd name="T0" fmla="*/ 63 w 125"/>
                    <a:gd name="T1" fmla="*/ 83 h 179"/>
                    <a:gd name="T2" fmla="*/ 69 w 125"/>
                    <a:gd name="T3" fmla="*/ 84 h 179"/>
                    <a:gd name="T4" fmla="*/ 71 w 125"/>
                    <a:gd name="T5" fmla="*/ 95 h 179"/>
                    <a:gd name="T6" fmla="*/ 56 w 125"/>
                    <a:gd name="T7" fmla="*/ 91 h 179"/>
                    <a:gd name="T8" fmla="*/ 77 w 125"/>
                    <a:gd name="T9" fmla="*/ 77 h 179"/>
                    <a:gd name="T10" fmla="*/ 90 w 125"/>
                    <a:gd name="T11" fmla="*/ 82 h 179"/>
                    <a:gd name="T12" fmla="*/ 93 w 125"/>
                    <a:gd name="T13" fmla="*/ 96 h 179"/>
                    <a:gd name="T14" fmla="*/ 88 w 125"/>
                    <a:gd name="T15" fmla="*/ 106 h 179"/>
                    <a:gd name="T16" fmla="*/ 75 w 125"/>
                    <a:gd name="T17" fmla="*/ 89 h 179"/>
                    <a:gd name="T18" fmla="*/ 91 w 125"/>
                    <a:gd name="T19" fmla="*/ 29 h 179"/>
                    <a:gd name="T20" fmla="*/ 95 w 125"/>
                    <a:gd name="T21" fmla="*/ 4 h 179"/>
                    <a:gd name="T22" fmla="*/ 92 w 125"/>
                    <a:gd name="T23" fmla="*/ 0 h 179"/>
                    <a:gd name="T24" fmla="*/ 86 w 125"/>
                    <a:gd name="T25" fmla="*/ 0 h 179"/>
                    <a:gd name="T26" fmla="*/ 80 w 125"/>
                    <a:gd name="T27" fmla="*/ 7 h 179"/>
                    <a:gd name="T28" fmla="*/ 83 w 125"/>
                    <a:gd name="T29" fmla="*/ 30 h 179"/>
                    <a:gd name="T30" fmla="*/ 86 w 125"/>
                    <a:gd name="T31" fmla="*/ 50 h 179"/>
                    <a:gd name="T32" fmla="*/ 46 w 125"/>
                    <a:gd name="T33" fmla="*/ 84 h 179"/>
                    <a:gd name="T34" fmla="*/ 0 w 125"/>
                    <a:gd name="T35" fmla="*/ 99 h 179"/>
                    <a:gd name="T36" fmla="*/ 13 w 125"/>
                    <a:gd name="T37" fmla="*/ 108 h 179"/>
                    <a:gd name="T38" fmla="*/ 30 w 125"/>
                    <a:gd name="T39" fmla="*/ 100 h 179"/>
                    <a:gd name="T40" fmla="*/ 47 w 125"/>
                    <a:gd name="T41" fmla="*/ 92 h 179"/>
                    <a:gd name="T42" fmla="*/ 51 w 125"/>
                    <a:gd name="T43" fmla="*/ 109 h 179"/>
                    <a:gd name="T44" fmla="*/ 50 w 125"/>
                    <a:gd name="T45" fmla="*/ 118 h 179"/>
                    <a:gd name="T46" fmla="*/ 54 w 125"/>
                    <a:gd name="T47" fmla="*/ 125 h 179"/>
                    <a:gd name="T48" fmla="*/ 62 w 125"/>
                    <a:gd name="T49" fmla="*/ 119 h 179"/>
                    <a:gd name="T50" fmla="*/ 62 w 125"/>
                    <a:gd name="T51" fmla="*/ 113 h 179"/>
                    <a:gd name="T52" fmla="*/ 78 w 125"/>
                    <a:gd name="T53" fmla="*/ 111 h 179"/>
                    <a:gd name="T54" fmla="*/ 78 w 125"/>
                    <a:gd name="T55" fmla="*/ 113 h 179"/>
                    <a:gd name="T56" fmla="*/ 78 w 125"/>
                    <a:gd name="T57" fmla="*/ 118 h 179"/>
                    <a:gd name="T58" fmla="*/ 46 w 125"/>
                    <a:gd name="T59" fmla="*/ 147 h 179"/>
                    <a:gd name="T60" fmla="*/ 28 w 125"/>
                    <a:gd name="T61" fmla="*/ 158 h 179"/>
                    <a:gd name="T62" fmla="*/ 1 w 125"/>
                    <a:gd name="T63" fmla="*/ 170 h 179"/>
                    <a:gd name="T64" fmla="*/ 14 w 125"/>
                    <a:gd name="T65" fmla="*/ 178 h 179"/>
                    <a:gd name="T66" fmla="*/ 20 w 125"/>
                    <a:gd name="T67" fmla="*/ 179 h 179"/>
                    <a:gd name="T68" fmla="*/ 22 w 125"/>
                    <a:gd name="T69" fmla="*/ 179 h 179"/>
                    <a:gd name="T70" fmla="*/ 38 w 125"/>
                    <a:gd name="T71" fmla="*/ 169 h 179"/>
                    <a:gd name="T72" fmla="*/ 61 w 125"/>
                    <a:gd name="T73" fmla="*/ 150 h 179"/>
                    <a:gd name="T74" fmla="*/ 79 w 125"/>
                    <a:gd name="T75" fmla="*/ 135 h 179"/>
                    <a:gd name="T76" fmla="*/ 96 w 125"/>
                    <a:gd name="T77" fmla="*/ 119 h 179"/>
                    <a:gd name="T78" fmla="*/ 106 w 125"/>
                    <a:gd name="T79" fmla="*/ 149 h 179"/>
                    <a:gd name="T80" fmla="*/ 125 w 125"/>
                    <a:gd name="T81" fmla="*/ 152 h 179"/>
                    <a:gd name="T82" fmla="*/ 116 w 125"/>
                    <a:gd name="T83" fmla="*/ 120 h 179"/>
                    <a:gd name="T84" fmla="*/ 115 w 125"/>
                    <a:gd name="T85" fmla="*/ 125 h 179"/>
                    <a:gd name="T86" fmla="*/ 109 w 125"/>
                    <a:gd name="T87" fmla="*/ 129 h 179"/>
                    <a:gd name="T88" fmla="*/ 97 w 125"/>
                    <a:gd name="T89" fmla="*/ 92 h 179"/>
                    <a:gd name="T90" fmla="*/ 94 w 125"/>
                    <a:gd name="T91" fmla="*/ 76 h 179"/>
                    <a:gd name="T92" fmla="*/ 110 w 125"/>
                    <a:gd name="T93" fmla="*/ 60 h 179"/>
                    <a:gd name="T94" fmla="*/ 105 w 125"/>
                    <a:gd name="T95" fmla="*/ 57 h 179"/>
                    <a:gd name="T96" fmla="*/ 101 w 125"/>
                    <a:gd name="T97" fmla="*/ 59 h 179"/>
                    <a:gd name="T98" fmla="*/ 91 w 125"/>
                    <a:gd name="T99" fmla="*/ 54 h 179"/>
                    <a:gd name="T100" fmla="*/ 91 w 125"/>
                    <a:gd name="T101" fmla="*/ 29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5" h="179">
                      <a:moveTo>
                        <a:pt x="56" y="91"/>
                      </a:moveTo>
                      <a:cubicBezTo>
                        <a:pt x="56" y="87"/>
                        <a:pt x="60" y="85"/>
                        <a:pt x="63" y="83"/>
                      </a:cubicBezTo>
                      <a:cubicBezTo>
                        <a:pt x="64" y="83"/>
                        <a:pt x="64" y="83"/>
                        <a:pt x="64" y="83"/>
                      </a:cubicBezTo>
                      <a:cubicBezTo>
                        <a:pt x="67" y="83"/>
                        <a:pt x="67" y="84"/>
                        <a:pt x="69" y="84"/>
                      </a:cubicBezTo>
                      <a:cubicBezTo>
                        <a:pt x="71" y="94"/>
                        <a:pt x="71" y="94"/>
                        <a:pt x="71" y="94"/>
                      </a:cubicBez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68" y="100"/>
                        <a:pt x="68" y="99"/>
                        <a:pt x="63" y="101"/>
                      </a:cubicBezTo>
                      <a:cubicBezTo>
                        <a:pt x="61" y="99"/>
                        <a:pt x="56" y="95"/>
                        <a:pt x="56" y="91"/>
                      </a:cubicBezTo>
                      <a:close/>
                      <a:moveTo>
                        <a:pt x="72" y="83"/>
                      </a:moveTo>
                      <a:cubicBezTo>
                        <a:pt x="74" y="79"/>
                        <a:pt x="73" y="79"/>
                        <a:pt x="77" y="77"/>
                      </a:cubicBezTo>
                      <a:cubicBezTo>
                        <a:pt x="79" y="75"/>
                        <a:pt x="82" y="75"/>
                        <a:pt x="83" y="73"/>
                      </a:cubicBezTo>
                      <a:cubicBezTo>
                        <a:pt x="88" y="76"/>
                        <a:pt x="89" y="76"/>
                        <a:pt x="90" y="82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93" y="96"/>
                        <a:pt x="93" y="96"/>
                        <a:pt x="93" y="96"/>
                      </a:cubicBezTo>
                      <a:cubicBezTo>
                        <a:pt x="94" y="99"/>
                        <a:pt x="94" y="99"/>
                        <a:pt x="94" y="99"/>
                      </a:cubicBezTo>
                      <a:cubicBezTo>
                        <a:pt x="91" y="105"/>
                        <a:pt x="93" y="103"/>
                        <a:pt x="88" y="106"/>
                      </a:cubicBezTo>
                      <a:cubicBezTo>
                        <a:pt x="83" y="101"/>
                        <a:pt x="82" y="101"/>
                        <a:pt x="79" y="95"/>
                      </a:cubicBezTo>
                      <a:cubicBezTo>
                        <a:pt x="77" y="93"/>
                        <a:pt x="77" y="91"/>
                        <a:pt x="75" y="89"/>
                      </a:cubicBezTo>
                      <a:cubicBezTo>
                        <a:pt x="73" y="87"/>
                        <a:pt x="73" y="86"/>
                        <a:pt x="72" y="83"/>
                      </a:cubicBezTo>
                      <a:close/>
                      <a:moveTo>
                        <a:pt x="91" y="29"/>
                      </a:moveTo>
                      <a:cubicBezTo>
                        <a:pt x="91" y="22"/>
                        <a:pt x="95" y="12"/>
                        <a:pt x="95" y="4"/>
                      </a:cubicBezTo>
                      <a:cubicBezTo>
                        <a:pt x="95" y="4"/>
                        <a:pt x="95" y="4"/>
                        <a:pt x="95" y="4"/>
                      </a:cubicBezTo>
                      <a:cubicBezTo>
                        <a:pt x="95" y="3"/>
                        <a:pt x="95" y="3"/>
                        <a:pt x="95" y="3"/>
                      </a:cubicBezTo>
                      <a:cubicBezTo>
                        <a:pt x="93" y="0"/>
                        <a:pt x="95" y="1"/>
                        <a:pt x="92" y="0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2" y="1"/>
                        <a:pt x="80" y="4"/>
                        <a:pt x="80" y="7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0"/>
                        <a:pt x="83" y="30"/>
                        <a:pt x="83" y="30"/>
                      </a:cubicBezTo>
                      <a:cubicBezTo>
                        <a:pt x="83" y="38"/>
                        <a:pt x="86" y="44"/>
                        <a:pt x="86" y="49"/>
                      </a:cubicBezTo>
                      <a:cubicBezTo>
                        <a:pt x="86" y="50"/>
                        <a:pt x="86" y="50"/>
                        <a:pt x="86" y="50"/>
                      </a:cubicBezTo>
                      <a:cubicBezTo>
                        <a:pt x="87" y="62"/>
                        <a:pt x="87" y="62"/>
                        <a:pt x="87" y="62"/>
                      </a:cubicBezTo>
                      <a:cubicBezTo>
                        <a:pt x="87" y="68"/>
                        <a:pt x="52" y="81"/>
                        <a:pt x="46" y="84"/>
                      </a:cubicBezTo>
                      <a:cubicBezTo>
                        <a:pt x="39" y="87"/>
                        <a:pt x="31" y="89"/>
                        <a:pt x="23" y="92"/>
                      </a:cubicBezTo>
                      <a:cubicBezTo>
                        <a:pt x="20" y="94"/>
                        <a:pt x="0" y="96"/>
                        <a:pt x="0" y="99"/>
                      </a:cubicBezTo>
                      <a:cubicBezTo>
                        <a:pt x="0" y="101"/>
                        <a:pt x="9" y="108"/>
                        <a:pt x="11" y="108"/>
                      </a:cubicBezTo>
                      <a:cubicBezTo>
                        <a:pt x="13" y="108"/>
                        <a:pt x="13" y="108"/>
                        <a:pt x="13" y="108"/>
                      </a:cubicBezTo>
                      <a:cubicBezTo>
                        <a:pt x="14" y="108"/>
                        <a:pt x="14" y="108"/>
                        <a:pt x="14" y="108"/>
                      </a:cubicBezTo>
                      <a:cubicBezTo>
                        <a:pt x="20" y="105"/>
                        <a:pt x="24" y="103"/>
                        <a:pt x="30" y="100"/>
                      </a:cubicBezTo>
                      <a:cubicBezTo>
                        <a:pt x="34" y="98"/>
                        <a:pt x="41" y="93"/>
                        <a:pt x="45" y="93"/>
                      </a:cubicBezTo>
                      <a:cubicBezTo>
                        <a:pt x="46" y="93"/>
                        <a:pt x="46" y="93"/>
                        <a:pt x="47" y="92"/>
                      </a:cubicBezTo>
                      <a:cubicBezTo>
                        <a:pt x="49" y="94"/>
                        <a:pt x="52" y="96"/>
                        <a:pt x="51" y="101"/>
                      </a:cubicBezTo>
                      <a:cubicBezTo>
                        <a:pt x="51" y="109"/>
                        <a:pt x="51" y="109"/>
                        <a:pt x="51" y="109"/>
                      </a:cubicBezTo>
                      <a:cubicBezTo>
                        <a:pt x="51" y="110"/>
                        <a:pt x="51" y="110"/>
                        <a:pt x="51" y="110"/>
                      </a:cubicBezTo>
                      <a:cubicBezTo>
                        <a:pt x="50" y="118"/>
                        <a:pt x="50" y="118"/>
                        <a:pt x="50" y="118"/>
                      </a:cubicBezTo>
                      <a:cubicBezTo>
                        <a:pt x="50" y="119"/>
                        <a:pt x="50" y="119"/>
                        <a:pt x="50" y="120"/>
                      </a:cubicBezTo>
                      <a:cubicBezTo>
                        <a:pt x="51" y="123"/>
                        <a:pt x="51" y="123"/>
                        <a:pt x="54" y="125"/>
                      </a:cubicBezTo>
                      <a:cubicBezTo>
                        <a:pt x="56" y="125"/>
                        <a:pt x="56" y="125"/>
                        <a:pt x="56" y="125"/>
                      </a:cubicBezTo>
                      <a:cubicBezTo>
                        <a:pt x="59" y="125"/>
                        <a:pt x="60" y="121"/>
                        <a:pt x="62" y="119"/>
                      </a:cubicBezTo>
                      <a:cubicBezTo>
                        <a:pt x="62" y="118"/>
                        <a:pt x="62" y="118"/>
                        <a:pt x="62" y="118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63" y="110"/>
                        <a:pt x="68" y="106"/>
                        <a:pt x="71" y="106"/>
                      </a:cubicBezTo>
                      <a:cubicBezTo>
                        <a:pt x="75" y="106"/>
                        <a:pt x="77" y="109"/>
                        <a:pt x="78" y="111"/>
                      </a:cubicBezTo>
                      <a:cubicBezTo>
                        <a:pt x="78" y="112"/>
                        <a:pt x="78" y="112"/>
                        <a:pt x="78" y="112"/>
                      </a:cubicBezTo>
                      <a:cubicBezTo>
                        <a:pt x="78" y="113"/>
                        <a:pt x="78" y="113"/>
                        <a:pt x="78" y="113"/>
                      </a:cubicBezTo>
                      <a:cubicBezTo>
                        <a:pt x="78" y="115"/>
                        <a:pt x="78" y="115"/>
                        <a:pt x="79" y="116"/>
                      </a:cubicBezTo>
                      <a:cubicBezTo>
                        <a:pt x="78" y="117"/>
                        <a:pt x="78" y="117"/>
                        <a:pt x="78" y="118"/>
                      </a:cubicBezTo>
                      <a:cubicBezTo>
                        <a:pt x="78" y="119"/>
                        <a:pt x="78" y="119"/>
                        <a:pt x="78" y="119"/>
                      </a:cubicBezTo>
                      <a:cubicBezTo>
                        <a:pt x="72" y="130"/>
                        <a:pt x="57" y="140"/>
                        <a:pt x="46" y="147"/>
                      </a:cubicBezTo>
                      <a:cubicBezTo>
                        <a:pt x="44" y="148"/>
                        <a:pt x="40" y="151"/>
                        <a:pt x="37" y="152"/>
                      </a:cubicBezTo>
                      <a:cubicBezTo>
                        <a:pt x="35" y="153"/>
                        <a:pt x="29" y="157"/>
                        <a:pt x="28" y="158"/>
                      </a:cubicBezTo>
                      <a:cubicBezTo>
                        <a:pt x="25" y="161"/>
                        <a:pt x="12" y="165"/>
                        <a:pt x="6" y="165"/>
                      </a:cubicBezTo>
                      <a:cubicBezTo>
                        <a:pt x="4" y="165"/>
                        <a:pt x="2" y="168"/>
                        <a:pt x="1" y="170"/>
                      </a:cubicBezTo>
                      <a:cubicBezTo>
                        <a:pt x="4" y="171"/>
                        <a:pt x="4" y="173"/>
                        <a:pt x="7" y="175"/>
                      </a:cubicBezTo>
                      <a:cubicBezTo>
                        <a:pt x="10" y="176"/>
                        <a:pt x="12" y="176"/>
                        <a:pt x="14" y="178"/>
                      </a:cubicBezTo>
                      <a:cubicBezTo>
                        <a:pt x="18" y="179"/>
                        <a:pt x="18" y="179"/>
                        <a:pt x="18" y="179"/>
                      </a:cubicBezTo>
                      <a:cubicBezTo>
                        <a:pt x="20" y="179"/>
                        <a:pt x="18" y="179"/>
                        <a:pt x="20" y="179"/>
                      </a:cubicBezTo>
                      <a:cubicBezTo>
                        <a:pt x="21" y="179"/>
                        <a:pt x="21" y="179"/>
                        <a:pt x="21" y="179"/>
                      </a:cubicBezTo>
                      <a:cubicBezTo>
                        <a:pt x="22" y="179"/>
                        <a:pt x="22" y="179"/>
                        <a:pt x="22" y="179"/>
                      </a:cubicBezTo>
                      <a:cubicBezTo>
                        <a:pt x="26" y="177"/>
                        <a:pt x="30" y="175"/>
                        <a:pt x="33" y="173"/>
                      </a:cubicBezTo>
                      <a:cubicBezTo>
                        <a:pt x="35" y="171"/>
                        <a:pt x="36" y="170"/>
                        <a:pt x="38" y="169"/>
                      </a:cubicBezTo>
                      <a:cubicBezTo>
                        <a:pt x="39" y="168"/>
                        <a:pt x="43" y="166"/>
                        <a:pt x="43" y="166"/>
                      </a:cubicBezTo>
                      <a:cubicBezTo>
                        <a:pt x="49" y="160"/>
                        <a:pt x="55" y="156"/>
                        <a:pt x="61" y="150"/>
                      </a:cubicBezTo>
                      <a:cubicBezTo>
                        <a:pt x="64" y="148"/>
                        <a:pt x="67" y="145"/>
                        <a:pt x="70" y="143"/>
                      </a:cubicBezTo>
                      <a:cubicBezTo>
                        <a:pt x="73" y="140"/>
                        <a:pt x="76" y="137"/>
                        <a:pt x="79" y="135"/>
                      </a:cubicBezTo>
                      <a:cubicBezTo>
                        <a:pt x="82" y="132"/>
                        <a:pt x="85" y="130"/>
                        <a:pt x="87" y="127"/>
                      </a:cubicBezTo>
                      <a:cubicBezTo>
                        <a:pt x="90" y="124"/>
                        <a:pt x="91" y="119"/>
                        <a:pt x="96" y="119"/>
                      </a:cubicBezTo>
                      <a:cubicBezTo>
                        <a:pt x="98" y="119"/>
                        <a:pt x="100" y="126"/>
                        <a:pt x="100" y="128"/>
                      </a:cubicBezTo>
                      <a:cubicBezTo>
                        <a:pt x="100" y="132"/>
                        <a:pt x="105" y="145"/>
                        <a:pt x="106" y="149"/>
                      </a:cubicBezTo>
                      <a:cubicBezTo>
                        <a:pt x="108" y="155"/>
                        <a:pt x="111" y="165"/>
                        <a:pt x="118" y="165"/>
                      </a:cubicBezTo>
                      <a:cubicBezTo>
                        <a:pt x="119" y="163"/>
                        <a:pt x="125" y="161"/>
                        <a:pt x="125" y="152"/>
                      </a:cubicBezTo>
                      <a:cubicBezTo>
                        <a:pt x="125" y="143"/>
                        <a:pt x="120" y="120"/>
                        <a:pt x="117" y="116"/>
                      </a:cubicBezTo>
                      <a:cubicBezTo>
                        <a:pt x="117" y="118"/>
                        <a:pt x="116" y="118"/>
                        <a:pt x="116" y="120"/>
                      </a:cubicBezTo>
                      <a:cubicBezTo>
                        <a:pt x="116" y="123"/>
                        <a:pt x="115" y="121"/>
                        <a:pt x="115" y="124"/>
                      </a:cubicBezTo>
                      <a:cubicBezTo>
                        <a:pt x="115" y="125"/>
                        <a:pt x="115" y="125"/>
                        <a:pt x="115" y="125"/>
                      </a:cubicBezTo>
                      <a:cubicBezTo>
                        <a:pt x="115" y="126"/>
                        <a:pt x="114" y="129"/>
                        <a:pt x="112" y="129"/>
                      </a:cubicBezTo>
                      <a:cubicBezTo>
                        <a:pt x="109" y="129"/>
                        <a:pt x="109" y="129"/>
                        <a:pt x="109" y="129"/>
                      </a:cubicBezTo>
                      <a:cubicBezTo>
                        <a:pt x="105" y="129"/>
                        <a:pt x="102" y="110"/>
                        <a:pt x="100" y="105"/>
                      </a:cubicBezTo>
                      <a:cubicBezTo>
                        <a:pt x="98" y="101"/>
                        <a:pt x="98" y="97"/>
                        <a:pt x="97" y="92"/>
                      </a:cubicBezTo>
                      <a:cubicBezTo>
                        <a:pt x="96" y="87"/>
                        <a:pt x="94" y="86"/>
                        <a:pt x="94" y="79"/>
                      </a:cubicBezTo>
                      <a:cubicBezTo>
                        <a:pt x="94" y="76"/>
                        <a:pt x="94" y="76"/>
                        <a:pt x="94" y="76"/>
                      </a:cubicBezTo>
                      <a:cubicBezTo>
                        <a:pt x="94" y="65"/>
                        <a:pt x="110" y="67"/>
                        <a:pt x="110" y="61"/>
                      </a:cubicBezTo>
                      <a:cubicBezTo>
                        <a:pt x="110" y="60"/>
                        <a:pt x="110" y="60"/>
                        <a:pt x="110" y="60"/>
                      </a:cubicBezTo>
                      <a:cubicBezTo>
                        <a:pt x="110" y="58"/>
                        <a:pt x="109" y="57"/>
                        <a:pt x="108" y="57"/>
                      </a:cubicBezTo>
                      <a:cubicBezTo>
                        <a:pt x="105" y="57"/>
                        <a:pt x="105" y="57"/>
                        <a:pt x="105" y="57"/>
                      </a:cubicBezTo>
                      <a:cubicBezTo>
                        <a:pt x="104" y="57"/>
                        <a:pt x="104" y="57"/>
                        <a:pt x="104" y="57"/>
                      </a:cubicBezTo>
                      <a:cubicBezTo>
                        <a:pt x="103" y="58"/>
                        <a:pt x="102" y="59"/>
                        <a:pt x="101" y="59"/>
                      </a:cubicBezTo>
                      <a:cubicBezTo>
                        <a:pt x="99" y="60"/>
                        <a:pt x="99" y="59"/>
                        <a:pt x="97" y="60"/>
                      </a:cubicBezTo>
                      <a:cubicBezTo>
                        <a:pt x="95" y="59"/>
                        <a:pt x="91" y="56"/>
                        <a:pt x="91" y="54"/>
                      </a:cubicBezTo>
                      <a:cubicBezTo>
                        <a:pt x="91" y="41"/>
                        <a:pt x="91" y="41"/>
                        <a:pt x="91" y="41"/>
                      </a:cubicBezTo>
                      <a:lnTo>
                        <a:pt x="91" y="29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6" name="ïṧļíde">
                  <a:extLst>
                    <a:ext uri="{FF2B5EF4-FFF2-40B4-BE49-F238E27FC236}">
                      <a16:creationId xmlns:a16="http://schemas.microsoft.com/office/drawing/2014/main" id="{EAACE7BC-EE44-439C-AA2D-1AFA40B3E9EE}"/>
                    </a:ext>
                  </a:extLst>
                </p:cNvPr>
                <p:cNvSpPr/>
                <p:nvPr/>
              </p:nvSpPr>
              <p:spPr bwMode="auto">
                <a:xfrm>
                  <a:off x="5478463" y="3581400"/>
                  <a:ext cx="46038" cy="76200"/>
                </a:xfrm>
                <a:custGeom>
                  <a:avLst/>
                  <a:gdLst>
                    <a:gd name="T0" fmla="*/ 14 w 14"/>
                    <a:gd name="T1" fmla="*/ 15 h 23"/>
                    <a:gd name="T2" fmla="*/ 10 w 14"/>
                    <a:gd name="T3" fmla="*/ 6 h 23"/>
                    <a:gd name="T4" fmla="*/ 3 w 14"/>
                    <a:gd name="T5" fmla="*/ 0 h 23"/>
                    <a:gd name="T6" fmla="*/ 0 w 14"/>
                    <a:gd name="T7" fmla="*/ 3 h 23"/>
                    <a:gd name="T8" fmla="*/ 5 w 14"/>
                    <a:gd name="T9" fmla="*/ 11 h 23"/>
                    <a:gd name="T10" fmla="*/ 5 w 14"/>
                    <a:gd name="T11" fmla="*/ 12 h 23"/>
                    <a:gd name="T12" fmla="*/ 5 w 14"/>
                    <a:gd name="T13" fmla="*/ 14 h 23"/>
                    <a:gd name="T14" fmla="*/ 5 w 14"/>
                    <a:gd name="T15" fmla="*/ 15 h 23"/>
                    <a:gd name="T16" fmla="*/ 2 w 14"/>
                    <a:gd name="T17" fmla="*/ 19 h 23"/>
                    <a:gd name="T18" fmla="*/ 2 w 14"/>
                    <a:gd name="T19" fmla="*/ 22 h 23"/>
                    <a:gd name="T20" fmla="*/ 5 w 14"/>
                    <a:gd name="T21" fmla="*/ 23 h 23"/>
                    <a:gd name="T22" fmla="*/ 6 w 14"/>
                    <a:gd name="T23" fmla="*/ 23 h 23"/>
                    <a:gd name="T24" fmla="*/ 11 w 14"/>
                    <a:gd name="T25" fmla="*/ 20 h 23"/>
                    <a:gd name="T26" fmla="*/ 14 w 14"/>
                    <a:gd name="T27" fmla="*/ 1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23">
                      <a:moveTo>
                        <a:pt x="14" y="15"/>
                      </a:moveTo>
                      <a:cubicBezTo>
                        <a:pt x="14" y="11"/>
                        <a:pt x="12" y="9"/>
                        <a:pt x="10" y="6"/>
                      </a:cubicBezTo>
                      <a:cubicBezTo>
                        <a:pt x="8" y="5"/>
                        <a:pt x="3" y="1"/>
                        <a:pt x="3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7" y="23"/>
                        <a:pt x="11" y="21"/>
                        <a:pt x="11" y="20"/>
                      </a:cubicBezTo>
                      <a:cubicBezTo>
                        <a:pt x="13" y="19"/>
                        <a:pt x="13" y="17"/>
                        <a:pt x="14" y="15"/>
                      </a:cubicBez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7" name="ïṥľîḋê">
                  <a:extLst>
                    <a:ext uri="{FF2B5EF4-FFF2-40B4-BE49-F238E27FC236}">
                      <a16:creationId xmlns:a16="http://schemas.microsoft.com/office/drawing/2014/main" id="{8A0FBED0-829E-47D5-9087-2B99AC048092}"/>
                    </a:ext>
                  </a:extLst>
                </p:cNvPr>
                <p:cNvSpPr/>
                <p:nvPr/>
              </p:nvSpPr>
              <p:spPr bwMode="auto">
                <a:xfrm>
                  <a:off x="6310313" y="3136900"/>
                  <a:ext cx="406400" cy="554038"/>
                </a:xfrm>
                <a:custGeom>
                  <a:avLst/>
                  <a:gdLst>
                    <a:gd name="T0" fmla="*/ 101 w 123"/>
                    <a:gd name="T1" fmla="*/ 9 h 166"/>
                    <a:gd name="T2" fmla="*/ 96 w 123"/>
                    <a:gd name="T3" fmla="*/ 0 h 166"/>
                    <a:gd name="T4" fmla="*/ 76 w 123"/>
                    <a:gd name="T5" fmla="*/ 23 h 166"/>
                    <a:gd name="T6" fmla="*/ 66 w 123"/>
                    <a:gd name="T7" fmla="*/ 20 h 166"/>
                    <a:gd name="T8" fmla="*/ 69 w 123"/>
                    <a:gd name="T9" fmla="*/ 29 h 166"/>
                    <a:gd name="T10" fmla="*/ 64 w 123"/>
                    <a:gd name="T11" fmla="*/ 38 h 166"/>
                    <a:gd name="T12" fmla="*/ 71 w 123"/>
                    <a:gd name="T13" fmla="*/ 37 h 166"/>
                    <a:gd name="T14" fmla="*/ 78 w 123"/>
                    <a:gd name="T15" fmla="*/ 38 h 166"/>
                    <a:gd name="T16" fmla="*/ 104 w 123"/>
                    <a:gd name="T17" fmla="*/ 37 h 166"/>
                    <a:gd name="T18" fmla="*/ 97 w 123"/>
                    <a:gd name="T19" fmla="*/ 43 h 166"/>
                    <a:gd name="T20" fmla="*/ 85 w 123"/>
                    <a:gd name="T21" fmla="*/ 56 h 166"/>
                    <a:gd name="T22" fmla="*/ 78 w 123"/>
                    <a:gd name="T23" fmla="*/ 67 h 166"/>
                    <a:gd name="T24" fmla="*/ 72 w 123"/>
                    <a:gd name="T25" fmla="*/ 62 h 166"/>
                    <a:gd name="T26" fmla="*/ 72 w 123"/>
                    <a:gd name="T27" fmla="*/ 48 h 166"/>
                    <a:gd name="T28" fmla="*/ 63 w 123"/>
                    <a:gd name="T29" fmla="*/ 57 h 166"/>
                    <a:gd name="T30" fmla="*/ 56 w 123"/>
                    <a:gd name="T31" fmla="*/ 57 h 166"/>
                    <a:gd name="T32" fmla="*/ 61 w 123"/>
                    <a:gd name="T33" fmla="*/ 66 h 166"/>
                    <a:gd name="T34" fmla="*/ 59 w 123"/>
                    <a:gd name="T35" fmla="*/ 70 h 166"/>
                    <a:gd name="T36" fmla="*/ 68 w 123"/>
                    <a:gd name="T37" fmla="*/ 74 h 166"/>
                    <a:gd name="T38" fmla="*/ 68 w 123"/>
                    <a:gd name="T39" fmla="*/ 78 h 166"/>
                    <a:gd name="T40" fmla="*/ 40 w 123"/>
                    <a:gd name="T41" fmla="*/ 92 h 166"/>
                    <a:gd name="T42" fmla="*/ 24 w 123"/>
                    <a:gd name="T43" fmla="*/ 99 h 166"/>
                    <a:gd name="T44" fmla="*/ 3 w 123"/>
                    <a:gd name="T45" fmla="*/ 105 h 166"/>
                    <a:gd name="T46" fmla="*/ 2 w 123"/>
                    <a:gd name="T47" fmla="*/ 112 h 166"/>
                    <a:gd name="T48" fmla="*/ 14 w 123"/>
                    <a:gd name="T49" fmla="*/ 120 h 166"/>
                    <a:gd name="T50" fmla="*/ 32 w 123"/>
                    <a:gd name="T51" fmla="*/ 108 h 166"/>
                    <a:gd name="T52" fmla="*/ 55 w 123"/>
                    <a:gd name="T53" fmla="*/ 93 h 166"/>
                    <a:gd name="T54" fmla="*/ 63 w 123"/>
                    <a:gd name="T55" fmla="*/ 89 h 166"/>
                    <a:gd name="T56" fmla="*/ 82 w 123"/>
                    <a:gd name="T57" fmla="*/ 83 h 166"/>
                    <a:gd name="T58" fmla="*/ 82 w 123"/>
                    <a:gd name="T59" fmla="*/ 86 h 166"/>
                    <a:gd name="T60" fmla="*/ 74 w 123"/>
                    <a:gd name="T61" fmla="*/ 97 h 166"/>
                    <a:gd name="T62" fmla="*/ 61 w 123"/>
                    <a:gd name="T63" fmla="*/ 107 h 166"/>
                    <a:gd name="T64" fmla="*/ 64 w 123"/>
                    <a:gd name="T65" fmla="*/ 118 h 166"/>
                    <a:gd name="T66" fmla="*/ 55 w 123"/>
                    <a:gd name="T67" fmla="*/ 126 h 166"/>
                    <a:gd name="T68" fmla="*/ 40 w 123"/>
                    <a:gd name="T69" fmla="*/ 129 h 166"/>
                    <a:gd name="T70" fmla="*/ 30 w 123"/>
                    <a:gd name="T71" fmla="*/ 130 h 166"/>
                    <a:gd name="T72" fmla="*/ 35 w 123"/>
                    <a:gd name="T73" fmla="*/ 141 h 166"/>
                    <a:gd name="T74" fmla="*/ 38 w 123"/>
                    <a:gd name="T75" fmla="*/ 141 h 166"/>
                    <a:gd name="T76" fmla="*/ 56 w 123"/>
                    <a:gd name="T77" fmla="*/ 133 h 166"/>
                    <a:gd name="T78" fmla="*/ 63 w 123"/>
                    <a:gd name="T79" fmla="*/ 141 h 166"/>
                    <a:gd name="T80" fmla="*/ 56 w 123"/>
                    <a:gd name="T81" fmla="*/ 154 h 166"/>
                    <a:gd name="T82" fmla="*/ 53 w 123"/>
                    <a:gd name="T83" fmla="*/ 154 h 166"/>
                    <a:gd name="T84" fmla="*/ 49 w 123"/>
                    <a:gd name="T85" fmla="*/ 154 h 166"/>
                    <a:gd name="T86" fmla="*/ 46 w 123"/>
                    <a:gd name="T87" fmla="*/ 156 h 166"/>
                    <a:gd name="T88" fmla="*/ 56 w 123"/>
                    <a:gd name="T89" fmla="*/ 166 h 166"/>
                    <a:gd name="T90" fmla="*/ 71 w 123"/>
                    <a:gd name="T91" fmla="*/ 160 h 166"/>
                    <a:gd name="T92" fmla="*/ 75 w 123"/>
                    <a:gd name="T93" fmla="*/ 146 h 166"/>
                    <a:gd name="T94" fmla="*/ 80 w 123"/>
                    <a:gd name="T95" fmla="*/ 124 h 166"/>
                    <a:gd name="T96" fmla="*/ 94 w 123"/>
                    <a:gd name="T97" fmla="*/ 120 h 166"/>
                    <a:gd name="T98" fmla="*/ 81 w 123"/>
                    <a:gd name="T99" fmla="*/ 117 h 166"/>
                    <a:gd name="T100" fmla="*/ 72 w 123"/>
                    <a:gd name="T101" fmla="*/ 107 h 166"/>
                    <a:gd name="T102" fmla="*/ 78 w 123"/>
                    <a:gd name="T103" fmla="*/ 96 h 166"/>
                    <a:gd name="T104" fmla="*/ 92 w 123"/>
                    <a:gd name="T105" fmla="*/ 89 h 166"/>
                    <a:gd name="T106" fmla="*/ 102 w 123"/>
                    <a:gd name="T107" fmla="*/ 78 h 166"/>
                    <a:gd name="T108" fmla="*/ 95 w 123"/>
                    <a:gd name="T109" fmla="*/ 61 h 166"/>
                    <a:gd name="T110" fmla="*/ 109 w 123"/>
                    <a:gd name="T111" fmla="*/ 48 h 166"/>
                    <a:gd name="T112" fmla="*/ 116 w 123"/>
                    <a:gd name="T113" fmla="*/ 42 h 166"/>
                    <a:gd name="T114" fmla="*/ 121 w 123"/>
                    <a:gd name="T115" fmla="*/ 32 h 166"/>
                    <a:gd name="T116" fmla="*/ 116 w 123"/>
                    <a:gd name="T117" fmla="*/ 17 h 166"/>
                    <a:gd name="T118" fmla="*/ 104 w 123"/>
                    <a:gd name="T119" fmla="*/ 20 h 166"/>
                    <a:gd name="T120" fmla="*/ 93 w 123"/>
                    <a:gd name="T121" fmla="*/ 21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3" h="166">
                      <a:moveTo>
                        <a:pt x="93" y="21"/>
                      </a:moveTo>
                      <a:cubicBezTo>
                        <a:pt x="94" y="14"/>
                        <a:pt x="98" y="14"/>
                        <a:pt x="101" y="9"/>
                      </a:cubicBezTo>
                      <a:cubicBezTo>
                        <a:pt x="101" y="8"/>
                        <a:pt x="101" y="8"/>
                        <a:pt x="101" y="8"/>
                      </a:cubicBezTo>
                      <a:cubicBezTo>
                        <a:pt x="101" y="5"/>
                        <a:pt x="97" y="1"/>
                        <a:pt x="96" y="0"/>
                      </a:cubicBezTo>
                      <a:cubicBezTo>
                        <a:pt x="89" y="3"/>
                        <a:pt x="91" y="6"/>
                        <a:pt x="88" y="13"/>
                      </a:cubicBezTo>
                      <a:cubicBezTo>
                        <a:pt x="85" y="17"/>
                        <a:pt x="82" y="23"/>
                        <a:pt x="76" y="23"/>
                      </a:cubicBezTo>
                      <a:cubicBezTo>
                        <a:pt x="75" y="23"/>
                        <a:pt x="70" y="18"/>
                        <a:pt x="67" y="17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67" y="23"/>
                        <a:pt x="69" y="24"/>
                        <a:pt x="69" y="28"/>
                      </a:cubicBezTo>
                      <a:cubicBezTo>
                        <a:pt x="69" y="29"/>
                        <a:pt x="69" y="29"/>
                        <a:pt x="69" y="29"/>
                      </a:cubicBezTo>
                      <a:cubicBezTo>
                        <a:pt x="69" y="29"/>
                        <a:pt x="63" y="36"/>
                        <a:pt x="62" y="37"/>
                      </a:cubicBezTo>
                      <a:cubicBezTo>
                        <a:pt x="63" y="38"/>
                        <a:pt x="61" y="38"/>
                        <a:pt x="64" y="38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71" y="37"/>
                        <a:pt x="71" y="37"/>
                        <a:pt x="71" y="37"/>
                      </a:cubicBezTo>
                      <a:cubicBezTo>
                        <a:pt x="74" y="37"/>
                        <a:pt x="74" y="38"/>
                        <a:pt x="78" y="38"/>
                      </a:cubicBezTo>
                      <a:cubicBezTo>
                        <a:pt x="78" y="38"/>
                        <a:pt x="78" y="38"/>
                        <a:pt x="78" y="38"/>
                      </a:cubicBezTo>
                      <a:cubicBezTo>
                        <a:pt x="79" y="38"/>
                        <a:pt x="84" y="33"/>
                        <a:pt x="91" y="32"/>
                      </a:cubicBezTo>
                      <a:cubicBezTo>
                        <a:pt x="96" y="31"/>
                        <a:pt x="104" y="30"/>
                        <a:pt x="104" y="37"/>
                      </a:cubicBezTo>
                      <a:cubicBezTo>
                        <a:pt x="104" y="39"/>
                        <a:pt x="102" y="41"/>
                        <a:pt x="101" y="43"/>
                      </a:cubicBezTo>
                      <a:cubicBezTo>
                        <a:pt x="98" y="43"/>
                        <a:pt x="99" y="43"/>
                        <a:pt x="97" y="43"/>
                      </a:cubicBezTo>
                      <a:cubicBezTo>
                        <a:pt x="96" y="43"/>
                        <a:pt x="93" y="42"/>
                        <a:pt x="92" y="41"/>
                      </a:cubicBezTo>
                      <a:cubicBezTo>
                        <a:pt x="85" y="46"/>
                        <a:pt x="88" y="49"/>
                        <a:pt x="85" y="56"/>
                      </a:cubicBezTo>
                      <a:cubicBezTo>
                        <a:pt x="84" y="57"/>
                        <a:pt x="81" y="64"/>
                        <a:pt x="81" y="64"/>
                      </a:cubicBezTo>
                      <a:cubicBezTo>
                        <a:pt x="80" y="66"/>
                        <a:pt x="80" y="64"/>
                        <a:pt x="78" y="67"/>
                      </a:cubicBezTo>
                      <a:cubicBezTo>
                        <a:pt x="77" y="70"/>
                        <a:pt x="78" y="68"/>
                        <a:pt x="76" y="70"/>
                      </a:cubicBezTo>
                      <a:cubicBezTo>
                        <a:pt x="74" y="67"/>
                        <a:pt x="72" y="66"/>
                        <a:pt x="72" y="62"/>
                      </a:cubicBezTo>
                      <a:cubicBezTo>
                        <a:pt x="72" y="61"/>
                        <a:pt x="75" y="55"/>
                        <a:pt x="76" y="54"/>
                      </a:cubicBezTo>
                      <a:cubicBezTo>
                        <a:pt x="75" y="51"/>
                        <a:pt x="75" y="48"/>
                        <a:pt x="72" y="48"/>
                      </a:cubicBezTo>
                      <a:cubicBezTo>
                        <a:pt x="71" y="48"/>
                        <a:pt x="70" y="49"/>
                        <a:pt x="70" y="49"/>
                      </a:cubicBezTo>
                      <a:cubicBezTo>
                        <a:pt x="70" y="55"/>
                        <a:pt x="67" y="55"/>
                        <a:pt x="63" y="57"/>
                      </a:cubicBezTo>
                      <a:cubicBezTo>
                        <a:pt x="62" y="56"/>
                        <a:pt x="60" y="55"/>
                        <a:pt x="59" y="55"/>
                      </a:cubicBezTo>
                      <a:cubicBezTo>
                        <a:pt x="58" y="55"/>
                        <a:pt x="56" y="57"/>
                        <a:pt x="56" y="57"/>
                      </a:cubicBezTo>
                      <a:cubicBezTo>
                        <a:pt x="58" y="60"/>
                        <a:pt x="59" y="60"/>
                        <a:pt x="61" y="64"/>
                      </a:cubicBezTo>
                      <a:cubicBezTo>
                        <a:pt x="61" y="66"/>
                        <a:pt x="61" y="66"/>
                        <a:pt x="61" y="66"/>
                      </a:cubicBezTo>
                      <a:cubicBezTo>
                        <a:pt x="61" y="67"/>
                        <a:pt x="61" y="67"/>
                        <a:pt x="61" y="67"/>
                      </a:cubicBezTo>
                      <a:cubicBezTo>
                        <a:pt x="59" y="70"/>
                        <a:pt x="59" y="70"/>
                        <a:pt x="59" y="70"/>
                      </a:cubicBezTo>
                      <a:cubicBezTo>
                        <a:pt x="60" y="71"/>
                        <a:pt x="58" y="71"/>
                        <a:pt x="61" y="71"/>
                      </a:cubicBezTo>
                      <a:cubicBezTo>
                        <a:pt x="64" y="71"/>
                        <a:pt x="66" y="72"/>
                        <a:pt x="68" y="74"/>
                      </a:cubicBezTo>
                      <a:cubicBezTo>
                        <a:pt x="68" y="75"/>
                        <a:pt x="68" y="75"/>
                        <a:pt x="68" y="75"/>
                      </a:cubicBezTo>
                      <a:cubicBezTo>
                        <a:pt x="68" y="78"/>
                        <a:pt x="68" y="78"/>
                        <a:pt x="68" y="78"/>
                      </a:cubicBezTo>
                      <a:cubicBezTo>
                        <a:pt x="68" y="82"/>
                        <a:pt x="58" y="85"/>
                        <a:pt x="55" y="86"/>
                      </a:cubicBezTo>
                      <a:cubicBezTo>
                        <a:pt x="50" y="88"/>
                        <a:pt x="44" y="91"/>
                        <a:pt x="40" y="92"/>
                      </a:cubicBezTo>
                      <a:cubicBezTo>
                        <a:pt x="36" y="94"/>
                        <a:pt x="35" y="94"/>
                        <a:pt x="32" y="96"/>
                      </a:cubicBezTo>
                      <a:cubicBezTo>
                        <a:pt x="29" y="97"/>
                        <a:pt x="27" y="97"/>
                        <a:pt x="24" y="99"/>
                      </a:cubicBezTo>
                      <a:cubicBezTo>
                        <a:pt x="20" y="101"/>
                        <a:pt x="13" y="104"/>
                        <a:pt x="9" y="104"/>
                      </a:cubicBezTo>
                      <a:cubicBezTo>
                        <a:pt x="3" y="105"/>
                        <a:pt x="3" y="105"/>
                        <a:pt x="3" y="105"/>
                      </a:cubicBezTo>
                      <a:cubicBezTo>
                        <a:pt x="1" y="105"/>
                        <a:pt x="1" y="106"/>
                        <a:pt x="0" y="107"/>
                      </a:cubicBezTo>
                      <a:cubicBezTo>
                        <a:pt x="0" y="108"/>
                        <a:pt x="0" y="111"/>
                        <a:pt x="2" y="112"/>
                      </a:cubicBezTo>
                      <a:cubicBezTo>
                        <a:pt x="4" y="114"/>
                        <a:pt x="3" y="114"/>
                        <a:pt x="5" y="115"/>
                      </a:cubicBezTo>
                      <a:cubicBezTo>
                        <a:pt x="6" y="116"/>
                        <a:pt x="12" y="119"/>
                        <a:pt x="14" y="120"/>
                      </a:cubicBezTo>
                      <a:cubicBezTo>
                        <a:pt x="15" y="119"/>
                        <a:pt x="15" y="119"/>
                        <a:pt x="17" y="119"/>
                      </a:cubicBezTo>
                      <a:cubicBezTo>
                        <a:pt x="20" y="119"/>
                        <a:pt x="30" y="110"/>
                        <a:pt x="32" y="108"/>
                      </a:cubicBezTo>
                      <a:cubicBezTo>
                        <a:pt x="36" y="104"/>
                        <a:pt x="42" y="101"/>
                        <a:pt x="47" y="98"/>
                      </a:cubicBezTo>
                      <a:cubicBezTo>
                        <a:pt x="50" y="96"/>
                        <a:pt x="52" y="95"/>
                        <a:pt x="55" y="93"/>
                      </a:cubicBezTo>
                      <a:cubicBezTo>
                        <a:pt x="57" y="92"/>
                        <a:pt x="58" y="92"/>
                        <a:pt x="59" y="91"/>
                      </a:cubicBezTo>
                      <a:cubicBezTo>
                        <a:pt x="61" y="90"/>
                        <a:pt x="61" y="90"/>
                        <a:pt x="63" y="89"/>
                      </a:cubicBezTo>
                      <a:cubicBezTo>
                        <a:pt x="68" y="87"/>
                        <a:pt x="74" y="80"/>
                        <a:pt x="79" y="80"/>
                      </a:cubicBezTo>
                      <a:cubicBezTo>
                        <a:pt x="81" y="80"/>
                        <a:pt x="82" y="82"/>
                        <a:pt x="82" y="83"/>
                      </a:cubicBezTo>
                      <a:cubicBezTo>
                        <a:pt x="82" y="85"/>
                        <a:pt x="82" y="85"/>
                        <a:pt x="82" y="85"/>
                      </a:cubicBezTo>
                      <a:cubicBezTo>
                        <a:pt x="82" y="86"/>
                        <a:pt x="82" y="86"/>
                        <a:pt x="82" y="86"/>
                      </a:cubicBezTo>
                      <a:cubicBezTo>
                        <a:pt x="80" y="90"/>
                        <a:pt x="79" y="89"/>
                        <a:pt x="78" y="93"/>
                      </a:cubicBezTo>
                      <a:cubicBezTo>
                        <a:pt x="75" y="94"/>
                        <a:pt x="75" y="94"/>
                        <a:pt x="74" y="97"/>
                      </a:cubicBezTo>
                      <a:cubicBezTo>
                        <a:pt x="69" y="98"/>
                        <a:pt x="71" y="99"/>
                        <a:pt x="67" y="101"/>
                      </a:cubicBezTo>
                      <a:cubicBezTo>
                        <a:pt x="63" y="103"/>
                        <a:pt x="63" y="103"/>
                        <a:pt x="61" y="107"/>
                      </a:cubicBezTo>
                      <a:cubicBezTo>
                        <a:pt x="61" y="110"/>
                        <a:pt x="64" y="114"/>
                        <a:pt x="64" y="117"/>
                      </a:cubicBezTo>
                      <a:cubicBezTo>
                        <a:pt x="64" y="118"/>
                        <a:pt x="64" y="118"/>
                        <a:pt x="64" y="118"/>
                      </a:cubicBezTo>
                      <a:cubicBezTo>
                        <a:pt x="64" y="119"/>
                        <a:pt x="64" y="119"/>
                        <a:pt x="64" y="119"/>
                      </a:cubicBezTo>
                      <a:cubicBezTo>
                        <a:pt x="61" y="123"/>
                        <a:pt x="60" y="125"/>
                        <a:pt x="55" y="126"/>
                      </a:cubicBezTo>
                      <a:cubicBezTo>
                        <a:pt x="51" y="127"/>
                        <a:pt x="43" y="129"/>
                        <a:pt x="41" y="129"/>
                      </a:cubicBezTo>
                      <a:cubicBezTo>
                        <a:pt x="40" y="129"/>
                        <a:pt x="40" y="129"/>
                        <a:pt x="40" y="129"/>
                      </a:cubicBezTo>
                      <a:cubicBezTo>
                        <a:pt x="32" y="130"/>
                        <a:pt x="32" y="130"/>
                        <a:pt x="32" y="130"/>
                      </a:cubicBezTo>
                      <a:cubicBezTo>
                        <a:pt x="30" y="130"/>
                        <a:pt x="30" y="130"/>
                        <a:pt x="30" y="130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30" y="136"/>
                        <a:pt x="30" y="138"/>
                        <a:pt x="35" y="141"/>
                      </a:cubicBezTo>
                      <a:cubicBezTo>
                        <a:pt x="36" y="141"/>
                        <a:pt x="36" y="141"/>
                        <a:pt x="36" y="141"/>
                      </a:cubicBezTo>
                      <a:cubicBezTo>
                        <a:pt x="38" y="141"/>
                        <a:pt x="38" y="141"/>
                        <a:pt x="38" y="141"/>
                      </a:cubicBezTo>
                      <a:cubicBezTo>
                        <a:pt x="39" y="141"/>
                        <a:pt x="39" y="141"/>
                        <a:pt x="39" y="141"/>
                      </a:cubicBezTo>
                      <a:cubicBezTo>
                        <a:pt x="43" y="138"/>
                        <a:pt x="51" y="133"/>
                        <a:pt x="56" y="133"/>
                      </a:cubicBezTo>
                      <a:cubicBezTo>
                        <a:pt x="58" y="133"/>
                        <a:pt x="58" y="133"/>
                        <a:pt x="58" y="133"/>
                      </a:cubicBezTo>
                      <a:cubicBezTo>
                        <a:pt x="62" y="133"/>
                        <a:pt x="63" y="137"/>
                        <a:pt x="63" y="141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3" y="150"/>
                        <a:pt x="60" y="152"/>
                        <a:pt x="56" y="154"/>
                      </a:cubicBezTo>
                      <a:cubicBezTo>
                        <a:pt x="55" y="154"/>
                        <a:pt x="55" y="154"/>
                        <a:pt x="55" y="154"/>
                      </a:cubicBezTo>
                      <a:cubicBezTo>
                        <a:pt x="53" y="154"/>
                        <a:pt x="53" y="154"/>
                        <a:pt x="53" y="154"/>
                      </a:cubicBezTo>
                      <a:cubicBezTo>
                        <a:pt x="52" y="154"/>
                        <a:pt x="52" y="154"/>
                        <a:pt x="51" y="153"/>
                      </a:cubicBezTo>
                      <a:cubicBezTo>
                        <a:pt x="50" y="154"/>
                        <a:pt x="50" y="154"/>
                        <a:pt x="49" y="154"/>
                      </a:cubicBezTo>
                      <a:cubicBezTo>
                        <a:pt x="47" y="154"/>
                        <a:pt x="47" y="154"/>
                        <a:pt x="47" y="154"/>
                      </a:cubicBezTo>
                      <a:cubicBezTo>
                        <a:pt x="47" y="155"/>
                        <a:pt x="46" y="155"/>
                        <a:pt x="46" y="156"/>
                      </a:cubicBezTo>
                      <a:cubicBezTo>
                        <a:pt x="46" y="158"/>
                        <a:pt x="53" y="165"/>
                        <a:pt x="55" y="166"/>
                      </a:cubicBezTo>
                      <a:cubicBezTo>
                        <a:pt x="56" y="166"/>
                        <a:pt x="56" y="166"/>
                        <a:pt x="56" y="166"/>
                      </a:cubicBezTo>
                      <a:cubicBezTo>
                        <a:pt x="61" y="166"/>
                        <a:pt x="61" y="166"/>
                        <a:pt x="61" y="166"/>
                      </a:cubicBezTo>
                      <a:cubicBezTo>
                        <a:pt x="66" y="166"/>
                        <a:pt x="69" y="163"/>
                        <a:pt x="71" y="160"/>
                      </a:cubicBezTo>
                      <a:cubicBezTo>
                        <a:pt x="74" y="155"/>
                        <a:pt x="74" y="151"/>
                        <a:pt x="76" y="148"/>
                      </a:cubicBezTo>
                      <a:cubicBezTo>
                        <a:pt x="75" y="146"/>
                        <a:pt x="75" y="148"/>
                        <a:pt x="75" y="146"/>
                      </a:cubicBezTo>
                      <a:cubicBezTo>
                        <a:pt x="75" y="138"/>
                        <a:pt x="75" y="138"/>
                        <a:pt x="75" y="138"/>
                      </a:cubicBezTo>
                      <a:cubicBezTo>
                        <a:pt x="75" y="130"/>
                        <a:pt x="74" y="128"/>
                        <a:pt x="80" y="124"/>
                      </a:cubicBezTo>
                      <a:cubicBezTo>
                        <a:pt x="81" y="124"/>
                        <a:pt x="81" y="124"/>
                        <a:pt x="81" y="124"/>
                      </a:cubicBezTo>
                      <a:cubicBezTo>
                        <a:pt x="90" y="124"/>
                        <a:pt x="90" y="127"/>
                        <a:pt x="94" y="120"/>
                      </a:cubicBezTo>
                      <a:cubicBezTo>
                        <a:pt x="92" y="117"/>
                        <a:pt x="91" y="116"/>
                        <a:pt x="88" y="115"/>
                      </a:cubicBezTo>
                      <a:cubicBezTo>
                        <a:pt x="86" y="116"/>
                        <a:pt x="84" y="117"/>
                        <a:pt x="81" y="117"/>
                      </a:cubicBezTo>
                      <a:cubicBezTo>
                        <a:pt x="79" y="117"/>
                        <a:pt x="79" y="117"/>
                        <a:pt x="79" y="117"/>
                      </a:cubicBezTo>
                      <a:cubicBezTo>
                        <a:pt x="77" y="116"/>
                        <a:pt x="72" y="109"/>
                        <a:pt x="72" y="107"/>
                      </a:cubicBezTo>
                      <a:cubicBezTo>
                        <a:pt x="72" y="105"/>
                        <a:pt x="72" y="105"/>
                        <a:pt x="72" y="105"/>
                      </a:cubicBezTo>
                      <a:cubicBezTo>
                        <a:pt x="72" y="99"/>
                        <a:pt x="75" y="100"/>
                        <a:pt x="78" y="96"/>
                      </a:cubicBezTo>
                      <a:cubicBezTo>
                        <a:pt x="80" y="96"/>
                        <a:pt x="80" y="96"/>
                        <a:pt x="80" y="96"/>
                      </a:cubicBezTo>
                      <a:cubicBezTo>
                        <a:pt x="82" y="93"/>
                        <a:pt x="89" y="90"/>
                        <a:pt x="92" y="89"/>
                      </a:cubicBezTo>
                      <a:cubicBezTo>
                        <a:pt x="95" y="87"/>
                        <a:pt x="101" y="83"/>
                        <a:pt x="101" y="80"/>
                      </a:cubicBezTo>
                      <a:cubicBezTo>
                        <a:pt x="101" y="77"/>
                        <a:pt x="101" y="79"/>
                        <a:pt x="102" y="78"/>
                      </a:cubicBezTo>
                      <a:cubicBezTo>
                        <a:pt x="101" y="77"/>
                        <a:pt x="101" y="79"/>
                        <a:pt x="101" y="77"/>
                      </a:cubicBezTo>
                      <a:cubicBezTo>
                        <a:pt x="101" y="73"/>
                        <a:pt x="96" y="64"/>
                        <a:pt x="95" y="61"/>
                      </a:cubicBezTo>
                      <a:cubicBezTo>
                        <a:pt x="95" y="61"/>
                        <a:pt x="101" y="55"/>
                        <a:pt x="102" y="55"/>
                      </a:cubicBezTo>
                      <a:cubicBezTo>
                        <a:pt x="104" y="52"/>
                        <a:pt x="106" y="51"/>
                        <a:pt x="109" y="48"/>
                      </a:cubicBezTo>
                      <a:cubicBezTo>
                        <a:pt x="110" y="47"/>
                        <a:pt x="112" y="46"/>
                        <a:pt x="113" y="45"/>
                      </a:cubicBezTo>
                      <a:cubicBezTo>
                        <a:pt x="114" y="44"/>
                        <a:pt x="115" y="43"/>
                        <a:pt x="116" y="42"/>
                      </a:cubicBezTo>
                      <a:cubicBezTo>
                        <a:pt x="118" y="39"/>
                        <a:pt x="118" y="35"/>
                        <a:pt x="121" y="34"/>
                      </a:cubicBezTo>
                      <a:cubicBezTo>
                        <a:pt x="121" y="32"/>
                        <a:pt x="121" y="32"/>
                        <a:pt x="121" y="32"/>
                      </a:cubicBezTo>
                      <a:cubicBezTo>
                        <a:pt x="121" y="27"/>
                        <a:pt x="123" y="30"/>
                        <a:pt x="120" y="24"/>
                      </a:cubicBezTo>
                      <a:cubicBezTo>
                        <a:pt x="118" y="20"/>
                        <a:pt x="118" y="20"/>
                        <a:pt x="116" y="17"/>
                      </a:cubicBezTo>
                      <a:cubicBezTo>
                        <a:pt x="113" y="17"/>
                        <a:pt x="113" y="17"/>
                        <a:pt x="113" y="17"/>
                      </a:cubicBezTo>
                      <a:cubicBezTo>
                        <a:pt x="111" y="17"/>
                        <a:pt x="105" y="19"/>
                        <a:pt x="104" y="20"/>
                      </a:cubicBezTo>
                      <a:cubicBezTo>
                        <a:pt x="101" y="23"/>
                        <a:pt x="102" y="23"/>
                        <a:pt x="96" y="24"/>
                      </a:cubicBezTo>
                      <a:lnTo>
                        <a:pt x="93" y="21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38" name="ïṣ1íde">
                  <a:extLst>
                    <a:ext uri="{FF2B5EF4-FFF2-40B4-BE49-F238E27FC236}">
                      <a16:creationId xmlns:a16="http://schemas.microsoft.com/office/drawing/2014/main" id="{5C8FBB00-B21F-44F8-AA2F-A179033734D9}"/>
                    </a:ext>
                  </a:extLst>
                </p:cNvPr>
                <p:cNvSpPr/>
                <p:nvPr/>
              </p:nvSpPr>
              <p:spPr bwMode="auto">
                <a:xfrm>
                  <a:off x="5159376" y="3357563"/>
                  <a:ext cx="117475" cy="366713"/>
                </a:xfrm>
                <a:custGeom>
                  <a:avLst/>
                  <a:gdLst>
                    <a:gd name="T0" fmla="*/ 23 w 36"/>
                    <a:gd name="T1" fmla="*/ 14 h 110"/>
                    <a:gd name="T2" fmla="*/ 23 w 36"/>
                    <a:gd name="T3" fmla="*/ 12 h 110"/>
                    <a:gd name="T4" fmla="*/ 18 w 36"/>
                    <a:gd name="T5" fmla="*/ 6 h 110"/>
                    <a:gd name="T6" fmla="*/ 13 w 36"/>
                    <a:gd name="T7" fmla="*/ 0 h 110"/>
                    <a:gd name="T8" fmla="*/ 11 w 36"/>
                    <a:gd name="T9" fmla="*/ 4 h 110"/>
                    <a:gd name="T10" fmla="*/ 13 w 36"/>
                    <a:gd name="T11" fmla="*/ 16 h 110"/>
                    <a:gd name="T12" fmla="*/ 12 w 36"/>
                    <a:gd name="T13" fmla="*/ 34 h 110"/>
                    <a:gd name="T14" fmla="*/ 7 w 36"/>
                    <a:gd name="T15" fmla="*/ 65 h 110"/>
                    <a:gd name="T16" fmla="*/ 3 w 36"/>
                    <a:gd name="T17" fmla="*/ 80 h 110"/>
                    <a:gd name="T18" fmla="*/ 0 w 36"/>
                    <a:gd name="T19" fmla="*/ 95 h 110"/>
                    <a:gd name="T20" fmla="*/ 0 w 36"/>
                    <a:gd name="T21" fmla="*/ 98 h 110"/>
                    <a:gd name="T22" fmla="*/ 0 w 36"/>
                    <a:gd name="T23" fmla="*/ 100 h 110"/>
                    <a:gd name="T24" fmla="*/ 4 w 36"/>
                    <a:gd name="T25" fmla="*/ 105 h 110"/>
                    <a:gd name="T26" fmla="*/ 9 w 36"/>
                    <a:gd name="T27" fmla="*/ 110 h 110"/>
                    <a:gd name="T28" fmla="*/ 15 w 36"/>
                    <a:gd name="T29" fmla="*/ 104 h 110"/>
                    <a:gd name="T30" fmla="*/ 18 w 36"/>
                    <a:gd name="T31" fmla="*/ 96 h 110"/>
                    <a:gd name="T32" fmla="*/ 18 w 36"/>
                    <a:gd name="T33" fmla="*/ 90 h 110"/>
                    <a:gd name="T34" fmla="*/ 21 w 36"/>
                    <a:gd name="T35" fmla="*/ 71 h 110"/>
                    <a:gd name="T36" fmla="*/ 25 w 36"/>
                    <a:gd name="T37" fmla="*/ 53 h 110"/>
                    <a:gd name="T38" fmla="*/ 30 w 36"/>
                    <a:gd name="T39" fmla="*/ 36 h 110"/>
                    <a:gd name="T40" fmla="*/ 35 w 36"/>
                    <a:gd name="T41" fmla="*/ 20 h 110"/>
                    <a:gd name="T42" fmla="*/ 33 w 36"/>
                    <a:gd name="T43" fmla="*/ 20 h 110"/>
                    <a:gd name="T44" fmla="*/ 30 w 36"/>
                    <a:gd name="T45" fmla="*/ 22 h 110"/>
                    <a:gd name="T46" fmla="*/ 23 w 36"/>
                    <a:gd name="T47" fmla="*/ 17 h 110"/>
                    <a:gd name="T48" fmla="*/ 23 w 36"/>
                    <a:gd name="T49" fmla="*/ 15 h 110"/>
                    <a:gd name="T50" fmla="*/ 23 w 36"/>
                    <a:gd name="T51" fmla="*/ 14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6" h="110">
                      <a:moveTo>
                        <a:pt x="23" y="14"/>
                      </a:moveTo>
                      <a:cubicBezTo>
                        <a:pt x="23" y="12"/>
                        <a:pt x="23" y="12"/>
                        <a:pt x="23" y="12"/>
                      </a:cubicBezTo>
                      <a:cubicBezTo>
                        <a:pt x="21" y="8"/>
                        <a:pt x="22" y="9"/>
                        <a:pt x="18" y="6"/>
                      </a:cubicBezTo>
                      <a:cubicBezTo>
                        <a:pt x="17" y="4"/>
                        <a:pt x="15" y="2"/>
                        <a:pt x="13" y="0"/>
                      </a:cubicBezTo>
                      <a:cubicBezTo>
                        <a:pt x="12" y="1"/>
                        <a:pt x="11" y="3"/>
                        <a:pt x="11" y="4"/>
                      </a:cubicBezTo>
                      <a:cubicBezTo>
                        <a:pt x="11" y="7"/>
                        <a:pt x="13" y="12"/>
                        <a:pt x="13" y="16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2" y="43"/>
                        <a:pt x="9" y="56"/>
                        <a:pt x="7" y="65"/>
                      </a:cubicBezTo>
                      <a:cubicBezTo>
                        <a:pt x="6" y="72"/>
                        <a:pt x="4" y="75"/>
                        <a:pt x="3" y="80"/>
                      </a:cubicBezTo>
                      <a:cubicBezTo>
                        <a:pt x="2" y="85"/>
                        <a:pt x="0" y="91"/>
                        <a:pt x="0" y="95"/>
                      </a:cubicBezTo>
                      <a:cubicBezTo>
                        <a:pt x="0" y="98"/>
                        <a:pt x="0" y="98"/>
                        <a:pt x="0" y="98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2" y="102"/>
                        <a:pt x="2" y="103"/>
                        <a:pt x="4" y="105"/>
                      </a:cubicBezTo>
                      <a:cubicBezTo>
                        <a:pt x="6" y="108"/>
                        <a:pt x="7" y="108"/>
                        <a:pt x="9" y="110"/>
                      </a:cubicBezTo>
                      <a:cubicBezTo>
                        <a:pt x="12" y="108"/>
                        <a:pt x="13" y="108"/>
                        <a:pt x="15" y="104"/>
                      </a:cubicBezTo>
                      <a:cubicBezTo>
                        <a:pt x="16" y="102"/>
                        <a:pt x="18" y="99"/>
                        <a:pt x="18" y="96"/>
                      </a:cubicBezTo>
                      <a:cubicBezTo>
                        <a:pt x="18" y="90"/>
                        <a:pt x="18" y="90"/>
                        <a:pt x="18" y="90"/>
                      </a:cubicBezTo>
                      <a:cubicBezTo>
                        <a:pt x="18" y="83"/>
                        <a:pt x="20" y="77"/>
                        <a:pt x="21" y="71"/>
                      </a:cubicBezTo>
                      <a:cubicBezTo>
                        <a:pt x="23" y="65"/>
                        <a:pt x="23" y="59"/>
                        <a:pt x="25" y="53"/>
                      </a:cubicBezTo>
                      <a:cubicBezTo>
                        <a:pt x="26" y="47"/>
                        <a:pt x="29" y="42"/>
                        <a:pt x="30" y="36"/>
                      </a:cubicBezTo>
                      <a:cubicBezTo>
                        <a:pt x="31" y="28"/>
                        <a:pt x="34" y="27"/>
                        <a:pt x="35" y="20"/>
                      </a:cubicBezTo>
                      <a:cubicBezTo>
                        <a:pt x="34" y="19"/>
                        <a:pt x="36" y="20"/>
                        <a:pt x="33" y="20"/>
                      </a:cubicBezTo>
                      <a:cubicBezTo>
                        <a:pt x="33" y="20"/>
                        <a:pt x="30" y="22"/>
                        <a:pt x="30" y="22"/>
                      </a:cubicBezTo>
                      <a:cubicBezTo>
                        <a:pt x="25" y="21"/>
                        <a:pt x="25" y="21"/>
                        <a:pt x="23" y="17"/>
                      </a:cubicBezTo>
                      <a:cubicBezTo>
                        <a:pt x="23" y="15"/>
                        <a:pt x="23" y="15"/>
                        <a:pt x="23" y="15"/>
                      </a:cubicBezTo>
                      <a:lnTo>
                        <a:pt x="23" y="14"/>
                      </a:lnTo>
                      <a:close/>
                    </a:path>
                  </a:pathLst>
                </a:custGeom>
                <a:solidFill>
                  <a:srgbClr val="E6001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2" name="íṡḷíḓé">
                <a:extLst>
                  <a:ext uri="{FF2B5EF4-FFF2-40B4-BE49-F238E27FC236}">
                    <a16:creationId xmlns:a16="http://schemas.microsoft.com/office/drawing/2014/main" id="{CAFAC7A0-50B1-410E-A229-13F66B0E4672}"/>
                  </a:ext>
                </a:extLst>
              </p:cNvPr>
              <p:cNvGrpSpPr/>
              <p:nvPr/>
            </p:nvGrpSpPr>
            <p:grpSpPr>
              <a:xfrm>
                <a:off x="4412452" y="3781425"/>
                <a:ext cx="2312689" cy="166461"/>
                <a:chOff x="6986588" y="3521075"/>
                <a:chExt cx="1654176" cy="119063"/>
              </a:xfrm>
            </p:grpSpPr>
            <p:sp>
              <p:nvSpPr>
                <p:cNvPr id="13" name="íşḷïḓe">
                  <a:extLst>
                    <a:ext uri="{FF2B5EF4-FFF2-40B4-BE49-F238E27FC236}">
                      <a16:creationId xmlns:a16="http://schemas.microsoft.com/office/drawing/2014/main" id="{D5B2D38E-B98B-428B-A0CB-21FC34DDC41B}"/>
                    </a:ext>
                  </a:extLst>
                </p:cNvPr>
                <p:cNvSpPr/>
                <p:nvPr/>
              </p:nvSpPr>
              <p:spPr bwMode="auto">
                <a:xfrm>
                  <a:off x="6986588" y="3521075"/>
                  <a:ext cx="155575" cy="119063"/>
                </a:xfrm>
                <a:custGeom>
                  <a:avLst/>
                  <a:gdLst>
                    <a:gd name="T0" fmla="*/ 84 w 98"/>
                    <a:gd name="T1" fmla="*/ 0 h 75"/>
                    <a:gd name="T2" fmla="*/ 59 w 98"/>
                    <a:gd name="T3" fmla="*/ 52 h 75"/>
                    <a:gd name="T4" fmla="*/ 57 w 98"/>
                    <a:gd name="T5" fmla="*/ 0 h 75"/>
                    <a:gd name="T6" fmla="*/ 40 w 98"/>
                    <a:gd name="T7" fmla="*/ 0 h 75"/>
                    <a:gd name="T8" fmla="*/ 15 w 98"/>
                    <a:gd name="T9" fmla="*/ 52 h 75"/>
                    <a:gd name="T10" fmla="*/ 15 w 98"/>
                    <a:gd name="T11" fmla="*/ 0 h 75"/>
                    <a:gd name="T12" fmla="*/ 0 w 98"/>
                    <a:gd name="T13" fmla="*/ 0 h 75"/>
                    <a:gd name="T14" fmla="*/ 2 w 98"/>
                    <a:gd name="T15" fmla="*/ 75 h 75"/>
                    <a:gd name="T16" fmla="*/ 19 w 98"/>
                    <a:gd name="T17" fmla="*/ 75 h 75"/>
                    <a:gd name="T18" fmla="*/ 44 w 98"/>
                    <a:gd name="T19" fmla="*/ 21 h 75"/>
                    <a:gd name="T20" fmla="*/ 46 w 98"/>
                    <a:gd name="T21" fmla="*/ 75 h 75"/>
                    <a:gd name="T22" fmla="*/ 63 w 98"/>
                    <a:gd name="T23" fmla="*/ 75 h 75"/>
                    <a:gd name="T24" fmla="*/ 98 w 98"/>
                    <a:gd name="T25" fmla="*/ 0 h 75"/>
                    <a:gd name="T26" fmla="*/ 84 w 98"/>
                    <a:gd name="T2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8" h="75">
                      <a:moveTo>
                        <a:pt x="84" y="0"/>
                      </a:moveTo>
                      <a:lnTo>
                        <a:pt x="59" y="52"/>
                      </a:lnTo>
                      <a:lnTo>
                        <a:pt x="57" y="0"/>
                      </a:lnTo>
                      <a:lnTo>
                        <a:pt x="40" y="0"/>
                      </a:lnTo>
                      <a:lnTo>
                        <a:pt x="15" y="52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2" y="75"/>
                      </a:lnTo>
                      <a:lnTo>
                        <a:pt x="19" y="75"/>
                      </a:lnTo>
                      <a:lnTo>
                        <a:pt x="44" y="21"/>
                      </a:lnTo>
                      <a:lnTo>
                        <a:pt x="46" y="75"/>
                      </a:lnTo>
                      <a:lnTo>
                        <a:pt x="63" y="75"/>
                      </a:lnTo>
                      <a:lnTo>
                        <a:pt x="98" y="0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4" name="îṩľïḋé">
                  <a:extLst>
                    <a:ext uri="{FF2B5EF4-FFF2-40B4-BE49-F238E27FC236}">
                      <a16:creationId xmlns:a16="http://schemas.microsoft.com/office/drawing/2014/main" id="{E97A12FD-3374-4443-8212-88BC3CEE8AFB}"/>
                    </a:ext>
                  </a:extLst>
                </p:cNvPr>
                <p:cNvSpPr/>
                <p:nvPr/>
              </p:nvSpPr>
              <p:spPr bwMode="auto">
                <a:xfrm>
                  <a:off x="7135813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5" name="ïṥlíḋê">
                  <a:extLst>
                    <a:ext uri="{FF2B5EF4-FFF2-40B4-BE49-F238E27FC236}">
                      <a16:creationId xmlns:a16="http://schemas.microsoft.com/office/drawing/2014/main" id="{E5BF75BE-F094-498F-B542-BAD8121E9687}"/>
                    </a:ext>
                  </a:extLst>
                </p:cNvPr>
                <p:cNvSpPr/>
                <p:nvPr/>
              </p:nvSpPr>
              <p:spPr bwMode="auto">
                <a:xfrm>
                  <a:off x="7248526" y="3521075"/>
                  <a:ext cx="114300" cy="119063"/>
                </a:xfrm>
                <a:custGeom>
                  <a:avLst/>
                  <a:gdLst>
                    <a:gd name="T0" fmla="*/ 58 w 72"/>
                    <a:gd name="T1" fmla="*/ 0 h 75"/>
                    <a:gd name="T2" fmla="*/ 52 w 72"/>
                    <a:gd name="T3" fmla="*/ 29 h 75"/>
                    <a:gd name="T4" fmla="*/ 22 w 72"/>
                    <a:gd name="T5" fmla="*/ 29 h 75"/>
                    <a:gd name="T6" fmla="*/ 29 w 72"/>
                    <a:gd name="T7" fmla="*/ 0 h 75"/>
                    <a:gd name="T8" fmla="*/ 14 w 72"/>
                    <a:gd name="T9" fmla="*/ 0 h 75"/>
                    <a:gd name="T10" fmla="*/ 0 w 72"/>
                    <a:gd name="T11" fmla="*/ 75 h 75"/>
                    <a:gd name="T12" fmla="*/ 14 w 72"/>
                    <a:gd name="T13" fmla="*/ 75 h 75"/>
                    <a:gd name="T14" fmla="*/ 20 w 72"/>
                    <a:gd name="T15" fmla="*/ 42 h 75"/>
                    <a:gd name="T16" fmla="*/ 50 w 72"/>
                    <a:gd name="T17" fmla="*/ 42 h 75"/>
                    <a:gd name="T18" fmla="*/ 43 w 72"/>
                    <a:gd name="T19" fmla="*/ 75 h 75"/>
                    <a:gd name="T20" fmla="*/ 58 w 72"/>
                    <a:gd name="T21" fmla="*/ 75 h 75"/>
                    <a:gd name="T22" fmla="*/ 72 w 72"/>
                    <a:gd name="T23" fmla="*/ 0 h 75"/>
                    <a:gd name="T24" fmla="*/ 58 w 72"/>
                    <a:gd name="T2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75">
                      <a:moveTo>
                        <a:pt x="58" y="0"/>
                      </a:moveTo>
                      <a:lnTo>
                        <a:pt x="52" y="29"/>
                      </a:lnTo>
                      <a:lnTo>
                        <a:pt x="22" y="29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lnTo>
                        <a:pt x="14" y="75"/>
                      </a:lnTo>
                      <a:lnTo>
                        <a:pt x="20" y="42"/>
                      </a:lnTo>
                      <a:lnTo>
                        <a:pt x="50" y="42"/>
                      </a:lnTo>
                      <a:lnTo>
                        <a:pt x="43" y="75"/>
                      </a:lnTo>
                      <a:lnTo>
                        <a:pt x="58" y="75"/>
                      </a:lnTo>
                      <a:lnTo>
                        <a:pt x="72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6" name="íşḷîde">
                  <a:extLst>
                    <a:ext uri="{FF2B5EF4-FFF2-40B4-BE49-F238E27FC236}">
                      <a16:creationId xmlns:a16="http://schemas.microsoft.com/office/drawing/2014/main" id="{1E43A2E3-DA9B-4748-B3C9-9AE24F0879DB}"/>
                    </a:ext>
                  </a:extLst>
                </p:cNvPr>
                <p:cNvSpPr/>
                <p:nvPr/>
              </p:nvSpPr>
              <p:spPr bwMode="auto">
                <a:xfrm>
                  <a:off x="7356476" y="3521075"/>
                  <a:ext cx="112713" cy="119063"/>
                </a:xfrm>
                <a:custGeom>
                  <a:avLst/>
                  <a:gdLst>
                    <a:gd name="T0" fmla="*/ 42 w 71"/>
                    <a:gd name="T1" fmla="*/ 0 h 75"/>
                    <a:gd name="T2" fmla="*/ 0 w 71"/>
                    <a:gd name="T3" fmla="*/ 75 h 75"/>
                    <a:gd name="T4" fmla="*/ 15 w 71"/>
                    <a:gd name="T5" fmla="*/ 75 h 75"/>
                    <a:gd name="T6" fmla="*/ 23 w 71"/>
                    <a:gd name="T7" fmla="*/ 59 h 75"/>
                    <a:gd name="T8" fmla="*/ 54 w 71"/>
                    <a:gd name="T9" fmla="*/ 59 h 75"/>
                    <a:gd name="T10" fmla="*/ 56 w 71"/>
                    <a:gd name="T11" fmla="*/ 75 h 75"/>
                    <a:gd name="T12" fmla="*/ 71 w 71"/>
                    <a:gd name="T13" fmla="*/ 75 h 75"/>
                    <a:gd name="T14" fmla="*/ 58 w 71"/>
                    <a:gd name="T15" fmla="*/ 0 h 75"/>
                    <a:gd name="T16" fmla="*/ 42 w 71"/>
                    <a:gd name="T17" fmla="*/ 0 h 75"/>
                    <a:gd name="T18" fmla="*/ 29 w 71"/>
                    <a:gd name="T19" fmla="*/ 46 h 75"/>
                    <a:gd name="T20" fmla="*/ 48 w 71"/>
                    <a:gd name="T21" fmla="*/ 17 h 75"/>
                    <a:gd name="T22" fmla="*/ 52 w 71"/>
                    <a:gd name="T23" fmla="*/ 46 h 75"/>
                    <a:gd name="T24" fmla="*/ 29 w 71"/>
                    <a:gd name="T25" fmla="*/ 46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1" h="75">
                      <a:moveTo>
                        <a:pt x="42" y="0"/>
                      </a:move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3" y="59"/>
                      </a:lnTo>
                      <a:lnTo>
                        <a:pt x="54" y="59"/>
                      </a:lnTo>
                      <a:lnTo>
                        <a:pt x="56" y="75"/>
                      </a:lnTo>
                      <a:lnTo>
                        <a:pt x="71" y="75"/>
                      </a:lnTo>
                      <a:lnTo>
                        <a:pt x="58" y="0"/>
                      </a:lnTo>
                      <a:lnTo>
                        <a:pt x="42" y="0"/>
                      </a:lnTo>
                      <a:close/>
                      <a:moveTo>
                        <a:pt x="29" y="46"/>
                      </a:moveTo>
                      <a:lnTo>
                        <a:pt x="48" y="17"/>
                      </a:lnTo>
                      <a:lnTo>
                        <a:pt x="52" y="46"/>
                      </a:lnTo>
                      <a:lnTo>
                        <a:pt x="29" y="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7" name="i$1ïḋê">
                  <a:extLst>
                    <a:ext uri="{FF2B5EF4-FFF2-40B4-BE49-F238E27FC236}">
                      <a16:creationId xmlns:a16="http://schemas.microsoft.com/office/drawing/2014/main" id="{4E7F59F8-A91B-4622-8B90-FFF058E68973}"/>
                    </a:ext>
                  </a:extLst>
                </p:cNvPr>
                <p:cNvSpPr/>
                <p:nvPr/>
              </p:nvSpPr>
              <p:spPr bwMode="auto">
                <a:xfrm>
                  <a:off x="7481888" y="3521075"/>
                  <a:ext cx="119063" cy="119063"/>
                </a:xfrm>
                <a:custGeom>
                  <a:avLst/>
                  <a:gdLst>
                    <a:gd name="T0" fmla="*/ 50 w 75"/>
                    <a:gd name="T1" fmla="*/ 50 h 75"/>
                    <a:gd name="T2" fmla="*/ 31 w 75"/>
                    <a:gd name="T3" fmla="*/ 0 h 75"/>
                    <a:gd name="T4" fmla="*/ 17 w 75"/>
                    <a:gd name="T5" fmla="*/ 0 h 75"/>
                    <a:gd name="T6" fmla="*/ 0 w 75"/>
                    <a:gd name="T7" fmla="*/ 75 h 75"/>
                    <a:gd name="T8" fmla="*/ 15 w 75"/>
                    <a:gd name="T9" fmla="*/ 75 h 75"/>
                    <a:gd name="T10" fmla="*/ 25 w 75"/>
                    <a:gd name="T11" fmla="*/ 25 h 75"/>
                    <a:gd name="T12" fmla="*/ 46 w 75"/>
                    <a:gd name="T13" fmla="*/ 75 h 75"/>
                    <a:gd name="T14" fmla="*/ 58 w 75"/>
                    <a:gd name="T15" fmla="*/ 75 h 75"/>
                    <a:gd name="T16" fmla="*/ 75 w 75"/>
                    <a:gd name="T17" fmla="*/ 0 h 75"/>
                    <a:gd name="T18" fmla="*/ 61 w 75"/>
                    <a:gd name="T19" fmla="*/ 0 h 75"/>
                    <a:gd name="T20" fmla="*/ 50 w 75"/>
                    <a:gd name="T21" fmla="*/ 5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5" h="75">
                      <a:moveTo>
                        <a:pt x="50" y="50"/>
                      </a:moveTo>
                      <a:lnTo>
                        <a:pt x="31" y="0"/>
                      </a:lnTo>
                      <a:lnTo>
                        <a:pt x="17" y="0"/>
                      </a:lnTo>
                      <a:lnTo>
                        <a:pt x="0" y="75"/>
                      </a:lnTo>
                      <a:lnTo>
                        <a:pt x="15" y="75"/>
                      </a:lnTo>
                      <a:lnTo>
                        <a:pt x="25" y="25"/>
                      </a:lnTo>
                      <a:lnTo>
                        <a:pt x="46" y="75"/>
                      </a:lnTo>
                      <a:lnTo>
                        <a:pt x="58" y="75"/>
                      </a:lnTo>
                      <a:lnTo>
                        <a:pt x="75" y="0"/>
                      </a:lnTo>
                      <a:lnTo>
                        <a:pt x="61" y="0"/>
                      </a:lnTo>
                      <a:lnTo>
                        <a:pt x="50" y="5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8" name="ïṡ1ïďe">
                  <a:extLst>
                    <a:ext uri="{FF2B5EF4-FFF2-40B4-BE49-F238E27FC236}">
                      <a16:creationId xmlns:a16="http://schemas.microsoft.com/office/drawing/2014/main" id="{A6D83CCB-B48A-4223-82CC-FCBB5037638E}"/>
                    </a:ext>
                  </a:extLst>
                </p:cNvPr>
                <p:cNvSpPr/>
                <p:nvPr/>
              </p:nvSpPr>
              <p:spPr bwMode="auto">
                <a:xfrm>
                  <a:off x="7653338" y="3521075"/>
                  <a:ext cx="112713" cy="119063"/>
                </a:xfrm>
                <a:custGeom>
                  <a:avLst/>
                  <a:gdLst>
                    <a:gd name="T0" fmla="*/ 22 w 34"/>
                    <a:gd name="T1" fmla="*/ 20 h 36"/>
                    <a:gd name="T2" fmla="*/ 20 w 34"/>
                    <a:gd name="T3" fmla="*/ 26 h 36"/>
                    <a:gd name="T4" fmla="*/ 18 w 34"/>
                    <a:gd name="T5" fmla="*/ 29 h 36"/>
                    <a:gd name="T6" fmla="*/ 13 w 34"/>
                    <a:gd name="T7" fmla="*/ 30 h 36"/>
                    <a:gd name="T8" fmla="*/ 9 w 34"/>
                    <a:gd name="T9" fmla="*/ 29 h 36"/>
                    <a:gd name="T10" fmla="*/ 7 w 34"/>
                    <a:gd name="T11" fmla="*/ 25 h 36"/>
                    <a:gd name="T12" fmla="*/ 7 w 34"/>
                    <a:gd name="T13" fmla="*/ 24 h 36"/>
                    <a:gd name="T14" fmla="*/ 8 w 34"/>
                    <a:gd name="T15" fmla="*/ 19 h 36"/>
                    <a:gd name="T16" fmla="*/ 12 w 34"/>
                    <a:gd name="T17" fmla="*/ 0 h 36"/>
                    <a:gd name="T18" fmla="*/ 5 w 34"/>
                    <a:gd name="T19" fmla="*/ 0 h 36"/>
                    <a:gd name="T20" fmla="*/ 1 w 34"/>
                    <a:gd name="T21" fmla="*/ 19 h 36"/>
                    <a:gd name="T22" fmla="*/ 0 w 34"/>
                    <a:gd name="T23" fmla="*/ 23 h 36"/>
                    <a:gd name="T24" fmla="*/ 0 w 34"/>
                    <a:gd name="T25" fmla="*/ 25 h 36"/>
                    <a:gd name="T26" fmla="*/ 3 w 34"/>
                    <a:gd name="T27" fmla="*/ 33 h 36"/>
                    <a:gd name="T28" fmla="*/ 13 w 34"/>
                    <a:gd name="T29" fmla="*/ 36 h 36"/>
                    <a:gd name="T30" fmla="*/ 22 w 34"/>
                    <a:gd name="T31" fmla="*/ 34 h 36"/>
                    <a:gd name="T32" fmla="*/ 27 w 34"/>
                    <a:gd name="T33" fmla="*/ 29 h 36"/>
                    <a:gd name="T34" fmla="*/ 30 w 34"/>
                    <a:gd name="T35" fmla="*/ 20 h 36"/>
                    <a:gd name="T36" fmla="*/ 34 w 34"/>
                    <a:gd name="T37" fmla="*/ 0 h 36"/>
                    <a:gd name="T38" fmla="*/ 26 w 34"/>
                    <a:gd name="T39" fmla="*/ 0 h 36"/>
                    <a:gd name="T40" fmla="*/ 22 w 34"/>
                    <a:gd name="T41" fmla="*/ 2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4" h="36">
                      <a:moveTo>
                        <a:pt x="22" y="20"/>
                      </a:moveTo>
                      <a:cubicBezTo>
                        <a:pt x="22" y="23"/>
                        <a:pt x="21" y="25"/>
                        <a:pt x="20" y="26"/>
                      </a:cubicBezTo>
                      <a:cubicBezTo>
                        <a:pt x="20" y="28"/>
                        <a:pt x="19" y="29"/>
                        <a:pt x="18" y="29"/>
                      </a:cubicBezTo>
                      <a:cubicBezTo>
                        <a:pt x="17" y="30"/>
                        <a:pt x="15" y="30"/>
                        <a:pt x="13" y="30"/>
                      </a:cubicBezTo>
                      <a:cubicBezTo>
                        <a:pt x="11" y="30"/>
                        <a:pt x="10" y="30"/>
                        <a:pt x="9" y="29"/>
                      </a:cubicBezTo>
                      <a:cubicBezTo>
                        <a:pt x="8" y="28"/>
                        <a:pt x="7" y="27"/>
                        <a:pt x="7" y="25"/>
                      </a:cubicBezTo>
                      <a:cubicBezTo>
                        <a:pt x="7" y="25"/>
                        <a:pt x="7" y="25"/>
                        <a:pt x="7" y="24"/>
                      </a:cubicBez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19"/>
                        <a:pt x="1" y="19"/>
                        <a:pt x="1" y="19"/>
                      </a:cubicBezTo>
                      <a:cubicBezTo>
                        <a:pt x="1" y="21"/>
                        <a:pt x="0" y="23"/>
                        <a:pt x="0" y="23"/>
                      </a:cubicBezTo>
                      <a:cubicBezTo>
                        <a:pt x="0" y="24"/>
                        <a:pt x="0" y="25"/>
                        <a:pt x="0" y="25"/>
                      </a:cubicBezTo>
                      <a:cubicBezTo>
                        <a:pt x="0" y="29"/>
                        <a:pt x="1" y="31"/>
                        <a:pt x="3" y="33"/>
                      </a:cubicBezTo>
                      <a:cubicBezTo>
                        <a:pt x="6" y="35"/>
                        <a:pt x="9" y="36"/>
                        <a:pt x="13" y="36"/>
                      </a:cubicBezTo>
                      <a:cubicBezTo>
                        <a:pt x="16" y="36"/>
                        <a:pt x="19" y="36"/>
                        <a:pt x="22" y="34"/>
                      </a:cubicBezTo>
                      <a:cubicBezTo>
                        <a:pt x="24" y="33"/>
                        <a:pt x="25" y="31"/>
                        <a:pt x="27" y="29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lnTo>
                        <a:pt x="22" y="2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19" name="íSḷíďé">
                  <a:extLst>
                    <a:ext uri="{FF2B5EF4-FFF2-40B4-BE49-F238E27FC236}">
                      <a16:creationId xmlns:a16="http://schemas.microsoft.com/office/drawing/2014/main" id="{84783F68-9D74-475D-9A2E-020F1763104F}"/>
                    </a:ext>
                  </a:extLst>
                </p:cNvPr>
                <p:cNvSpPr/>
                <p:nvPr/>
              </p:nvSpPr>
              <p:spPr bwMode="auto">
                <a:xfrm>
                  <a:off x="7766051" y="3521075"/>
                  <a:ext cx="115888" cy="119063"/>
                </a:xfrm>
                <a:custGeom>
                  <a:avLst/>
                  <a:gdLst>
                    <a:gd name="T0" fmla="*/ 58 w 73"/>
                    <a:gd name="T1" fmla="*/ 0 h 75"/>
                    <a:gd name="T2" fmla="*/ 50 w 73"/>
                    <a:gd name="T3" fmla="*/ 50 h 75"/>
                    <a:gd name="T4" fmla="*/ 29 w 73"/>
                    <a:gd name="T5" fmla="*/ 0 h 75"/>
                    <a:gd name="T6" fmla="*/ 15 w 73"/>
                    <a:gd name="T7" fmla="*/ 0 h 75"/>
                    <a:gd name="T8" fmla="*/ 0 w 73"/>
                    <a:gd name="T9" fmla="*/ 75 h 75"/>
                    <a:gd name="T10" fmla="*/ 13 w 73"/>
                    <a:gd name="T11" fmla="*/ 75 h 75"/>
                    <a:gd name="T12" fmla="*/ 23 w 73"/>
                    <a:gd name="T13" fmla="*/ 25 h 75"/>
                    <a:gd name="T14" fmla="*/ 44 w 73"/>
                    <a:gd name="T15" fmla="*/ 75 h 75"/>
                    <a:gd name="T16" fmla="*/ 58 w 73"/>
                    <a:gd name="T17" fmla="*/ 75 h 75"/>
                    <a:gd name="T18" fmla="*/ 73 w 73"/>
                    <a:gd name="T19" fmla="*/ 0 h 75"/>
                    <a:gd name="T20" fmla="*/ 58 w 73"/>
                    <a:gd name="T2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3" h="75">
                      <a:moveTo>
                        <a:pt x="58" y="0"/>
                      </a:moveTo>
                      <a:lnTo>
                        <a:pt x="50" y="50"/>
                      </a:lnTo>
                      <a:lnTo>
                        <a:pt x="29" y="0"/>
                      </a:lnTo>
                      <a:lnTo>
                        <a:pt x="15" y="0"/>
                      </a:lnTo>
                      <a:lnTo>
                        <a:pt x="0" y="75"/>
                      </a:lnTo>
                      <a:lnTo>
                        <a:pt x="13" y="75"/>
                      </a:lnTo>
                      <a:lnTo>
                        <a:pt x="23" y="25"/>
                      </a:lnTo>
                      <a:lnTo>
                        <a:pt x="44" y="75"/>
                      </a:lnTo>
                      <a:lnTo>
                        <a:pt x="58" y="75"/>
                      </a:lnTo>
                      <a:lnTo>
                        <a:pt x="73" y="0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0" name="ísľíḑé">
                  <a:extLst>
                    <a:ext uri="{FF2B5EF4-FFF2-40B4-BE49-F238E27FC236}">
                      <a16:creationId xmlns:a16="http://schemas.microsoft.com/office/drawing/2014/main" id="{A35E75E3-5E63-44AF-8FE8-151ADC13DE4D}"/>
                    </a:ext>
                  </a:extLst>
                </p:cNvPr>
                <p:cNvSpPr/>
                <p:nvPr/>
              </p:nvSpPr>
              <p:spPr bwMode="auto">
                <a:xfrm>
                  <a:off x="7881938" y="3521075"/>
                  <a:ext cx="49213" cy="119063"/>
                </a:xfrm>
                <a:custGeom>
                  <a:avLst/>
                  <a:gdLst>
                    <a:gd name="T0" fmla="*/ 0 w 31"/>
                    <a:gd name="T1" fmla="*/ 75 h 75"/>
                    <a:gd name="T2" fmla="*/ 14 w 31"/>
                    <a:gd name="T3" fmla="*/ 75 h 75"/>
                    <a:gd name="T4" fmla="*/ 31 w 31"/>
                    <a:gd name="T5" fmla="*/ 0 h 75"/>
                    <a:gd name="T6" fmla="*/ 14 w 31"/>
                    <a:gd name="T7" fmla="*/ 0 h 75"/>
                    <a:gd name="T8" fmla="*/ 0 w 31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31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" name="ïslïdê">
                  <a:extLst>
                    <a:ext uri="{FF2B5EF4-FFF2-40B4-BE49-F238E27FC236}">
                      <a16:creationId xmlns:a16="http://schemas.microsoft.com/office/drawing/2014/main" id="{1074B4BC-5DD0-464F-AE8F-31160A18B104}"/>
                    </a:ext>
                  </a:extLst>
                </p:cNvPr>
                <p:cNvSpPr/>
                <p:nvPr/>
              </p:nvSpPr>
              <p:spPr bwMode="auto">
                <a:xfrm>
                  <a:off x="7940676" y="3521075"/>
                  <a:ext cx="109538" cy="119063"/>
                </a:xfrm>
                <a:custGeom>
                  <a:avLst/>
                  <a:gdLst>
                    <a:gd name="T0" fmla="*/ 54 w 69"/>
                    <a:gd name="T1" fmla="*/ 0 h 75"/>
                    <a:gd name="T2" fmla="*/ 23 w 69"/>
                    <a:gd name="T3" fmla="*/ 57 h 75"/>
                    <a:gd name="T4" fmla="*/ 15 w 69"/>
                    <a:gd name="T5" fmla="*/ 0 h 75"/>
                    <a:gd name="T6" fmla="*/ 0 w 69"/>
                    <a:gd name="T7" fmla="*/ 0 h 75"/>
                    <a:gd name="T8" fmla="*/ 13 w 69"/>
                    <a:gd name="T9" fmla="*/ 75 h 75"/>
                    <a:gd name="T10" fmla="*/ 29 w 69"/>
                    <a:gd name="T11" fmla="*/ 75 h 75"/>
                    <a:gd name="T12" fmla="*/ 69 w 69"/>
                    <a:gd name="T13" fmla="*/ 0 h 75"/>
                    <a:gd name="T14" fmla="*/ 54 w 69"/>
                    <a:gd name="T1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" h="75">
                      <a:moveTo>
                        <a:pt x="54" y="0"/>
                      </a:moveTo>
                      <a:lnTo>
                        <a:pt x="23" y="57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13" y="75"/>
                      </a:lnTo>
                      <a:lnTo>
                        <a:pt x="29" y="75"/>
                      </a:lnTo>
                      <a:lnTo>
                        <a:pt x="69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" name="ïšḻîďé">
                  <a:extLst>
                    <a:ext uri="{FF2B5EF4-FFF2-40B4-BE49-F238E27FC236}">
                      <a16:creationId xmlns:a16="http://schemas.microsoft.com/office/drawing/2014/main" id="{85B7D4D4-D08B-4E9F-BC27-50A68A6C31CA}"/>
                    </a:ext>
                  </a:extLst>
                </p:cNvPr>
                <p:cNvSpPr/>
                <p:nvPr/>
              </p:nvSpPr>
              <p:spPr bwMode="auto">
                <a:xfrm>
                  <a:off x="8037513" y="3521075"/>
                  <a:ext cx="111125" cy="119063"/>
                </a:xfrm>
                <a:custGeom>
                  <a:avLst/>
                  <a:gdLst>
                    <a:gd name="T0" fmla="*/ 68 w 70"/>
                    <a:gd name="T1" fmla="*/ 12 h 75"/>
                    <a:gd name="T2" fmla="*/ 70 w 70"/>
                    <a:gd name="T3" fmla="*/ 0 h 75"/>
                    <a:gd name="T4" fmla="*/ 16 w 70"/>
                    <a:gd name="T5" fmla="*/ 0 h 75"/>
                    <a:gd name="T6" fmla="*/ 0 w 70"/>
                    <a:gd name="T7" fmla="*/ 75 h 75"/>
                    <a:gd name="T8" fmla="*/ 58 w 70"/>
                    <a:gd name="T9" fmla="*/ 75 h 75"/>
                    <a:gd name="T10" fmla="*/ 60 w 70"/>
                    <a:gd name="T11" fmla="*/ 63 h 75"/>
                    <a:gd name="T12" fmla="*/ 16 w 70"/>
                    <a:gd name="T13" fmla="*/ 63 h 75"/>
                    <a:gd name="T14" fmla="*/ 22 w 70"/>
                    <a:gd name="T15" fmla="*/ 42 h 75"/>
                    <a:gd name="T16" fmla="*/ 60 w 70"/>
                    <a:gd name="T17" fmla="*/ 42 h 75"/>
                    <a:gd name="T18" fmla="*/ 62 w 70"/>
                    <a:gd name="T19" fmla="*/ 29 h 75"/>
                    <a:gd name="T20" fmla="*/ 24 w 70"/>
                    <a:gd name="T21" fmla="*/ 29 h 75"/>
                    <a:gd name="T22" fmla="*/ 29 w 70"/>
                    <a:gd name="T23" fmla="*/ 12 h 75"/>
                    <a:gd name="T24" fmla="*/ 68 w 70"/>
                    <a:gd name="T25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0" h="75">
                      <a:moveTo>
                        <a:pt x="68" y="12"/>
                      </a:moveTo>
                      <a:lnTo>
                        <a:pt x="70" y="0"/>
                      </a:lnTo>
                      <a:lnTo>
                        <a:pt x="16" y="0"/>
                      </a:lnTo>
                      <a:lnTo>
                        <a:pt x="0" y="75"/>
                      </a:lnTo>
                      <a:lnTo>
                        <a:pt x="58" y="75"/>
                      </a:lnTo>
                      <a:lnTo>
                        <a:pt x="60" y="63"/>
                      </a:lnTo>
                      <a:lnTo>
                        <a:pt x="16" y="63"/>
                      </a:lnTo>
                      <a:lnTo>
                        <a:pt x="22" y="42"/>
                      </a:lnTo>
                      <a:lnTo>
                        <a:pt x="60" y="42"/>
                      </a:lnTo>
                      <a:lnTo>
                        <a:pt x="62" y="29"/>
                      </a:lnTo>
                      <a:lnTo>
                        <a:pt x="24" y="29"/>
                      </a:lnTo>
                      <a:lnTo>
                        <a:pt x="29" y="12"/>
                      </a:lnTo>
                      <a:lnTo>
                        <a:pt x="68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" name="išlîḓê">
                  <a:extLst>
                    <a:ext uri="{FF2B5EF4-FFF2-40B4-BE49-F238E27FC236}">
                      <a16:creationId xmlns:a16="http://schemas.microsoft.com/office/drawing/2014/main" id="{8C2953DC-3957-40BD-86C1-5777E6097ABB}"/>
                    </a:ext>
                  </a:extLst>
                </p:cNvPr>
                <p:cNvSpPr/>
                <p:nvPr/>
              </p:nvSpPr>
              <p:spPr bwMode="auto">
                <a:xfrm>
                  <a:off x="8145463" y="3521075"/>
                  <a:ext cx="115888" cy="119063"/>
                </a:xfrm>
                <a:custGeom>
                  <a:avLst/>
                  <a:gdLst>
                    <a:gd name="T0" fmla="*/ 30 w 35"/>
                    <a:gd name="T1" fmla="*/ 1 h 36"/>
                    <a:gd name="T2" fmla="*/ 24 w 35"/>
                    <a:gd name="T3" fmla="*/ 0 h 36"/>
                    <a:gd name="T4" fmla="*/ 8 w 35"/>
                    <a:gd name="T5" fmla="*/ 0 h 36"/>
                    <a:gd name="T6" fmla="*/ 0 w 35"/>
                    <a:gd name="T7" fmla="*/ 36 h 36"/>
                    <a:gd name="T8" fmla="*/ 8 w 35"/>
                    <a:gd name="T9" fmla="*/ 36 h 36"/>
                    <a:gd name="T10" fmla="*/ 11 w 35"/>
                    <a:gd name="T11" fmla="*/ 21 h 36"/>
                    <a:gd name="T12" fmla="*/ 14 w 35"/>
                    <a:gd name="T13" fmla="*/ 21 h 36"/>
                    <a:gd name="T14" fmla="*/ 17 w 35"/>
                    <a:gd name="T15" fmla="*/ 22 h 36"/>
                    <a:gd name="T16" fmla="*/ 21 w 35"/>
                    <a:gd name="T17" fmla="*/ 26 h 36"/>
                    <a:gd name="T18" fmla="*/ 24 w 35"/>
                    <a:gd name="T19" fmla="*/ 36 h 36"/>
                    <a:gd name="T20" fmla="*/ 32 w 35"/>
                    <a:gd name="T21" fmla="*/ 36 h 36"/>
                    <a:gd name="T22" fmla="*/ 27 w 35"/>
                    <a:gd name="T23" fmla="*/ 24 h 36"/>
                    <a:gd name="T24" fmla="*/ 24 w 35"/>
                    <a:gd name="T25" fmla="*/ 21 h 36"/>
                    <a:gd name="T26" fmla="*/ 32 w 35"/>
                    <a:gd name="T27" fmla="*/ 17 h 36"/>
                    <a:gd name="T28" fmla="*/ 35 w 35"/>
                    <a:gd name="T29" fmla="*/ 9 h 36"/>
                    <a:gd name="T30" fmla="*/ 34 w 35"/>
                    <a:gd name="T31" fmla="*/ 4 h 36"/>
                    <a:gd name="T32" fmla="*/ 30 w 35"/>
                    <a:gd name="T33" fmla="*/ 1 h 36"/>
                    <a:gd name="T34" fmla="*/ 27 w 35"/>
                    <a:gd name="T35" fmla="*/ 13 h 36"/>
                    <a:gd name="T36" fmla="*/ 24 w 35"/>
                    <a:gd name="T37" fmla="*/ 15 h 36"/>
                    <a:gd name="T38" fmla="*/ 16 w 35"/>
                    <a:gd name="T39" fmla="*/ 16 h 36"/>
                    <a:gd name="T40" fmla="*/ 12 w 35"/>
                    <a:gd name="T41" fmla="*/ 16 h 36"/>
                    <a:gd name="T42" fmla="*/ 14 w 35"/>
                    <a:gd name="T43" fmla="*/ 6 h 36"/>
                    <a:gd name="T44" fmla="*/ 22 w 35"/>
                    <a:gd name="T45" fmla="*/ 6 h 36"/>
                    <a:gd name="T46" fmla="*/ 26 w 35"/>
                    <a:gd name="T47" fmla="*/ 7 h 36"/>
                    <a:gd name="T48" fmla="*/ 28 w 35"/>
                    <a:gd name="T49" fmla="*/ 10 h 36"/>
                    <a:gd name="T50" fmla="*/ 27 w 35"/>
                    <a:gd name="T51" fmla="*/ 1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5" h="36">
                      <a:moveTo>
                        <a:pt x="30" y="1"/>
                      </a:move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4" y="21"/>
                        <a:pt x="14" y="21"/>
                        <a:pt x="14" y="21"/>
                      </a:cubicBezTo>
                      <a:cubicBezTo>
                        <a:pt x="15" y="21"/>
                        <a:pt x="17" y="21"/>
                        <a:pt x="17" y="22"/>
                      </a:cubicBezTo>
                      <a:cubicBezTo>
                        <a:pt x="18" y="22"/>
                        <a:pt x="20" y="24"/>
                        <a:pt x="21" y="26"/>
                      </a:cubicBezTo>
                      <a:cubicBezTo>
                        <a:pt x="22" y="31"/>
                        <a:pt x="24" y="34"/>
                        <a:pt x="24" y="36"/>
                      </a:cubicBezTo>
                      <a:cubicBezTo>
                        <a:pt x="32" y="36"/>
                        <a:pt x="32" y="36"/>
                        <a:pt x="32" y="36"/>
                      </a:cubicBezTo>
                      <a:cubicBezTo>
                        <a:pt x="30" y="31"/>
                        <a:pt x="28" y="27"/>
                        <a:pt x="27" y="24"/>
                      </a:cubicBezTo>
                      <a:cubicBezTo>
                        <a:pt x="26" y="23"/>
                        <a:pt x="25" y="21"/>
                        <a:pt x="24" y="21"/>
                      </a:cubicBezTo>
                      <a:cubicBezTo>
                        <a:pt x="28" y="20"/>
                        <a:pt x="30" y="19"/>
                        <a:pt x="32" y="17"/>
                      </a:cubicBezTo>
                      <a:cubicBezTo>
                        <a:pt x="34" y="15"/>
                        <a:pt x="35" y="13"/>
                        <a:pt x="35" y="9"/>
                      </a:cubicBezTo>
                      <a:cubicBezTo>
                        <a:pt x="35" y="7"/>
                        <a:pt x="34" y="6"/>
                        <a:pt x="34" y="4"/>
                      </a:cubicBezTo>
                      <a:cubicBezTo>
                        <a:pt x="33" y="3"/>
                        <a:pt x="31" y="2"/>
                        <a:pt x="30" y="1"/>
                      </a:cubicBezTo>
                      <a:close/>
                      <a:moveTo>
                        <a:pt x="27" y="13"/>
                      </a:moveTo>
                      <a:cubicBezTo>
                        <a:pt x="26" y="14"/>
                        <a:pt x="25" y="14"/>
                        <a:pt x="24" y="15"/>
                      </a:cubicBezTo>
                      <a:cubicBezTo>
                        <a:pt x="22" y="15"/>
                        <a:pt x="20" y="16"/>
                        <a:pt x="16" y="16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22" y="6"/>
                        <a:pt x="22" y="6"/>
                        <a:pt x="22" y="6"/>
                      </a:cubicBezTo>
                      <a:cubicBezTo>
                        <a:pt x="24" y="6"/>
                        <a:pt x="25" y="6"/>
                        <a:pt x="26" y="7"/>
                      </a:cubicBezTo>
                      <a:cubicBezTo>
                        <a:pt x="27" y="7"/>
                        <a:pt x="28" y="8"/>
                        <a:pt x="28" y="10"/>
                      </a:cubicBezTo>
                      <a:cubicBezTo>
                        <a:pt x="28" y="11"/>
                        <a:pt x="27" y="12"/>
                        <a:pt x="27" y="13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" name="îṧļide">
                  <a:extLst>
                    <a:ext uri="{FF2B5EF4-FFF2-40B4-BE49-F238E27FC236}">
                      <a16:creationId xmlns:a16="http://schemas.microsoft.com/office/drawing/2014/main" id="{31EAEC70-3A9D-43CB-8E2B-996BF8E3E078}"/>
                    </a:ext>
                  </a:extLst>
                </p:cNvPr>
                <p:cNvSpPr/>
                <p:nvPr/>
              </p:nvSpPr>
              <p:spPr bwMode="auto">
                <a:xfrm>
                  <a:off x="8267701" y="3521075"/>
                  <a:ext cx="98425" cy="119063"/>
                </a:xfrm>
                <a:custGeom>
                  <a:avLst/>
                  <a:gdLst>
                    <a:gd name="T0" fmla="*/ 17 w 30"/>
                    <a:gd name="T1" fmla="*/ 5 h 36"/>
                    <a:gd name="T2" fmla="*/ 22 w 30"/>
                    <a:gd name="T3" fmla="*/ 7 h 36"/>
                    <a:gd name="T4" fmla="*/ 23 w 30"/>
                    <a:gd name="T5" fmla="*/ 11 h 36"/>
                    <a:gd name="T6" fmla="*/ 30 w 30"/>
                    <a:gd name="T7" fmla="*/ 10 h 36"/>
                    <a:gd name="T8" fmla="*/ 27 w 30"/>
                    <a:gd name="T9" fmla="*/ 3 h 36"/>
                    <a:gd name="T10" fmla="*/ 17 w 30"/>
                    <a:gd name="T11" fmla="*/ 0 h 36"/>
                    <a:gd name="T12" fmla="*/ 8 w 30"/>
                    <a:gd name="T13" fmla="*/ 3 h 36"/>
                    <a:gd name="T14" fmla="*/ 4 w 30"/>
                    <a:gd name="T15" fmla="*/ 10 h 36"/>
                    <a:gd name="T16" fmla="*/ 6 w 30"/>
                    <a:gd name="T17" fmla="*/ 14 h 36"/>
                    <a:gd name="T18" fmla="*/ 8 w 30"/>
                    <a:gd name="T19" fmla="*/ 18 h 36"/>
                    <a:gd name="T20" fmla="*/ 15 w 30"/>
                    <a:gd name="T21" fmla="*/ 21 h 36"/>
                    <a:gd name="T22" fmla="*/ 20 w 30"/>
                    <a:gd name="T23" fmla="*/ 23 h 36"/>
                    <a:gd name="T24" fmla="*/ 21 w 30"/>
                    <a:gd name="T25" fmla="*/ 26 h 36"/>
                    <a:gd name="T26" fmla="*/ 19 w 30"/>
                    <a:gd name="T27" fmla="*/ 29 h 36"/>
                    <a:gd name="T28" fmla="*/ 14 w 30"/>
                    <a:gd name="T29" fmla="*/ 30 h 36"/>
                    <a:gd name="T30" fmla="*/ 8 w 30"/>
                    <a:gd name="T31" fmla="*/ 28 h 36"/>
                    <a:gd name="T32" fmla="*/ 7 w 30"/>
                    <a:gd name="T33" fmla="*/ 24 h 36"/>
                    <a:gd name="T34" fmla="*/ 0 w 30"/>
                    <a:gd name="T35" fmla="*/ 24 h 36"/>
                    <a:gd name="T36" fmla="*/ 1 w 30"/>
                    <a:gd name="T37" fmla="*/ 30 h 36"/>
                    <a:gd name="T38" fmla="*/ 6 w 30"/>
                    <a:gd name="T39" fmla="*/ 35 h 36"/>
                    <a:gd name="T40" fmla="*/ 14 w 30"/>
                    <a:gd name="T41" fmla="*/ 36 h 36"/>
                    <a:gd name="T42" fmla="*/ 24 w 30"/>
                    <a:gd name="T43" fmla="*/ 33 h 36"/>
                    <a:gd name="T44" fmla="*/ 28 w 30"/>
                    <a:gd name="T45" fmla="*/ 25 h 36"/>
                    <a:gd name="T46" fmla="*/ 26 w 30"/>
                    <a:gd name="T47" fmla="*/ 19 h 36"/>
                    <a:gd name="T48" fmla="*/ 18 w 30"/>
                    <a:gd name="T49" fmla="*/ 14 h 36"/>
                    <a:gd name="T50" fmla="*/ 13 w 30"/>
                    <a:gd name="T51" fmla="*/ 12 h 36"/>
                    <a:gd name="T52" fmla="*/ 11 w 30"/>
                    <a:gd name="T53" fmla="*/ 9 h 36"/>
                    <a:gd name="T54" fmla="*/ 13 w 30"/>
                    <a:gd name="T55" fmla="*/ 6 h 36"/>
                    <a:gd name="T56" fmla="*/ 17 w 30"/>
                    <a:gd name="T57" fmla="*/ 5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0" h="36">
                      <a:moveTo>
                        <a:pt x="17" y="5"/>
                      </a:moveTo>
                      <a:cubicBezTo>
                        <a:pt x="19" y="5"/>
                        <a:pt x="21" y="6"/>
                        <a:pt x="22" y="7"/>
                      </a:cubicBezTo>
                      <a:cubicBezTo>
                        <a:pt x="23" y="8"/>
                        <a:pt x="23" y="9"/>
                        <a:pt x="23" y="11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7"/>
                        <a:pt x="29" y="4"/>
                        <a:pt x="27" y="3"/>
                      </a:cubicBezTo>
                      <a:cubicBezTo>
                        <a:pt x="24" y="1"/>
                        <a:pt x="21" y="0"/>
                        <a:pt x="17" y="0"/>
                      </a:cubicBezTo>
                      <a:cubicBezTo>
                        <a:pt x="13" y="0"/>
                        <a:pt x="10" y="1"/>
                        <a:pt x="8" y="3"/>
                      </a:cubicBezTo>
                      <a:cubicBezTo>
                        <a:pt x="5" y="5"/>
                        <a:pt x="4" y="7"/>
                        <a:pt x="4" y="10"/>
                      </a:cubicBezTo>
                      <a:cubicBezTo>
                        <a:pt x="4" y="12"/>
                        <a:pt x="5" y="13"/>
                        <a:pt x="6" y="14"/>
                      </a:cubicBezTo>
                      <a:cubicBezTo>
                        <a:pt x="6" y="16"/>
                        <a:pt x="7" y="17"/>
                        <a:pt x="8" y="18"/>
                      </a:cubicBezTo>
                      <a:cubicBezTo>
                        <a:pt x="10" y="18"/>
                        <a:pt x="12" y="19"/>
                        <a:pt x="15" y="21"/>
                      </a:cubicBezTo>
                      <a:cubicBezTo>
                        <a:pt x="17" y="22"/>
                        <a:pt x="19" y="23"/>
                        <a:pt x="20" y="23"/>
                      </a:cubicBezTo>
                      <a:cubicBezTo>
                        <a:pt x="20" y="24"/>
                        <a:pt x="21" y="25"/>
                        <a:pt x="21" y="26"/>
                      </a:cubicBezTo>
                      <a:cubicBezTo>
                        <a:pt x="21" y="27"/>
                        <a:pt x="20" y="28"/>
                        <a:pt x="19" y="29"/>
                      </a:cubicBezTo>
                      <a:cubicBezTo>
                        <a:pt x="18" y="30"/>
                        <a:pt x="16" y="30"/>
                        <a:pt x="14" y="30"/>
                      </a:cubicBezTo>
                      <a:cubicBezTo>
                        <a:pt x="11" y="30"/>
                        <a:pt x="9" y="30"/>
                        <a:pt x="8" y="28"/>
                      </a:cubicBezTo>
                      <a:cubicBezTo>
                        <a:pt x="8" y="28"/>
                        <a:pt x="7" y="26"/>
                        <a:pt x="7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7"/>
                        <a:pt x="0" y="29"/>
                        <a:pt x="1" y="30"/>
                      </a:cubicBezTo>
                      <a:cubicBezTo>
                        <a:pt x="2" y="32"/>
                        <a:pt x="4" y="34"/>
                        <a:pt x="6" y="35"/>
                      </a:cubicBezTo>
                      <a:cubicBezTo>
                        <a:pt x="8" y="36"/>
                        <a:pt x="11" y="36"/>
                        <a:pt x="14" y="36"/>
                      </a:cubicBezTo>
                      <a:cubicBezTo>
                        <a:pt x="18" y="36"/>
                        <a:pt x="22" y="35"/>
                        <a:pt x="24" y="33"/>
                      </a:cubicBezTo>
                      <a:cubicBezTo>
                        <a:pt x="27" y="31"/>
                        <a:pt x="28" y="28"/>
                        <a:pt x="28" y="25"/>
                      </a:cubicBezTo>
                      <a:cubicBezTo>
                        <a:pt x="28" y="22"/>
                        <a:pt x="27" y="20"/>
                        <a:pt x="26" y="19"/>
                      </a:cubicBezTo>
                      <a:cubicBezTo>
                        <a:pt x="25" y="18"/>
                        <a:pt x="22" y="16"/>
                        <a:pt x="18" y="14"/>
                      </a:cubicBezTo>
                      <a:cubicBezTo>
                        <a:pt x="15" y="13"/>
                        <a:pt x="13" y="12"/>
                        <a:pt x="13" y="12"/>
                      </a:cubicBezTo>
                      <a:cubicBezTo>
                        <a:pt x="12" y="11"/>
                        <a:pt x="11" y="10"/>
                        <a:pt x="11" y="9"/>
                      </a:cubicBezTo>
                      <a:cubicBezTo>
                        <a:pt x="11" y="8"/>
                        <a:pt x="12" y="7"/>
                        <a:pt x="13" y="6"/>
                      </a:cubicBezTo>
                      <a:cubicBezTo>
                        <a:pt x="14" y="6"/>
                        <a:pt x="15" y="5"/>
                        <a:pt x="17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5" name="iS1idê">
                  <a:extLst>
                    <a:ext uri="{FF2B5EF4-FFF2-40B4-BE49-F238E27FC236}">
                      <a16:creationId xmlns:a16="http://schemas.microsoft.com/office/drawing/2014/main" id="{4D1323A9-4A48-44A2-84FD-32F5BF837F37}"/>
                    </a:ext>
                  </a:extLst>
                </p:cNvPr>
                <p:cNvSpPr/>
                <p:nvPr/>
              </p:nvSpPr>
              <p:spPr bwMode="auto">
                <a:xfrm>
                  <a:off x="8374063" y="3521075"/>
                  <a:ext cx="46038" cy="119063"/>
                </a:xfrm>
                <a:custGeom>
                  <a:avLst/>
                  <a:gdLst>
                    <a:gd name="T0" fmla="*/ 0 w 29"/>
                    <a:gd name="T1" fmla="*/ 75 h 75"/>
                    <a:gd name="T2" fmla="*/ 14 w 29"/>
                    <a:gd name="T3" fmla="*/ 75 h 75"/>
                    <a:gd name="T4" fmla="*/ 29 w 29"/>
                    <a:gd name="T5" fmla="*/ 0 h 75"/>
                    <a:gd name="T6" fmla="*/ 14 w 29"/>
                    <a:gd name="T7" fmla="*/ 0 h 75"/>
                    <a:gd name="T8" fmla="*/ 0 w 29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75">
                      <a:moveTo>
                        <a:pt x="0" y="75"/>
                      </a:moveTo>
                      <a:lnTo>
                        <a:pt x="14" y="75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6" name="îŝļîďe">
                  <a:extLst>
                    <a:ext uri="{FF2B5EF4-FFF2-40B4-BE49-F238E27FC236}">
                      <a16:creationId xmlns:a16="http://schemas.microsoft.com/office/drawing/2014/main" id="{119DC4E6-AD70-4C7B-B1F2-10DF916C9C5A}"/>
                    </a:ext>
                  </a:extLst>
                </p:cNvPr>
                <p:cNvSpPr/>
                <p:nvPr/>
              </p:nvSpPr>
              <p:spPr bwMode="auto">
                <a:xfrm>
                  <a:off x="8432801" y="3521075"/>
                  <a:ext cx="95250" cy="119063"/>
                </a:xfrm>
                <a:custGeom>
                  <a:avLst/>
                  <a:gdLst>
                    <a:gd name="T0" fmla="*/ 0 w 60"/>
                    <a:gd name="T1" fmla="*/ 12 h 75"/>
                    <a:gd name="T2" fmla="*/ 21 w 60"/>
                    <a:gd name="T3" fmla="*/ 12 h 75"/>
                    <a:gd name="T4" fmla="*/ 8 w 60"/>
                    <a:gd name="T5" fmla="*/ 75 h 75"/>
                    <a:gd name="T6" fmla="*/ 23 w 60"/>
                    <a:gd name="T7" fmla="*/ 75 h 75"/>
                    <a:gd name="T8" fmla="*/ 35 w 60"/>
                    <a:gd name="T9" fmla="*/ 12 h 75"/>
                    <a:gd name="T10" fmla="*/ 58 w 60"/>
                    <a:gd name="T11" fmla="*/ 12 h 75"/>
                    <a:gd name="T12" fmla="*/ 60 w 60"/>
                    <a:gd name="T13" fmla="*/ 0 h 75"/>
                    <a:gd name="T14" fmla="*/ 2 w 60"/>
                    <a:gd name="T15" fmla="*/ 0 h 75"/>
                    <a:gd name="T16" fmla="*/ 0 w 60"/>
                    <a:gd name="T17" fmla="*/ 1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75">
                      <a:moveTo>
                        <a:pt x="0" y="12"/>
                      </a:moveTo>
                      <a:lnTo>
                        <a:pt x="21" y="12"/>
                      </a:lnTo>
                      <a:lnTo>
                        <a:pt x="8" y="75"/>
                      </a:lnTo>
                      <a:lnTo>
                        <a:pt x="23" y="75"/>
                      </a:lnTo>
                      <a:lnTo>
                        <a:pt x="35" y="12"/>
                      </a:lnTo>
                      <a:lnTo>
                        <a:pt x="58" y="12"/>
                      </a:lnTo>
                      <a:lnTo>
                        <a:pt x="60" y="0"/>
                      </a:lnTo>
                      <a:lnTo>
                        <a:pt x="2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7" name="îsliḋê">
                  <a:extLst>
                    <a:ext uri="{FF2B5EF4-FFF2-40B4-BE49-F238E27FC236}">
                      <a16:creationId xmlns:a16="http://schemas.microsoft.com/office/drawing/2014/main" id="{DC1813F9-5A24-4725-BC45-E03AA9DBB47D}"/>
                    </a:ext>
                  </a:extLst>
                </p:cNvPr>
                <p:cNvSpPr/>
                <p:nvPr/>
              </p:nvSpPr>
              <p:spPr bwMode="auto">
                <a:xfrm>
                  <a:off x="8531226" y="3521075"/>
                  <a:ext cx="109538" cy="119063"/>
                </a:xfrm>
                <a:custGeom>
                  <a:avLst/>
                  <a:gdLst>
                    <a:gd name="T0" fmla="*/ 25 w 33"/>
                    <a:gd name="T1" fmla="*/ 0 h 36"/>
                    <a:gd name="T2" fmla="*/ 19 w 33"/>
                    <a:gd name="T3" fmla="*/ 7 h 36"/>
                    <a:gd name="T4" fmla="*/ 16 w 33"/>
                    <a:gd name="T5" fmla="*/ 12 h 36"/>
                    <a:gd name="T6" fmla="*/ 14 w 33"/>
                    <a:gd name="T7" fmla="*/ 15 h 36"/>
                    <a:gd name="T8" fmla="*/ 12 w 33"/>
                    <a:gd name="T9" fmla="*/ 10 h 36"/>
                    <a:gd name="T10" fmla="*/ 8 w 33"/>
                    <a:gd name="T11" fmla="*/ 0 h 36"/>
                    <a:gd name="T12" fmla="*/ 0 w 33"/>
                    <a:gd name="T13" fmla="*/ 0 h 36"/>
                    <a:gd name="T14" fmla="*/ 10 w 33"/>
                    <a:gd name="T15" fmla="*/ 22 h 36"/>
                    <a:gd name="T16" fmla="*/ 7 w 33"/>
                    <a:gd name="T17" fmla="*/ 36 h 36"/>
                    <a:gd name="T18" fmla="*/ 14 w 33"/>
                    <a:gd name="T19" fmla="*/ 36 h 36"/>
                    <a:gd name="T20" fmla="*/ 17 w 33"/>
                    <a:gd name="T21" fmla="*/ 23 h 36"/>
                    <a:gd name="T22" fmla="*/ 33 w 33"/>
                    <a:gd name="T23" fmla="*/ 0 h 36"/>
                    <a:gd name="T24" fmla="*/ 25 w 33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36">
                      <a:moveTo>
                        <a:pt x="25" y="0"/>
                      </a:move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6" y="12"/>
                        <a:pt x="16" y="12"/>
                        <a:pt x="16" y="12"/>
                      </a:cubicBezTo>
                      <a:cubicBezTo>
                        <a:pt x="15" y="13"/>
                        <a:pt x="15" y="14"/>
                        <a:pt x="14" y="15"/>
                      </a:cubicBezTo>
                      <a:cubicBezTo>
                        <a:pt x="14" y="14"/>
                        <a:pt x="13" y="13"/>
                        <a:pt x="12" y="1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14" y="36"/>
                        <a:pt x="14" y="36"/>
                        <a:pt x="14" y="36"/>
                      </a:cubicBezTo>
                      <a:cubicBezTo>
                        <a:pt x="17" y="23"/>
                        <a:pt x="17" y="23"/>
                        <a:pt x="17" y="23"/>
                      </a:cubicBezTo>
                      <a:cubicBezTo>
                        <a:pt x="33" y="0"/>
                        <a:pt x="33" y="0"/>
                        <a:pt x="33" y="0"/>
                      </a:cubicBez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i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šľîḓê">
            <a:extLst>
              <a:ext uri="{FF2B5EF4-FFF2-40B4-BE49-F238E27FC236}">
                <a16:creationId xmlns:a16="http://schemas.microsoft.com/office/drawing/2014/main" id="{47037B24-4DC2-4593-8123-C476DFDD5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š1iḑe">
            <a:extLst>
              <a:ext uri="{FF2B5EF4-FFF2-40B4-BE49-F238E27FC236}">
                <a16:creationId xmlns:a16="http://schemas.microsoft.com/office/drawing/2014/main" id="{FD494196-9D65-4D43-8BD9-F18320218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ḷide">
            <a:extLst>
              <a:ext uri="{FF2B5EF4-FFF2-40B4-BE49-F238E27FC236}">
                <a16:creationId xmlns:a16="http://schemas.microsoft.com/office/drawing/2014/main" id="{D1CA0C06-A88F-45AE-BD66-9284A755A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109" name="ïṣḻi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CF9DCBF-45DE-4FB4-896D-1F3991EC658C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0"/>
            <a:ext cx="11564234" cy="6857999"/>
            <a:chOff x="669925" y="0"/>
            <a:chExt cx="11564234" cy="6857999"/>
          </a:xfrm>
        </p:grpSpPr>
        <p:sp>
          <p:nvSpPr>
            <p:cNvPr id="110" name="íṥļîďè">
              <a:extLst>
                <a:ext uri="{FF2B5EF4-FFF2-40B4-BE49-F238E27FC236}">
                  <a16:creationId xmlns:a16="http://schemas.microsoft.com/office/drawing/2014/main" id="{7FE0209D-786D-47B4-81B3-24AA54190BA3}"/>
                </a:ext>
              </a:extLst>
            </p:cNvPr>
            <p:cNvSpPr/>
            <p:nvPr/>
          </p:nvSpPr>
          <p:spPr>
            <a:xfrm rot="10800000">
              <a:off x="4388083" y="0"/>
              <a:ext cx="7846076" cy="6857999"/>
            </a:xfrm>
            <a:custGeom>
              <a:avLst/>
              <a:gdLst>
                <a:gd name="connsiteX0" fmla="*/ 168369 w 9517086"/>
                <a:gd name="connsiteY0" fmla="*/ 4779933 h 7291226"/>
                <a:gd name="connsiteX1" fmla="*/ 0 w 9517086"/>
                <a:gd name="connsiteY1" fmla="*/ 4409146 h 7291226"/>
                <a:gd name="connsiteX2" fmla="*/ 3332806 w 9517086"/>
                <a:gd name="connsiteY2" fmla="*/ 0 h 7291226"/>
                <a:gd name="connsiteX3" fmla="*/ 3794560 w 9517086"/>
                <a:gd name="connsiteY3" fmla="*/ 32861 h 7291226"/>
                <a:gd name="connsiteX4" fmla="*/ 488220 w 9517086"/>
                <a:gd name="connsiteY4" fmla="*/ 5484315 h 7291226"/>
                <a:gd name="connsiteX5" fmla="*/ 299082 w 9517086"/>
                <a:gd name="connsiteY5" fmla="*/ 5067791 h 7291226"/>
                <a:gd name="connsiteX6" fmla="*/ 4106456 w 9517086"/>
                <a:gd name="connsiteY6" fmla="*/ 55057 h 7291226"/>
                <a:gd name="connsiteX7" fmla="*/ 4585079 w 9517086"/>
                <a:gd name="connsiteY7" fmla="*/ 89119 h 7291226"/>
                <a:gd name="connsiteX8" fmla="*/ 779421 w 9517086"/>
                <a:gd name="connsiteY8" fmla="*/ 6125606 h 7291226"/>
                <a:gd name="connsiteX9" fmla="*/ 618065 w 9517086"/>
                <a:gd name="connsiteY9" fmla="*/ 5770263 h 7291226"/>
                <a:gd name="connsiteX10" fmla="*/ 4897528 w 9517086"/>
                <a:gd name="connsiteY10" fmla="*/ 111354 h 7291226"/>
                <a:gd name="connsiteX11" fmla="*/ 5324893 w 9517086"/>
                <a:gd name="connsiteY11" fmla="*/ 141768 h 7291226"/>
                <a:gd name="connsiteX12" fmla="*/ 1099910 w 9517086"/>
                <a:gd name="connsiteY12" fmla="*/ 6831395 h 7291226"/>
                <a:gd name="connsiteX13" fmla="*/ 919656 w 9517086"/>
                <a:gd name="connsiteY13" fmla="*/ 6434435 h 7291226"/>
                <a:gd name="connsiteX14" fmla="*/ 5668965 w 9517086"/>
                <a:gd name="connsiteY14" fmla="*/ 166254 h 7291226"/>
                <a:gd name="connsiteX15" fmla="*/ 6114044 w 9517086"/>
                <a:gd name="connsiteY15" fmla="*/ 197929 h 7291226"/>
                <a:gd name="connsiteX16" fmla="*/ 7106560 w 9517086"/>
                <a:gd name="connsiteY16" fmla="*/ 7291226 h 7291226"/>
                <a:gd name="connsiteX17" fmla="*/ 6670875 w 9517086"/>
                <a:gd name="connsiteY17" fmla="*/ 7291226 h 7291226"/>
                <a:gd name="connsiteX18" fmla="*/ 3849932 w 9517086"/>
                <a:gd name="connsiteY18" fmla="*/ 3596670 h 7291226"/>
                <a:gd name="connsiteX19" fmla="*/ 4086202 w 9517086"/>
                <a:gd name="connsiteY19" fmla="*/ 3287229 h 7291226"/>
                <a:gd name="connsiteX20" fmla="*/ 7934229 w 9517086"/>
                <a:gd name="connsiteY20" fmla="*/ 7291226 h 7291226"/>
                <a:gd name="connsiteX21" fmla="*/ 7444802 w 9517086"/>
                <a:gd name="connsiteY21" fmla="*/ 7291226 h 7291226"/>
                <a:gd name="connsiteX22" fmla="*/ 4245793 w 9517086"/>
                <a:gd name="connsiteY22" fmla="*/ 3078214 h 7291226"/>
                <a:gd name="connsiteX23" fmla="*/ 4490696 w 9517086"/>
                <a:gd name="connsiteY23" fmla="*/ 2757469 h 7291226"/>
                <a:gd name="connsiteX24" fmla="*/ 8687764 w 9517086"/>
                <a:gd name="connsiteY24" fmla="*/ 7291226 h 7291226"/>
                <a:gd name="connsiteX25" fmla="*/ 8270226 w 9517086"/>
                <a:gd name="connsiteY25" fmla="*/ 7291226 h 7291226"/>
                <a:gd name="connsiteX26" fmla="*/ 4650570 w 9517086"/>
                <a:gd name="connsiteY26" fmla="*/ 2548084 h 7291226"/>
                <a:gd name="connsiteX27" fmla="*/ 4869244 w 9517086"/>
                <a:gd name="connsiteY27" fmla="*/ 2261689 h 7291226"/>
                <a:gd name="connsiteX28" fmla="*/ 9517086 w 9517086"/>
                <a:gd name="connsiteY28" fmla="*/ 7291226 h 7291226"/>
                <a:gd name="connsiteX29" fmla="*/ 9050647 w 9517086"/>
                <a:gd name="connsiteY29" fmla="*/ 7291226 h 7291226"/>
                <a:gd name="connsiteX30" fmla="*/ 5045299 w 9517086"/>
                <a:gd name="connsiteY30" fmla="*/ 2031113 h 7291226"/>
                <a:gd name="connsiteX31" fmla="*/ 5273037 w 9517086"/>
                <a:gd name="connsiteY31" fmla="*/ 1732846 h 7291226"/>
                <a:gd name="connsiteX0" fmla="*/ 168369 w 9378540"/>
                <a:gd name="connsiteY0" fmla="*/ 4779933 h 7291226"/>
                <a:gd name="connsiteX1" fmla="*/ 0 w 9378540"/>
                <a:gd name="connsiteY1" fmla="*/ 4409146 h 7291226"/>
                <a:gd name="connsiteX2" fmla="*/ 3332806 w 9378540"/>
                <a:gd name="connsiteY2" fmla="*/ 0 h 7291226"/>
                <a:gd name="connsiteX3" fmla="*/ 3794560 w 9378540"/>
                <a:gd name="connsiteY3" fmla="*/ 32861 h 7291226"/>
                <a:gd name="connsiteX4" fmla="*/ 168369 w 9378540"/>
                <a:gd name="connsiteY4" fmla="*/ 4779933 h 7291226"/>
                <a:gd name="connsiteX5" fmla="*/ 488220 w 9378540"/>
                <a:gd name="connsiteY5" fmla="*/ 5484315 h 7291226"/>
                <a:gd name="connsiteX6" fmla="*/ 299082 w 9378540"/>
                <a:gd name="connsiteY6" fmla="*/ 5067791 h 7291226"/>
                <a:gd name="connsiteX7" fmla="*/ 4106456 w 9378540"/>
                <a:gd name="connsiteY7" fmla="*/ 55057 h 7291226"/>
                <a:gd name="connsiteX8" fmla="*/ 4585079 w 9378540"/>
                <a:gd name="connsiteY8" fmla="*/ 89119 h 7291226"/>
                <a:gd name="connsiteX9" fmla="*/ 488220 w 9378540"/>
                <a:gd name="connsiteY9" fmla="*/ 5484315 h 7291226"/>
                <a:gd name="connsiteX10" fmla="*/ 779421 w 9378540"/>
                <a:gd name="connsiteY10" fmla="*/ 6125606 h 7291226"/>
                <a:gd name="connsiteX11" fmla="*/ 618065 w 9378540"/>
                <a:gd name="connsiteY11" fmla="*/ 5770263 h 7291226"/>
                <a:gd name="connsiteX12" fmla="*/ 4897528 w 9378540"/>
                <a:gd name="connsiteY12" fmla="*/ 111354 h 7291226"/>
                <a:gd name="connsiteX13" fmla="*/ 5324893 w 9378540"/>
                <a:gd name="connsiteY13" fmla="*/ 141768 h 7291226"/>
                <a:gd name="connsiteX14" fmla="*/ 779421 w 9378540"/>
                <a:gd name="connsiteY14" fmla="*/ 6125606 h 7291226"/>
                <a:gd name="connsiteX15" fmla="*/ 1099910 w 9378540"/>
                <a:gd name="connsiteY15" fmla="*/ 6831395 h 7291226"/>
                <a:gd name="connsiteX16" fmla="*/ 919656 w 9378540"/>
                <a:gd name="connsiteY16" fmla="*/ 6434435 h 7291226"/>
                <a:gd name="connsiteX17" fmla="*/ 5668965 w 9378540"/>
                <a:gd name="connsiteY17" fmla="*/ 166254 h 7291226"/>
                <a:gd name="connsiteX18" fmla="*/ 6114044 w 9378540"/>
                <a:gd name="connsiteY18" fmla="*/ 197929 h 7291226"/>
                <a:gd name="connsiteX19" fmla="*/ 1099910 w 9378540"/>
                <a:gd name="connsiteY19" fmla="*/ 6831395 h 7291226"/>
                <a:gd name="connsiteX20" fmla="*/ 7106560 w 9378540"/>
                <a:gd name="connsiteY20" fmla="*/ 7291226 h 7291226"/>
                <a:gd name="connsiteX21" fmla="*/ 6670875 w 9378540"/>
                <a:gd name="connsiteY21" fmla="*/ 7291226 h 7291226"/>
                <a:gd name="connsiteX22" fmla="*/ 3849932 w 9378540"/>
                <a:gd name="connsiteY22" fmla="*/ 3596670 h 7291226"/>
                <a:gd name="connsiteX23" fmla="*/ 4086202 w 9378540"/>
                <a:gd name="connsiteY23" fmla="*/ 3287229 h 7291226"/>
                <a:gd name="connsiteX24" fmla="*/ 7106560 w 9378540"/>
                <a:gd name="connsiteY24" fmla="*/ 7291226 h 7291226"/>
                <a:gd name="connsiteX25" fmla="*/ 7934229 w 9378540"/>
                <a:gd name="connsiteY25" fmla="*/ 7291226 h 7291226"/>
                <a:gd name="connsiteX26" fmla="*/ 7444802 w 9378540"/>
                <a:gd name="connsiteY26" fmla="*/ 7291226 h 7291226"/>
                <a:gd name="connsiteX27" fmla="*/ 4245793 w 9378540"/>
                <a:gd name="connsiteY27" fmla="*/ 3078214 h 7291226"/>
                <a:gd name="connsiteX28" fmla="*/ 4490696 w 9378540"/>
                <a:gd name="connsiteY28" fmla="*/ 2757469 h 7291226"/>
                <a:gd name="connsiteX29" fmla="*/ 7934229 w 9378540"/>
                <a:gd name="connsiteY29" fmla="*/ 7291226 h 7291226"/>
                <a:gd name="connsiteX30" fmla="*/ 8687764 w 9378540"/>
                <a:gd name="connsiteY30" fmla="*/ 7291226 h 7291226"/>
                <a:gd name="connsiteX31" fmla="*/ 8270226 w 9378540"/>
                <a:gd name="connsiteY31" fmla="*/ 7291226 h 7291226"/>
                <a:gd name="connsiteX32" fmla="*/ 4650570 w 9378540"/>
                <a:gd name="connsiteY32" fmla="*/ 2548084 h 7291226"/>
                <a:gd name="connsiteX33" fmla="*/ 4869244 w 9378540"/>
                <a:gd name="connsiteY33" fmla="*/ 2261689 h 7291226"/>
                <a:gd name="connsiteX34" fmla="*/ 8687764 w 9378540"/>
                <a:gd name="connsiteY34" fmla="*/ 7291226 h 7291226"/>
                <a:gd name="connsiteX35" fmla="*/ 9378540 w 9378540"/>
                <a:gd name="connsiteY35" fmla="*/ 7097262 h 7291226"/>
                <a:gd name="connsiteX36" fmla="*/ 9050647 w 9378540"/>
                <a:gd name="connsiteY36" fmla="*/ 7291226 h 7291226"/>
                <a:gd name="connsiteX37" fmla="*/ 5045299 w 9378540"/>
                <a:gd name="connsiteY37" fmla="*/ 2031113 h 7291226"/>
                <a:gd name="connsiteX38" fmla="*/ 5273037 w 9378540"/>
                <a:gd name="connsiteY38" fmla="*/ 1732846 h 7291226"/>
                <a:gd name="connsiteX39" fmla="*/ 9378540 w 9378540"/>
                <a:gd name="connsiteY39" fmla="*/ 7097262 h 7291226"/>
                <a:gd name="connsiteX0" fmla="*/ 168369 w 9378540"/>
                <a:gd name="connsiteY0" fmla="*/ 4779933 h 7291226"/>
                <a:gd name="connsiteX1" fmla="*/ 0 w 9378540"/>
                <a:gd name="connsiteY1" fmla="*/ 4409146 h 7291226"/>
                <a:gd name="connsiteX2" fmla="*/ 3332806 w 9378540"/>
                <a:gd name="connsiteY2" fmla="*/ 0 h 7291226"/>
                <a:gd name="connsiteX3" fmla="*/ 3794560 w 9378540"/>
                <a:gd name="connsiteY3" fmla="*/ 32861 h 7291226"/>
                <a:gd name="connsiteX4" fmla="*/ 168369 w 9378540"/>
                <a:gd name="connsiteY4" fmla="*/ 4779933 h 7291226"/>
                <a:gd name="connsiteX5" fmla="*/ 488220 w 9378540"/>
                <a:gd name="connsiteY5" fmla="*/ 5484315 h 7291226"/>
                <a:gd name="connsiteX6" fmla="*/ 299082 w 9378540"/>
                <a:gd name="connsiteY6" fmla="*/ 5067791 h 7291226"/>
                <a:gd name="connsiteX7" fmla="*/ 4106456 w 9378540"/>
                <a:gd name="connsiteY7" fmla="*/ 55057 h 7291226"/>
                <a:gd name="connsiteX8" fmla="*/ 4585079 w 9378540"/>
                <a:gd name="connsiteY8" fmla="*/ 89119 h 7291226"/>
                <a:gd name="connsiteX9" fmla="*/ 488220 w 9378540"/>
                <a:gd name="connsiteY9" fmla="*/ 5484315 h 7291226"/>
                <a:gd name="connsiteX10" fmla="*/ 779421 w 9378540"/>
                <a:gd name="connsiteY10" fmla="*/ 6125606 h 7291226"/>
                <a:gd name="connsiteX11" fmla="*/ 618065 w 9378540"/>
                <a:gd name="connsiteY11" fmla="*/ 5770263 h 7291226"/>
                <a:gd name="connsiteX12" fmla="*/ 4897528 w 9378540"/>
                <a:gd name="connsiteY12" fmla="*/ 111354 h 7291226"/>
                <a:gd name="connsiteX13" fmla="*/ 5324893 w 9378540"/>
                <a:gd name="connsiteY13" fmla="*/ 141768 h 7291226"/>
                <a:gd name="connsiteX14" fmla="*/ 779421 w 9378540"/>
                <a:gd name="connsiteY14" fmla="*/ 6125606 h 7291226"/>
                <a:gd name="connsiteX15" fmla="*/ 1099910 w 9378540"/>
                <a:gd name="connsiteY15" fmla="*/ 6831395 h 7291226"/>
                <a:gd name="connsiteX16" fmla="*/ 919656 w 9378540"/>
                <a:gd name="connsiteY16" fmla="*/ 6434435 h 7291226"/>
                <a:gd name="connsiteX17" fmla="*/ 5668965 w 9378540"/>
                <a:gd name="connsiteY17" fmla="*/ 166254 h 7291226"/>
                <a:gd name="connsiteX18" fmla="*/ 6114044 w 9378540"/>
                <a:gd name="connsiteY18" fmla="*/ 197929 h 7291226"/>
                <a:gd name="connsiteX19" fmla="*/ 1099910 w 9378540"/>
                <a:gd name="connsiteY19" fmla="*/ 6831395 h 7291226"/>
                <a:gd name="connsiteX20" fmla="*/ 7106560 w 9378540"/>
                <a:gd name="connsiteY20" fmla="*/ 7291226 h 7291226"/>
                <a:gd name="connsiteX21" fmla="*/ 6670875 w 9378540"/>
                <a:gd name="connsiteY21" fmla="*/ 7291226 h 7291226"/>
                <a:gd name="connsiteX22" fmla="*/ 3849932 w 9378540"/>
                <a:gd name="connsiteY22" fmla="*/ 3596670 h 7291226"/>
                <a:gd name="connsiteX23" fmla="*/ 4086202 w 9378540"/>
                <a:gd name="connsiteY23" fmla="*/ 3287229 h 7291226"/>
                <a:gd name="connsiteX24" fmla="*/ 7106560 w 9378540"/>
                <a:gd name="connsiteY24" fmla="*/ 7291226 h 7291226"/>
                <a:gd name="connsiteX25" fmla="*/ 7934229 w 9378540"/>
                <a:gd name="connsiteY25" fmla="*/ 7291226 h 7291226"/>
                <a:gd name="connsiteX26" fmla="*/ 7444802 w 9378540"/>
                <a:gd name="connsiteY26" fmla="*/ 7291226 h 7291226"/>
                <a:gd name="connsiteX27" fmla="*/ 4245793 w 9378540"/>
                <a:gd name="connsiteY27" fmla="*/ 3078214 h 7291226"/>
                <a:gd name="connsiteX28" fmla="*/ 4490696 w 9378540"/>
                <a:gd name="connsiteY28" fmla="*/ 2757469 h 7291226"/>
                <a:gd name="connsiteX29" fmla="*/ 7934229 w 9378540"/>
                <a:gd name="connsiteY29" fmla="*/ 7291226 h 7291226"/>
                <a:gd name="connsiteX30" fmla="*/ 8687764 w 9378540"/>
                <a:gd name="connsiteY30" fmla="*/ 7291226 h 7291226"/>
                <a:gd name="connsiteX31" fmla="*/ 8270226 w 9378540"/>
                <a:gd name="connsiteY31" fmla="*/ 7291226 h 7291226"/>
                <a:gd name="connsiteX32" fmla="*/ 4650570 w 9378540"/>
                <a:gd name="connsiteY32" fmla="*/ 2548084 h 7291226"/>
                <a:gd name="connsiteX33" fmla="*/ 4869244 w 9378540"/>
                <a:gd name="connsiteY33" fmla="*/ 2261689 h 7291226"/>
                <a:gd name="connsiteX34" fmla="*/ 8687764 w 9378540"/>
                <a:gd name="connsiteY34" fmla="*/ 7291226 h 7291226"/>
                <a:gd name="connsiteX35" fmla="*/ 9378540 w 9378540"/>
                <a:gd name="connsiteY35" fmla="*/ 7097262 h 7291226"/>
                <a:gd name="connsiteX36" fmla="*/ 8921338 w 9378540"/>
                <a:gd name="connsiteY36" fmla="*/ 7115735 h 7291226"/>
                <a:gd name="connsiteX37" fmla="*/ 5045299 w 9378540"/>
                <a:gd name="connsiteY37" fmla="*/ 2031113 h 7291226"/>
                <a:gd name="connsiteX38" fmla="*/ 5273037 w 9378540"/>
                <a:gd name="connsiteY38" fmla="*/ 1732846 h 7291226"/>
                <a:gd name="connsiteX39" fmla="*/ 9378540 w 9378540"/>
                <a:gd name="connsiteY39" fmla="*/ 7097262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934229 w 9397013"/>
                <a:gd name="connsiteY25" fmla="*/ 7291226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934229 w 9397013"/>
                <a:gd name="connsiteY29" fmla="*/ 7291226 h 7291226"/>
                <a:gd name="connsiteX30" fmla="*/ 8687764 w 9397013"/>
                <a:gd name="connsiteY30" fmla="*/ 7291226 h 7291226"/>
                <a:gd name="connsiteX31" fmla="*/ 8270226 w 9397013"/>
                <a:gd name="connsiteY31" fmla="*/ 7291226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687764 w 9397013"/>
                <a:gd name="connsiteY34" fmla="*/ 7291226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934229 w 9397013"/>
                <a:gd name="connsiteY25" fmla="*/ 7291226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934229 w 9397013"/>
                <a:gd name="connsiteY29" fmla="*/ 7291226 h 7291226"/>
                <a:gd name="connsiteX30" fmla="*/ 8530746 w 9397013"/>
                <a:gd name="connsiteY30" fmla="*/ 7088026 h 7291226"/>
                <a:gd name="connsiteX31" fmla="*/ 8270226 w 9397013"/>
                <a:gd name="connsiteY31" fmla="*/ 7291226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30746 w 9397013"/>
                <a:gd name="connsiteY34" fmla="*/ 7088026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934229 w 9397013"/>
                <a:gd name="connsiteY25" fmla="*/ 7291226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934229 w 9397013"/>
                <a:gd name="connsiteY29" fmla="*/ 7291226 h 7291226"/>
                <a:gd name="connsiteX30" fmla="*/ 8530746 w 9397013"/>
                <a:gd name="connsiteY30" fmla="*/ 7088026 h 7291226"/>
                <a:gd name="connsiteX31" fmla="*/ 8150153 w 9397013"/>
                <a:gd name="connsiteY31" fmla="*/ 7097262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30746 w 9397013"/>
                <a:gd name="connsiteY34" fmla="*/ 7088026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934229 w 9397013"/>
                <a:gd name="connsiteY25" fmla="*/ 7291226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934229 w 9397013"/>
                <a:gd name="connsiteY29" fmla="*/ 7291226 h 7291226"/>
                <a:gd name="connsiteX30" fmla="*/ 8567691 w 9397013"/>
                <a:gd name="connsiteY30" fmla="*/ 7124971 h 7291226"/>
                <a:gd name="connsiteX31" fmla="*/ 8150153 w 9397013"/>
                <a:gd name="connsiteY31" fmla="*/ 7097262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67691 w 9397013"/>
                <a:gd name="connsiteY34" fmla="*/ 7124971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934229 w 9397013"/>
                <a:gd name="connsiteY25" fmla="*/ 7291226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934229 w 9397013"/>
                <a:gd name="connsiteY29" fmla="*/ 7291226 h 7291226"/>
                <a:gd name="connsiteX30" fmla="*/ 8567691 w 9397013"/>
                <a:gd name="connsiteY30" fmla="*/ 7124971 h 7291226"/>
                <a:gd name="connsiteX31" fmla="*/ 8159389 w 9397013"/>
                <a:gd name="connsiteY31" fmla="*/ 7134208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67691 w 9397013"/>
                <a:gd name="connsiteY34" fmla="*/ 7124971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777211 w 9397013"/>
                <a:gd name="connsiteY25" fmla="*/ 7124972 h 7291226"/>
                <a:gd name="connsiteX26" fmla="*/ 7444802 w 9397013"/>
                <a:gd name="connsiteY26" fmla="*/ 7291226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777211 w 9397013"/>
                <a:gd name="connsiteY29" fmla="*/ 7124972 h 7291226"/>
                <a:gd name="connsiteX30" fmla="*/ 8567691 w 9397013"/>
                <a:gd name="connsiteY30" fmla="*/ 7124971 h 7291226"/>
                <a:gd name="connsiteX31" fmla="*/ 8159389 w 9397013"/>
                <a:gd name="connsiteY31" fmla="*/ 7134208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67691 w 9397013"/>
                <a:gd name="connsiteY34" fmla="*/ 7124971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7106560 w 9397013"/>
                <a:gd name="connsiteY20" fmla="*/ 7291226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7106560 w 9397013"/>
                <a:gd name="connsiteY24" fmla="*/ 7291226 h 7291226"/>
                <a:gd name="connsiteX25" fmla="*/ 7777211 w 9397013"/>
                <a:gd name="connsiteY25" fmla="*/ 7124972 h 7291226"/>
                <a:gd name="connsiteX26" fmla="*/ 7324729 w 9397013"/>
                <a:gd name="connsiteY26" fmla="*/ 7124972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777211 w 9397013"/>
                <a:gd name="connsiteY29" fmla="*/ 7124972 h 7291226"/>
                <a:gd name="connsiteX30" fmla="*/ 8567691 w 9397013"/>
                <a:gd name="connsiteY30" fmla="*/ 7124971 h 7291226"/>
                <a:gd name="connsiteX31" fmla="*/ 8159389 w 9397013"/>
                <a:gd name="connsiteY31" fmla="*/ 7134208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67691 w 9397013"/>
                <a:gd name="connsiteY34" fmla="*/ 7124971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291226"/>
                <a:gd name="connsiteX1" fmla="*/ 0 w 9397013"/>
                <a:gd name="connsiteY1" fmla="*/ 4409146 h 7291226"/>
                <a:gd name="connsiteX2" fmla="*/ 3332806 w 9397013"/>
                <a:gd name="connsiteY2" fmla="*/ 0 h 7291226"/>
                <a:gd name="connsiteX3" fmla="*/ 3794560 w 9397013"/>
                <a:gd name="connsiteY3" fmla="*/ 32861 h 7291226"/>
                <a:gd name="connsiteX4" fmla="*/ 168369 w 9397013"/>
                <a:gd name="connsiteY4" fmla="*/ 4779933 h 7291226"/>
                <a:gd name="connsiteX5" fmla="*/ 488220 w 9397013"/>
                <a:gd name="connsiteY5" fmla="*/ 5484315 h 7291226"/>
                <a:gd name="connsiteX6" fmla="*/ 299082 w 9397013"/>
                <a:gd name="connsiteY6" fmla="*/ 5067791 h 7291226"/>
                <a:gd name="connsiteX7" fmla="*/ 4106456 w 9397013"/>
                <a:gd name="connsiteY7" fmla="*/ 55057 h 7291226"/>
                <a:gd name="connsiteX8" fmla="*/ 4585079 w 9397013"/>
                <a:gd name="connsiteY8" fmla="*/ 89119 h 7291226"/>
                <a:gd name="connsiteX9" fmla="*/ 488220 w 9397013"/>
                <a:gd name="connsiteY9" fmla="*/ 5484315 h 7291226"/>
                <a:gd name="connsiteX10" fmla="*/ 779421 w 9397013"/>
                <a:gd name="connsiteY10" fmla="*/ 6125606 h 7291226"/>
                <a:gd name="connsiteX11" fmla="*/ 618065 w 9397013"/>
                <a:gd name="connsiteY11" fmla="*/ 5770263 h 7291226"/>
                <a:gd name="connsiteX12" fmla="*/ 4897528 w 9397013"/>
                <a:gd name="connsiteY12" fmla="*/ 111354 h 7291226"/>
                <a:gd name="connsiteX13" fmla="*/ 5324893 w 9397013"/>
                <a:gd name="connsiteY13" fmla="*/ 141768 h 7291226"/>
                <a:gd name="connsiteX14" fmla="*/ 779421 w 9397013"/>
                <a:gd name="connsiteY14" fmla="*/ 6125606 h 7291226"/>
                <a:gd name="connsiteX15" fmla="*/ 1099910 w 9397013"/>
                <a:gd name="connsiteY15" fmla="*/ 6831395 h 7291226"/>
                <a:gd name="connsiteX16" fmla="*/ 919656 w 9397013"/>
                <a:gd name="connsiteY16" fmla="*/ 6434435 h 7291226"/>
                <a:gd name="connsiteX17" fmla="*/ 5668965 w 9397013"/>
                <a:gd name="connsiteY17" fmla="*/ 166254 h 7291226"/>
                <a:gd name="connsiteX18" fmla="*/ 6114044 w 9397013"/>
                <a:gd name="connsiteY18" fmla="*/ 197929 h 7291226"/>
                <a:gd name="connsiteX19" fmla="*/ 1099910 w 9397013"/>
                <a:gd name="connsiteY19" fmla="*/ 6831395 h 7291226"/>
                <a:gd name="connsiteX20" fmla="*/ 6968015 w 9397013"/>
                <a:gd name="connsiteY20" fmla="*/ 7143444 h 7291226"/>
                <a:gd name="connsiteX21" fmla="*/ 6670875 w 9397013"/>
                <a:gd name="connsiteY21" fmla="*/ 7291226 h 7291226"/>
                <a:gd name="connsiteX22" fmla="*/ 3849932 w 9397013"/>
                <a:gd name="connsiteY22" fmla="*/ 3596670 h 7291226"/>
                <a:gd name="connsiteX23" fmla="*/ 4086202 w 9397013"/>
                <a:gd name="connsiteY23" fmla="*/ 3287229 h 7291226"/>
                <a:gd name="connsiteX24" fmla="*/ 6968015 w 9397013"/>
                <a:gd name="connsiteY24" fmla="*/ 7143444 h 7291226"/>
                <a:gd name="connsiteX25" fmla="*/ 7777211 w 9397013"/>
                <a:gd name="connsiteY25" fmla="*/ 7124972 h 7291226"/>
                <a:gd name="connsiteX26" fmla="*/ 7324729 w 9397013"/>
                <a:gd name="connsiteY26" fmla="*/ 7124972 h 7291226"/>
                <a:gd name="connsiteX27" fmla="*/ 4245793 w 9397013"/>
                <a:gd name="connsiteY27" fmla="*/ 3078214 h 7291226"/>
                <a:gd name="connsiteX28" fmla="*/ 4490696 w 9397013"/>
                <a:gd name="connsiteY28" fmla="*/ 2757469 h 7291226"/>
                <a:gd name="connsiteX29" fmla="*/ 7777211 w 9397013"/>
                <a:gd name="connsiteY29" fmla="*/ 7124972 h 7291226"/>
                <a:gd name="connsiteX30" fmla="*/ 8567691 w 9397013"/>
                <a:gd name="connsiteY30" fmla="*/ 7124971 h 7291226"/>
                <a:gd name="connsiteX31" fmla="*/ 8159389 w 9397013"/>
                <a:gd name="connsiteY31" fmla="*/ 7134208 h 7291226"/>
                <a:gd name="connsiteX32" fmla="*/ 4650570 w 9397013"/>
                <a:gd name="connsiteY32" fmla="*/ 2548084 h 7291226"/>
                <a:gd name="connsiteX33" fmla="*/ 4869244 w 9397013"/>
                <a:gd name="connsiteY33" fmla="*/ 2261689 h 7291226"/>
                <a:gd name="connsiteX34" fmla="*/ 8567691 w 9397013"/>
                <a:gd name="connsiteY34" fmla="*/ 7124971 h 7291226"/>
                <a:gd name="connsiteX35" fmla="*/ 9397013 w 9397013"/>
                <a:gd name="connsiteY35" fmla="*/ 7134207 h 7291226"/>
                <a:gd name="connsiteX36" fmla="*/ 8921338 w 9397013"/>
                <a:gd name="connsiteY36" fmla="*/ 7115735 h 7291226"/>
                <a:gd name="connsiteX37" fmla="*/ 5045299 w 9397013"/>
                <a:gd name="connsiteY37" fmla="*/ 2031113 h 7291226"/>
                <a:gd name="connsiteX38" fmla="*/ 5273037 w 9397013"/>
                <a:gd name="connsiteY38" fmla="*/ 1732846 h 7291226"/>
                <a:gd name="connsiteX39" fmla="*/ 9397013 w 9397013"/>
                <a:gd name="connsiteY39" fmla="*/ 7134207 h 7291226"/>
                <a:gd name="connsiteX0" fmla="*/ 168369 w 9397013"/>
                <a:gd name="connsiteY0" fmla="*/ 4779933 h 7143444"/>
                <a:gd name="connsiteX1" fmla="*/ 0 w 9397013"/>
                <a:gd name="connsiteY1" fmla="*/ 4409146 h 7143444"/>
                <a:gd name="connsiteX2" fmla="*/ 3332806 w 9397013"/>
                <a:gd name="connsiteY2" fmla="*/ 0 h 7143444"/>
                <a:gd name="connsiteX3" fmla="*/ 3794560 w 9397013"/>
                <a:gd name="connsiteY3" fmla="*/ 32861 h 7143444"/>
                <a:gd name="connsiteX4" fmla="*/ 168369 w 9397013"/>
                <a:gd name="connsiteY4" fmla="*/ 4779933 h 7143444"/>
                <a:gd name="connsiteX5" fmla="*/ 488220 w 9397013"/>
                <a:gd name="connsiteY5" fmla="*/ 5484315 h 7143444"/>
                <a:gd name="connsiteX6" fmla="*/ 299082 w 9397013"/>
                <a:gd name="connsiteY6" fmla="*/ 5067791 h 7143444"/>
                <a:gd name="connsiteX7" fmla="*/ 4106456 w 9397013"/>
                <a:gd name="connsiteY7" fmla="*/ 55057 h 7143444"/>
                <a:gd name="connsiteX8" fmla="*/ 4585079 w 9397013"/>
                <a:gd name="connsiteY8" fmla="*/ 89119 h 7143444"/>
                <a:gd name="connsiteX9" fmla="*/ 488220 w 9397013"/>
                <a:gd name="connsiteY9" fmla="*/ 5484315 h 7143444"/>
                <a:gd name="connsiteX10" fmla="*/ 779421 w 9397013"/>
                <a:gd name="connsiteY10" fmla="*/ 6125606 h 7143444"/>
                <a:gd name="connsiteX11" fmla="*/ 618065 w 9397013"/>
                <a:gd name="connsiteY11" fmla="*/ 5770263 h 7143444"/>
                <a:gd name="connsiteX12" fmla="*/ 4897528 w 9397013"/>
                <a:gd name="connsiteY12" fmla="*/ 111354 h 7143444"/>
                <a:gd name="connsiteX13" fmla="*/ 5324893 w 9397013"/>
                <a:gd name="connsiteY13" fmla="*/ 141768 h 7143444"/>
                <a:gd name="connsiteX14" fmla="*/ 779421 w 9397013"/>
                <a:gd name="connsiteY14" fmla="*/ 6125606 h 7143444"/>
                <a:gd name="connsiteX15" fmla="*/ 1099910 w 9397013"/>
                <a:gd name="connsiteY15" fmla="*/ 6831395 h 7143444"/>
                <a:gd name="connsiteX16" fmla="*/ 919656 w 9397013"/>
                <a:gd name="connsiteY16" fmla="*/ 6434435 h 7143444"/>
                <a:gd name="connsiteX17" fmla="*/ 5668965 w 9397013"/>
                <a:gd name="connsiteY17" fmla="*/ 166254 h 7143444"/>
                <a:gd name="connsiteX18" fmla="*/ 6114044 w 9397013"/>
                <a:gd name="connsiteY18" fmla="*/ 197929 h 7143444"/>
                <a:gd name="connsiteX19" fmla="*/ 1099910 w 9397013"/>
                <a:gd name="connsiteY19" fmla="*/ 6831395 h 7143444"/>
                <a:gd name="connsiteX20" fmla="*/ 6968015 w 9397013"/>
                <a:gd name="connsiteY20" fmla="*/ 7143444 h 7143444"/>
                <a:gd name="connsiteX21" fmla="*/ 6550802 w 9397013"/>
                <a:gd name="connsiteY21" fmla="*/ 7143444 h 7143444"/>
                <a:gd name="connsiteX22" fmla="*/ 3849932 w 9397013"/>
                <a:gd name="connsiteY22" fmla="*/ 3596670 h 7143444"/>
                <a:gd name="connsiteX23" fmla="*/ 4086202 w 9397013"/>
                <a:gd name="connsiteY23" fmla="*/ 3287229 h 7143444"/>
                <a:gd name="connsiteX24" fmla="*/ 6968015 w 9397013"/>
                <a:gd name="connsiteY24" fmla="*/ 7143444 h 7143444"/>
                <a:gd name="connsiteX25" fmla="*/ 7777211 w 9397013"/>
                <a:gd name="connsiteY25" fmla="*/ 7124972 h 7143444"/>
                <a:gd name="connsiteX26" fmla="*/ 7324729 w 9397013"/>
                <a:gd name="connsiteY26" fmla="*/ 7124972 h 7143444"/>
                <a:gd name="connsiteX27" fmla="*/ 4245793 w 9397013"/>
                <a:gd name="connsiteY27" fmla="*/ 3078214 h 7143444"/>
                <a:gd name="connsiteX28" fmla="*/ 4490696 w 9397013"/>
                <a:gd name="connsiteY28" fmla="*/ 2757469 h 7143444"/>
                <a:gd name="connsiteX29" fmla="*/ 7777211 w 9397013"/>
                <a:gd name="connsiteY29" fmla="*/ 7124972 h 7143444"/>
                <a:gd name="connsiteX30" fmla="*/ 8567691 w 9397013"/>
                <a:gd name="connsiteY30" fmla="*/ 7124971 h 7143444"/>
                <a:gd name="connsiteX31" fmla="*/ 8159389 w 9397013"/>
                <a:gd name="connsiteY31" fmla="*/ 7134208 h 7143444"/>
                <a:gd name="connsiteX32" fmla="*/ 4650570 w 9397013"/>
                <a:gd name="connsiteY32" fmla="*/ 2548084 h 7143444"/>
                <a:gd name="connsiteX33" fmla="*/ 4869244 w 9397013"/>
                <a:gd name="connsiteY33" fmla="*/ 2261689 h 7143444"/>
                <a:gd name="connsiteX34" fmla="*/ 8567691 w 9397013"/>
                <a:gd name="connsiteY34" fmla="*/ 7124971 h 7143444"/>
                <a:gd name="connsiteX35" fmla="*/ 9397013 w 9397013"/>
                <a:gd name="connsiteY35" fmla="*/ 7134207 h 7143444"/>
                <a:gd name="connsiteX36" fmla="*/ 8921338 w 9397013"/>
                <a:gd name="connsiteY36" fmla="*/ 7115735 h 7143444"/>
                <a:gd name="connsiteX37" fmla="*/ 5045299 w 9397013"/>
                <a:gd name="connsiteY37" fmla="*/ 2031113 h 7143444"/>
                <a:gd name="connsiteX38" fmla="*/ 5273037 w 9397013"/>
                <a:gd name="connsiteY38" fmla="*/ 1732846 h 7143444"/>
                <a:gd name="connsiteX39" fmla="*/ 9397013 w 9397013"/>
                <a:gd name="connsiteY39" fmla="*/ 7134207 h 7143444"/>
                <a:gd name="connsiteX0" fmla="*/ 168369 w 9397013"/>
                <a:gd name="connsiteY0" fmla="*/ 4779933 h 7143444"/>
                <a:gd name="connsiteX1" fmla="*/ 0 w 9397013"/>
                <a:gd name="connsiteY1" fmla="*/ 4409146 h 7143444"/>
                <a:gd name="connsiteX2" fmla="*/ 3332806 w 9397013"/>
                <a:gd name="connsiteY2" fmla="*/ 0 h 7143444"/>
                <a:gd name="connsiteX3" fmla="*/ 3794560 w 9397013"/>
                <a:gd name="connsiteY3" fmla="*/ 32861 h 7143444"/>
                <a:gd name="connsiteX4" fmla="*/ 168369 w 9397013"/>
                <a:gd name="connsiteY4" fmla="*/ 4779933 h 7143444"/>
                <a:gd name="connsiteX5" fmla="*/ 488220 w 9397013"/>
                <a:gd name="connsiteY5" fmla="*/ 5484315 h 7143444"/>
                <a:gd name="connsiteX6" fmla="*/ 299082 w 9397013"/>
                <a:gd name="connsiteY6" fmla="*/ 5067791 h 7143444"/>
                <a:gd name="connsiteX7" fmla="*/ 4106456 w 9397013"/>
                <a:gd name="connsiteY7" fmla="*/ 55057 h 7143444"/>
                <a:gd name="connsiteX8" fmla="*/ 4585079 w 9397013"/>
                <a:gd name="connsiteY8" fmla="*/ 89119 h 7143444"/>
                <a:gd name="connsiteX9" fmla="*/ 488220 w 9397013"/>
                <a:gd name="connsiteY9" fmla="*/ 5484315 h 7143444"/>
                <a:gd name="connsiteX10" fmla="*/ 779421 w 9397013"/>
                <a:gd name="connsiteY10" fmla="*/ 6125606 h 7143444"/>
                <a:gd name="connsiteX11" fmla="*/ 618065 w 9397013"/>
                <a:gd name="connsiteY11" fmla="*/ 5770263 h 7143444"/>
                <a:gd name="connsiteX12" fmla="*/ 4897528 w 9397013"/>
                <a:gd name="connsiteY12" fmla="*/ 111354 h 7143444"/>
                <a:gd name="connsiteX13" fmla="*/ 5324893 w 9397013"/>
                <a:gd name="connsiteY13" fmla="*/ 141768 h 7143444"/>
                <a:gd name="connsiteX14" fmla="*/ 779421 w 9397013"/>
                <a:gd name="connsiteY14" fmla="*/ 6125606 h 7143444"/>
                <a:gd name="connsiteX15" fmla="*/ 1099910 w 9397013"/>
                <a:gd name="connsiteY15" fmla="*/ 6831395 h 7143444"/>
                <a:gd name="connsiteX16" fmla="*/ 919656 w 9397013"/>
                <a:gd name="connsiteY16" fmla="*/ 6434435 h 7143444"/>
                <a:gd name="connsiteX17" fmla="*/ 5668965 w 9397013"/>
                <a:gd name="connsiteY17" fmla="*/ 166254 h 7143444"/>
                <a:gd name="connsiteX18" fmla="*/ 6114044 w 9397013"/>
                <a:gd name="connsiteY18" fmla="*/ 197929 h 7143444"/>
                <a:gd name="connsiteX19" fmla="*/ 1099910 w 9397013"/>
                <a:gd name="connsiteY19" fmla="*/ 6831395 h 7143444"/>
                <a:gd name="connsiteX20" fmla="*/ 6958778 w 9397013"/>
                <a:gd name="connsiteY20" fmla="*/ 7124971 h 7143444"/>
                <a:gd name="connsiteX21" fmla="*/ 6550802 w 9397013"/>
                <a:gd name="connsiteY21" fmla="*/ 7143444 h 7143444"/>
                <a:gd name="connsiteX22" fmla="*/ 3849932 w 9397013"/>
                <a:gd name="connsiteY22" fmla="*/ 3596670 h 7143444"/>
                <a:gd name="connsiteX23" fmla="*/ 4086202 w 9397013"/>
                <a:gd name="connsiteY23" fmla="*/ 3287229 h 7143444"/>
                <a:gd name="connsiteX24" fmla="*/ 6958778 w 9397013"/>
                <a:gd name="connsiteY24" fmla="*/ 7124971 h 7143444"/>
                <a:gd name="connsiteX25" fmla="*/ 7777211 w 9397013"/>
                <a:gd name="connsiteY25" fmla="*/ 7124972 h 7143444"/>
                <a:gd name="connsiteX26" fmla="*/ 7324729 w 9397013"/>
                <a:gd name="connsiteY26" fmla="*/ 7124972 h 7143444"/>
                <a:gd name="connsiteX27" fmla="*/ 4245793 w 9397013"/>
                <a:gd name="connsiteY27" fmla="*/ 3078214 h 7143444"/>
                <a:gd name="connsiteX28" fmla="*/ 4490696 w 9397013"/>
                <a:gd name="connsiteY28" fmla="*/ 2757469 h 7143444"/>
                <a:gd name="connsiteX29" fmla="*/ 7777211 w 9397013"/>
                <a:gd name="connsiteY29" fmla="*/ 7124972 h 7143444"/>
                <a:gd name="connsiteX30" fmla="*/ 8567691 w 9397013"/>
                <a:gd name="connsiteY30" fmla="*/ 7124971 h 7143444"/>
                <a:gd name="connsiteX31" fmla="*/ 8159389 w 9397013"/>
                <a:gd name="connsiteY31" fmla="*/ 7134208 h 7143444"/>
                <a:gd name="connsiteX32" fmla="*/ 4650570 w 9397013"/>
                <a:gd name="connsiteY32" fmla="*/ 2548084 h 7143444"/>
                <a:gd name="connsiteX33" fmla="*/ 4869244 w 9397013"/>
                <a:gd name="connsiteY33" fmla="*/ 2261689 h 7143444"/>
                <a:gd name="connsiteX34" fmla="*/ 8567691 w 9397013"/>
                <a:gd name="connsiteY34" fmla="*/ 7124971 h 7143444"/>
                <a:gd name="connsiteX35" fmla="*/ 9397013 w 9397013"/>
                <a:gd name="connsiteY35" fmla="*/ 7134207 h 7143444"/>
                <a:gd name="connsiteX36" fmla="*/ 8921338 w 9397013"/>
                <a:gd name="connsiteY36" fmla="*/ 7115735 h 7143444"/>
                <a:gd name="connsiteX37" fmla="*/ 5045299 w 9397013"/>
                <a:gd name="connsiteY37" fmla="*/ 2031113 h 7143444"/>
                <a:gd name="connsiteX38" fmla="*/ 5273037 w 9397013"/>
                <a:gd name="connsiteY38" fmla="*/ 1732846 h 7143444"/>
                <a:gd name="connsiteX39" fmla="*/ 9397013 w 9397013"/>
                <a:gd name="connsiteY39" fmla="*/ 7134207 h 7143444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324893 w 9397013"/>
                <a:gd name="connsiteY13" fmla="*/ 141768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68965 w 9397013"/>
                <a:gd name="connsiteY17" fmla="*/ 166254 h 7134208"/>
                <a:gd name="connsiteX18" fmla="*/ 6114044 w 9397013"/>
                <a:gd name="connsiteY18" fmla="*/ 197929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41566 w 9397013"/>
                <a:gd name="connsiteY21" fmla="*/ 7115735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324893 w 9397013"/>
                <a:gd name="connsiteY13" fmla="*/ 141768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68965 w 9397013"/>
                <a:gd name="connsiteY17" fmla="*/ 166254 h 7134208"/>
                <a:gd name="connsiteX18" fmla="*/ 6114044 w 9397013"/>
                <a:gd name="connsiteY18" fmla="*/ 197929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324893 w 9397013"/>
                <a:gd name="connsiteY13" fmla="*/ 141768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68965 w 9397013"/>
                <a:gd name="connsiteY17" fmla="*/ 166254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324893 w 9397013"/>
                <a:gd name="connsiteY13" fmla="*/ 141768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13547 w 9397013"/>
                <a:gd name="connsiteY17" fmla="*/ 240145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324893 w 9397013"/>
                <a:gd name="connsiteY13" fmla="*/ 141768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97528 w 9397013"/>
                <a:gd name="connsiteY12" fmla="*/ 111354 h 7134208"/>
                <a:gd name="connsiteX13" fmla="*/ 5260238 w 9397013"/>
                <a:gd name="connsiteY13" fmla="*/ 234131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585079 w 9397013"/>
                <a:gd name="connsiteY8" fmla="*/ 89119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05164 w 9397013"/>
                <a:gd name="connsiteY12" fmla="*/ 212954 h 7134208"/>
                <a:gd name="connsiteX13" fmla="*/ 5260238 w 9397013"/>
                <a:gd name="connsiteY13" fmla="*/ 234131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4106456 w 9397013"/>
                <a:gd name="connsiteY7" fmla="*/ 55057 h 7134208"/>
                <a:gd name="connsiteX8" fmla="*/ 4465006 w 9397013"/>
                <a:gd name="connsiteY8" fmla="*/ 209192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05164 w 9397013"/>
                <a:gd name="connsiteY12" fmla="*/ 212954 h 7134208"/>
                <a:gd name="connsiteX13" fmla="*/ 5260238 w 9397013"/>
                <a:gd name="connsiteY13" fmla="*/ 234131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794560 w 9397013"/>
                <a:gd name="connsiteY3" fmla="*/ 32861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3977147 w 9397013"/>
                <a:gd name="connsiteY7" fmla="*/ 212075 h 7134208"/>
                <a:gd name="connsiteX8" fmla="*/ 4465006 w 9397013"/>
                <a:gd name="connsiteY8" fmla="*/ 209192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05164 w 9397013"/>
                <a:gd name="connsiteY12" fmla="*/ 212954 h 7134208"/>
                <a:gd name="connsiteX13" fmla="*/ 5260238 w 9397013"/>
                <a:gd name="connsiteY13" fmla="*/ 234131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779933 h 7134208"/>
                <a:gd name="connsiteX1" fmla="*/ 0 w 9397013"/>
                <a:gd name="connsiteY1" fmla="*/ 4409146 h 7134208"/>
                <a:gd name="connsiteX2" fmla="*/ 3332806 w 9397013"/>
                <a:gd name="connsiteY2" fmla="*/ 0 h 7134208"/>
                <a:gd name="connsiteX3" fmla="*/ 3628305 w 9397013"/>
                <a:gd name="connsiteY3" fmla="*/ 208352 h 7134208"/>
                <a:gd name="connsiteX4" fmla="*/ 168369 w 9397013"/>
                <a:gd name="connsiteY4" fmla="*/ 4779933 h 7134208"/>
                <a:gd name="connsiteX5" fmla="*/ 488220 w 9397013"/>
                <a:gd name="connsiteY5" fmla="*/ 5484315 h 7134208"/>
                <a:gd name="connsiteX6" fmla="*/ 299082 w 9397013"/>
                <a:gd name="connsiteY6" fmla="*/ 5067791 h 7134208"/>
                <a:gd name="connsiteX7" fmla="*/ 3977147 w 9397013"/>
                <a:gd name="connsiteY7" fmla="*/ 212075 h 7134208"/>
                <a:gd name="connsiteX8" fmla="*/ 4465006 w 9397013"/>
                <a:gd name="connsiteY8" fmla="*/ 209192 h 7134208"/>
                <a:gd name="connsiteX9" fmla="*/ 488220 w 9397013"/>
                <a:gd name="connsiteY9" fmla="*/ 5484315 h 7134208"/>
                <a:gd name="connsiteX10" fmla="*/ 779421 w 9397013"/>
                <a:gd name="connsiteY10" fmla="*/ 6125606 h 7134208"/>
                <a:gd name="connsiteX11" fmla="*/ 618065 w 9397013"/>
                <a:gd name="connsiteY11" fmla="*/ 5770263 h 7134208"/>
                <a:gd name="connsiteX12" fmla="*/ 4805164 w 9397013"/>
                <a:gd name="connsiteY12" fmla="*/ 212954 h 7134208"/>
                <a:gd name="connsiteX13" fmla="*/ 5260238 w 9397013"/>
                <a:gd name="connsiteY13" fmla="*/ 234131 h 7134208"/>
                <a:gd name="connsiteX14" fmla="*/ 779421 w 9397013"/>
                <a:gd name="connsiteY14" fmla="*/ 6125606 h 7134208"/>
                <a:gd name="connsiteX15" fmla="*/ 1099910 w 9397013"/>
                <a:gd name="connsiteY15" fmla="*/ 6831395 h 7134208"/>
                <a:gd name="connsiteX16" fmla="*/ 919656 w 9397013"/>
                <a:gd name="connsiteY16" fmla="*/ 6434435 h 7134208"/>
                <a:gd name="connsiteX17" fmla="*/ 5641256 w 9397013"/>
                <a:gd name="connsiteY17" fmla="*/ 212436 h 7134208"/>
                <a:gd name="connsiteX18" fmla="*/ 6077099 w 9397013"/>
                <a:gd name="connsiteY18" fmla="*/ 225638 h 7134208"/>
                <a:gd name="connsiteX19" fmla="*/ 1099910 w 9397013"/>
                <a:gd name="connsiteY19" fmla="*/ 6831395 h 7134208"/>
                <a:gd name="connsiteX20" fmla="*/ 6958778 w 9397013"/>
                <a:gd name="connsiteY20" fmla="*/ 7124971 h 7134208"/>
                <a:gd name="connsiteX21" fmla="*/ 6560038 w 9397013"/>
                <a:gd name="connsiteY21" fmla="*/ 7134207 h 7134208"/>
                <a:gd name="connsiteX22" fmla="*/ 3849932 w 9397013"/>
                <a:gd name="connsiteY22" fmla="*/ 3596670 h 7134208"/>
                <a:gd name="connsiteX23" fmla="*/ 4086202 w 9397013"/>
                <a:gd name="connsiteY23" fmla="*/ 3287229 h 7134208"/>
                <a:gd name="connsiteX24" fmla="*/ 6958778 w 9397013"/>
                <a:gd name="connsiteY24" fmla="*/ 7124971 h 7134208"/>
                <a:gd name="connsiteX25" fmla="*/ 7777211 w 9397013"/>
                <a:gd name="connsiteY25" fmla="*/ 7124972 h 7134208"/>
                <a:gd name="connsiteX26" fmla="*/ 7324729 w 9397013"/>
                <a:gd name="connsiteY26" fmla="*/ 7124972 h 7134208"/>
                <a:gd name="connsiteX27" fmla="*/ 4245793 w 9397013"/>
                <a:gd name="connsiteY27" fmla="*/ 3078214 h 7134208"/>
                <a:gd name="connsiteX28" fmla="*/ 4490696 w 9397013"/>
                <a:gd name="connsiteY28" fmla="*/ 2757469 h 7134208"/>
                <a:gd name="connsiteX29" fmla="*/ 7777211 w 9397013"/>
                <a:gd name="connsiteY29" fmla="*/ 7124972 h 7134208"/>
                <a:gd name="connsiteX30" fmla="*/ 8567691 w 9397013"/>
                <a:gd name="connsiteY30" fmla="*/ 7124971 h 7134208"/>
                <a:gd name="connsiteX31" fmla="*/ 8159389 w 9397013"/>
                <a:gd name="connsiteY31" fmla="*/ 7134208 h 7134208"/>
                <a:gd name="connsiteX32" fmla="*/ 4650570 w 9397013"/>
                <a:gd name="connsiteY32" fmla="*/ 2548084 h 7134208"/>
                <a:gd name="connsiteX33" fmla="*/ 4869244 w 9397013"/>
                <a:gd name="connsiteY33" fmla="*/ 2261689 h 7134208"/>
                <a:gd name="connsiteX34" fmla="*/ 8567691 w 9397013"/>
                <a:gd name="connsiteY34" fmla="*/ 7124971 h 7134208"/>
                <a:gd name="connsiteX35" fmla="*/ 9397013 w 9397013"/>
                <a:gd name="connsiteY35" fmla="*/ 7134207 h 7134208"/>
                <a:gd name="connsiteX36" fmla="*/ 8921338 w 9397013"/>
                <a:gd name="connsiteY36" fmla="*/ 7115735 h 7134208"/>
                <a:gd name="connsiteX37" fmla="*/ 5045299 w 9397013"/>
                <a:gd name="connsiteY37" fmla="*/ 2031113 h 7134208"/>
                <a:gd name="connsiteX38" fmla="*/ 5273037 w 9397013"/>
                <a:gd name="connsiteY38" fmla="*/ 1732846 h 7134208"/>
                <a:gd name="connsiteX39" fmla="*/ 9397013 w 9397013"/>
                <a:gd name="connsiteY39" fmla="*/ 7134207 h 7134208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779421 w 9397013"/>
                <a:gd name="connsiteY10" fmla="*/ 5917254 h 6925856"/>
                <a:gd name="connsiteX11" fmla="*/ 618065 w 9397013"/>
                <a:gd name="connsiteY11" fmla="*/ 5561911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779421 w 9397013"/>
                <a:gd name="connsiteY14" fmla="*/ 5917254 h 6925856"/>
                <a:gd name="connsiteX15" fmla="*/ 1099910 w 9397013"/>
                <a:gd name="connsiteY15" fmla="*/ 6623043 h 6925856"/>
                <a:gd name="connsiteX16" fmla="*/ 919656 w 9397013"/>
                <a:gd name="connsiteY16" fmla="*/ 6226083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099910 w 9397013"/>
                <a:gd name="connsiteY19" fmla="*/ 6623043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779421 w 9397013"/>
                <a:gd name="connsiteY10" fmla="*/ 5917254 h 6925856"/>
                <a:gd name="connsiteX11" fmla="*/ 618065 w 9397013"/>
                <a:gd name="connsiteY11" fmla="*/ 5561911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779421 w 9397013"/>
                <a:gd name="connsiteY14" fmla="*/ 5917254 h 6925856"/>
                <a:gd name="connsiteX15" fmla="*/ 1598673 w 9397013"/>
                <a:gd name="connsiteY15" fmla="*/ 5976498 h 6925856"/>
                <a:gd name="connsiteX16" fmla="*/ 919656 w 9397013"/>
                <a:gd name="connsiteY16" fmla="*/ 6226083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98673 w 9397013"/>
                <a:gd name="connsiteY19" fmla="*/ 5976498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779421 w 9397013"/>
                <a:gd name="connsiteY10" fmla="*/ 5917254 h 6925856"/>
                <a:gd name="connsiteX11" fmla="*/ 618065 w 9397013"/>
                <a:gd name="connsiteY11" fmla="*/ 5561911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779421 w 9397013"/>
                <a:gd name="connsiteY14" fmla="*/ 5917254 h 6925856"/>
                <a:gd name="connsiteX15" fmla="*/ 1598673 w 9397013"/>
                <a:gd name="connsiteY15" fmla="*/ 5976498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98673 w 9397013"/>
                <a:gd name="connsiteY19" fmla="*/ 5976498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779421 w 9397013"/>
                <a:gd name="connsiteY10" fmla="*/ 5917254 h 6925856"/>
                <a:gd name="connsiteX11" fmla="*/ 618065 w 9397013"/>
                <a:gd name="connsiteY11" fmla="*/ 5561911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779421 w 9397013"/>
                <a:gd name="connsiteY14" fmla="*/ 5917254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1601458 w 9397013"/>
                <a:gd name="connsiteY10" fmla="*/ 4845836 h 6925856"/>
                <a:gd name="connsiteX11" fmla="*/ 618065 w 9397013"/>
                <a:gd name="connsiteY11" fmla="*/ 5561911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601458 w 9397013"/>
                <a:gd name="connsiteY14" fmla="*/ 4845836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1601458 w 9397013"/>
                <a:gd name="connsiteY10" fmla="*/ 4845836 h 6925856"/>
                <a:gd name="connsiteX11" fmla="*/ 1550937 w 9397013"/>
                <a:gd name="connsiteY11" fmla="*/ 4315002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601458 w 9397013"/>
                <a:gd name="connsiteY14" fmla="*/ 4845836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488220 w 9397013"/>
                <a:gd name="connsiteY5" fmla="*/ 5275963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488220 w 9397013"/>
                <a:gd name="connsiteY9" fmla="*/ 5275963 h 6925856"/>
                <a:gd name="connsiteX10" fmla="*/ 1573749 w 9397013"/>
                <a:gd name="connsiteY10" fmla="*/ 4882781 h 6925856"/>
                <a:gd name="connsiteX11" fmla="*/ 1550937 w 9397013"/>
                <a:gd name="connsiteY11" fmla="*/ 4315002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573749 w 9397013"/>
                <a:gd name="connsiteY14" fmla="*/ 4882781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1578111 w 9397013"/>
                <a:gd name="connsiteY5" fmla="*/ 3835090 h 6925856"/>
                <a:gd name="connsiteX6" fmla="*/ 299082 w 9397013"/>
                <a:gd name="connsiteY6" fmla="*/ 4859439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1578111 w 9397013"/>
                <a:gd name="connsiteY9" fmla="*/ 3835090 h 6925856"/>
                <a:gd name="connsiteX10" fmla="*/ 1573749 w 9397013"/>
                <a:gd name="connsiteY10" fmla="*/ 4882781 h 6925856"/>
                <a:gd name="connsiteX11" fmla="*/ 1550937 w 9397013"/>
                <a:gd name="connsiteY11" fmla="*/ 4315002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573749 w 9397013"/>
                <a:gd name="connsiteY14" fmla="*/ 4882781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68369 w 9397013"/>
                <a:gd name="connsiteY0" fmla="*/ 4571581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68369 w 9397013"/>
                <a:gd name="connsiteY4" fmla="*/ 4571581 h 6925856"/>
                <a:gd name="connsiteX5" fmla="*/ 1578111 w 9397013"/>
                <a:gd name="connsiteY5" fmla="*/ 3835090 h 6925856"/>
                <a:gd name="connsiteX6" fmla="*/ 1564463 w 9397013"/>
                <a:gd name="connsiteY6" fmla="*/ 3206130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1578111 w 9397013"/>
                <a:gd name="connsiteY9" fmla="*/ 3835090 h 6925856"/>
                <a:gd name="connsiteX10" fmla="*/ 1573749 w 9397013"/>
                <a:gd name="connsiteY10" fmla="*/ 4882781 h 6925856"/>
                <a:gd name="connsiteX11" fmla="*/ 1550937 w 9397013"/>
                <a:gd name="connsiteY11" fmla="*/ 4315002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573749 w 9397013"/>
                <a:gd name="connsiteY14" fmla="*/ 4882781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1572296 w 9397013"/>
                <a:gd name="connsiteY0" fmla="*/ 2715072 h 6925856"/>
                <a:gd name="connsiteX1" fmla="*/ 0 w 9397013"/>
                <a:gd name="connsiteY1" fmla="*/ 4200794 h 6925856"/>
                <a:gd name="connsiteX2" fmla="*/ 3175788 w 9397013"/>
                <a:gd name="connsiteY2" fmla="*/ 4084 h 6925856"/>
                <a:gd name="connsiteX3" fmla="*/ 3628305 w 9397013"/>
                <a:gd name="connsiteY3" fmla="*/ 0 h 6925856"/>
                <a:gd name="connsiteX4" fmla="*/ 1572296 w 9397013"/>
                <a:gd name="connsiteY4" fmla="*/ 2715072 h 6925856"/>
                <a:gd name="connsiteX5" fmla="*/ 1578111 w 9397013"/>
                <a:gd name="connsiteY5" fmla="*/ 3835090 h 6925856"/>
                <a:gd name="connsiteX6" fmla="*/ 1564463 w 9397013"/>
                <a:gd name="connsiteY6" fmla="*/ 3206130 h 6925856"/>
                <a:gd name="connsiteX7" fmla="*/ 3977147 w 9397013"/>
                <a:gd name="connsiteY7" fmla="*/ 3723 h 6925856"/>
                <a:gd name="connsiteX8" fmla="*/ 4465006 w 9397013"/>
                <a:gd name="connsiteY8" fmla="*/ 840 h 6925856"/>
                <a:gd name="connsiteX9" fmla="*/ 1578111 w 9397013"/>
                <a:gd name="connsiteY9" fmla="*/ 3835090 h 6925856"/>
                <a:gd name="connsiteX10" fmla="*/ 1573749 w 9397013"/>
                <a:gd name="connsiteY10" fmla="*/ 4882781 h 6925856"/>
                <a:gd name="connsiteX11" fmla="*/ 1550937 w 9397013"/>
                <a:gd name="connsiteY11" fmla="*/ 4315002 h 6925856"/>
                <a:gd name="connsiteX12" fmla="*/ 4805164 w 9397013"/>
                <a:gd name="connsiteY12" fmla="*/ 4602 h 6925856"/>
                <a:gd name="connsiteX13" fmla="*/ 5260238 w 9397013"/>
                <a:gd name="connsiteY13" fmla="*/ 25779 h 6925856"/>
                <a:gd name="connsiteX14" fmla="*/ 1573749 w 9397013"/>
                <a:gd name="connsiteY14" fmla="*/ 4882781 h 6925856"/>
                <a:gd name="connsiteX15" fmla="*/ 1580200 w 9397013"/>
                <a:gd name="connsiteY15" fmla="*/ 5985735 h 6925856"/>
                <a:gd name="connsiteX16" fmla="*/ 1566201 w 9397013"/>
                <a:gd name="connsiteY16" fmla="*/ 5394811 h 6925856"/>
                <a:gd name="connsiteX17" fmla="*/ 5641256 w 9397013"/>
                <a:gd name="connsiteY17" fmla="*/ 4084 h 6925856"/>
                <a:gd name="connsiteX18" fmla="*/ 6077099 w 9397013"/>
                <a:gd name="connsiteY18" fmla="*/ 17286 h 6925856"/>
                <a:gd name="connsiteX19" fmla="*/ 1580200 w 9397013"/>
                <a:gd name="connsiteY19" fmla="*/ 5985735 h 6925856"/>
                <a:gd name="connsiteX20" fmla="*/ 6958778 w 9397013"/>
                <a:gd name="connsiteY20" fmla="*/ 6916619 h 6925856"/>
                <a:gd name="connsiteX21" fmla="*/ 6560038 w 9397013"/>
                <a:gd name="connsiteY21" fmla="*/ 6925855 h 6925856"/>
                <a:gd name="connsiteX22" fmla="*/ 3849932 w 9397013"/>
                <a:gd name="connsiteY22" fmla="*/ 3388318 h 6925856"/>
                <a:gd name="connsiteX23" fmla="*/ 4086202 w 9397013"/>
                <a:gd name="connsiteY23" fmla="*/ 3078877 h 6925856"/>
                <a:gd name="connsiteX24" fmla="*/ 6958778 w 9397013"/>
                <a:gd name="connsiteY24" fmla="*/ 6916619 h 6925856"/>
                <a:gd name="connsiteX25" fmla="*/ 7777211 w 9397013"/>
                <a:gd name="connsiteY25" fmla="*/ 6916620 h 6925856"/>
                <a:gd name="connsiteX26" fmla="*/ 7324729 w 9397013"/>
                <a:gd name="connsiteY26" fmla="*/ 6916620 h 6925856"/>
                <a:gd name="connsiteX27" fmla="*/ 4245793 w 9397013"/>
                <a:gd name="connsiteY27" fmla="*/ 2869862 h 6925856"/>
                <a:gd name="connsiteX28" fmla="*/ 4490696 w 9397013"/>
                <a:gd name="connsiteY28" fmla="*/ 2549117 h 6925856"/>
                <a:gd name="connsiteX29" fmla="*/ 7777211 w 9397013"/>
                <a:gd name="connsiteY29" fmla="*/ 6916620 h 6925856"/>
                <a:gd name="connsiteX30" fmla="*/ 8567691 w 9397013"/>
                <a:gd name="connsiteY30" fmla="*/ 6916619 h 6925856"/>
                <a:gd name="connsiteX31" fmla="*/ 8159389 w 9397013"/>
                <a:gd name="connsiteY31" fmla="*/ 6925856 h 6925856"/>
                <a:gd name="connsiteX32" fmla="*/ 4650570 w 9397013"/>
                <a:gd name="connsiteY32" fmla="*/ 2339732 h 6925856"/>
                <a:gd name="connsiteX33" fmla="*/ 4869244 w 9397013"/>
                <a:gd name="connsiteY33" fmla="*/ 2053337 h 6925856"/>
                <a:gd name="connsiteX34" fmla="*/ 8567691 w 9397013"/>
                <a:gd name="connsiteY34" fmla="*/ 6916619 h 6925856"/>
                <a:gd name="connsiteX35" fmla="*/ 9397013 w 9397013"/>
                <a:gd name="connsiteY35" fmla="*/ 6925855 h 6925856"/>
                <a:gd name="connsiteX36" fmla="*/ 8921338 w 9397013"/>
                <a:gd name="connsiteY36" fmla="*/ 6907383 h 6925856"/>
                <a:gd name="connsiteX37" fmla="*/ 5045299 w 9397013"/>
                <a:gd name="connsiteY37" fmla="*/ 1822761 h 6925856"/>
                <a:gd name="connsiteX38" fmla="*/ 5273037 w 9397013"/>
                <a:gd name="connsiteY38" fmla="*/ 1524494 h 6925856"/>
                <a:gd name="connsiteX39" fmla="*/ 9397013 w 9397013"/>
                <a:gd name="connsiteY39" fmla="*/ 6925855 h 6925856"/>
                <a:gd name="connsiteX0" fmla="*/ 21359 w 7846076"/>
                <a:gd name="connsiteY0" fmla="*/ 2715072 h 6925856"/>
                <a:gd name="connsiteX1" fmla="*/ 28481 w 7846076"/>
                <a:gd name="connsiteY1" fmla="*/ 2104139 h 6925856"/>
                <a:gd name="connsiteX2" fmla="*/ 1624851 w 7846076"/>
                <a:gd name="connsiteY2" fmla="*/ 4084 h 6925856"/>
                <a:gd name="connsiteX3" fmla="*/ 2077368 w 7846076"/>
                <a:gd name="connsiteY3" fmla="*/ 0 h 6925856"/>
                <a:gd name="connsiteX4" fmla="*/ 21359 w 7846076"/>
                <a:gd name="connsiteY4" fmla="*/ 2715072 h 6925856"/>
                <a:gd name="connsiteX5" fmla="*/ 27174 w 7846076"/>
                <a:gd name="connsiteY5" fmla="*/ 3835090 h 6925856"/>
                <a:gd name="connsiteX6" fmla="*/ 13526 w 7846076"/>
                <a:gd name="connsiteY6" fmla="*/ 3206130 h 6925856"/>
                <a:gd name="connsiteX7" fmla="*/ 2426210 w 7846076"/>
                <a:gd name="connsiteY7" fmla="*/ 3723 h 6925856"/>
                <a:gd name="connsiteX8" fmla="*/ 2914069 w 7846076"/>
                <a:gd name="connsiteY8" fmla="*/ 840 h 6925856"/>
                <a:gd name="connsiteX9" fmla="*/ 27174 w 7846076"/>
                <a:gd name="connsiteY9" fmla="*/ 3835090 h 6925856"/>
                <a:gd name="connsiteX10" fmla="*/ 22812 w 7846076"/>
                <a:gd name="connsiteY10" fmla="*/ 4882781 h 6925856"/>
                <a:gd name="connsiteX11" fmla="*/ 0 w 7846076"/>
                <a:gd name="connsiteY11" fmla="*/ 4315002 h 6925856"/>
                <a:gd name="connsiteX12" fmla="*/ 3254227 w 7846076"/>
                <a:gd name="connsiteY12" fmla="*/ 4602 h 6925856"/>
                <a:gd name="connsiteX13" fmla="*/ 3709301 w 7846076"/>
                <a:gd name="connsiteY13" fmla="*/ 25779 h 6925856"/>
                <a:gd name="connsiteX14" fmla="*/ 22812 w 7846076"/>
                <a:gd name="connsiteY14" fmla="*/ 4882781 h 6925856"/>
                <a:gd name="connsiteX15" fmla="*/ 29263 w 7846076"/>
                <a:gd name="connsiteY15" fmla="*/ 5985735 h 6925856"/>
                <a:gd name="connsiteX16" fmla="*/ 15264 w 7846076"/>
                <a:gd name="connsiteY16" fmla="*/ 5394811 h 6925856"/>
                <a:gd name="connsiteX17" fmla="*/ 4090319 w 7846076"/>
                <a:gd name="connsiteY17" fmla="*/ 4084 h 6925856"/>
                <a:gd name="connsiteX18" fmla="*/ 4526162 w 7846076"/>
                <a:gd name="connsiteY18" fmla="*/ 17286 h 6925856"/>
                <a:gd name="connsiteX19" fmla="*/ 29263 w 7846076"/>
                <a:gd name="connsiteY19" fmla="*/ 5985735 h 6925856"/>
                <a:gd name="connsiteX20" fmla="*/ 5407841 w 7846076"/>
                <a:gd name="connsiteY20" fmla="*/ 6916619 h 6925856"/>
                <a:gd name="connsiteX21" fmla="*/ 5009101 w 7846076"/>
                <a:gd name="connsiteY21" fmla="*/ 6925855 h 6925856"/>
                <a:gd name="connsiteX22" fmla="*/ 2298995 w 7846076"/>
                <a:gd name="connsiteY22" fmla="*/ 3388318 h 6925856"/>
                <a:gd name="connsiteX23" fmla="*/ 2535265 w 7846076"/>
                <a:gd name="connsiteY23" fmla="*/ 3078877 h 6925856"/>
                <a:gd name="connsiteX24" fmla="*/ 5407841 w 7846076"/>
                <a:gd name="connsiteY24" fmla="*/ 6916619 h 6925856"/>
                <a:gd name="connsiteX25" fmla="*/ 6226274 w 7846076"/>
                <a:gd name="connsiteY25" fmla="*/ 6916620 h 6925856"/>
                <a:gd name="connsiteX26" fmla="*/ 5773792 w 7846076"/>
                <a:gd name="connsiteY26" fmla="*/ 6916620 h 6925856"/>
                <a:gd name="connsiteX27" fmla="*/ 2694856 w 7846076"/>
                <a:gd name="connsiteY27" fmla="*/ 2869862 h 6925856"/>
                <a:gd name="connsiteX28" fmla="*/ 2939759 w 7846076"/>
                <a:gd name="connsiteY28" fmla="*/ 2549117 h 6925856"/>
                <a:gd name="connsiteX29" fmla="*/ 6226274 w 7846076"/>
                <a:gd name="connsiteY29" fmla="*/ 6916620 h 6925856"/>
                <a:gd name="connsiteX30" fmla="*/ 7016754 w 7846076"/>
                <a:gd name="connsiteY30" fmla="*/ 6916619 h 6925856"/>
                <a:gd name="connsiteX31" fmla="*/ 6608452 w 7846076"/>
                <a:gd name="connsiteY31" fmla="*/ 6925856 h 6925856"/>
                <a:gd name="connsiteX32" fmla="*/ 3099633 w 7846076"/>
                <a:gd name="connsiteY32" fmla="*/ 2339732 h 6925856"/>
                <a:gd name="connsiteX33" fmla="*/ 3318307 w 7846076"/>
                <a:gd name="connsiteY33" fmla="*/ 2053337 h 6925856"/>
                <a:gd name="connsiteX34" fmla="*/ 7016754 w 7846076"/>
                <a:gd name="connsiteY34" fmla="*/ 6916619 h 6925856"/>
                <a:gd name="connsiteX35" fmla="*/ 7846076 w 7846076"/>
                <a:gd name="connsiteY35" fmla="*/ 6925855 h 6925856"/>
                <a:gd name="connsiteX36" fmla="*/ 7370401 w 7846076"/>
                <a:gd name="connsiteY36" fmla="*/ 6907383 h 6925856"/>
                <a:gd name="connsiteX37" fmla="*/ 3494362 w 7846076"/>
                <a:gd name="connsiteY37" fmla="*/ 1822761 h 6925856"/>
                <a:gd name="connsiteX38" fmla="*/ 3722100 w 7846076"/>
                <a:gd name="connsiteY38" fmla="*/ 1524494 h 6925856"/>
                <a:gd name="connsiteX39" fmla="*/ 7846076 w 7846076"/>
                <a:gd name="connsiteY39" fmla="*/ 6925855 h 6925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846076" h="6925856">
                  <a:moveTo>
                    <a:pt x="21359" y="2715072"/>
                  </a:moveTo>
                  <a:lnTo>
                    <a:pt x="28481" y="2104139"/>
                  </a:lnTo>
                  <a:lnTo>
                    <a:pt x="1624851" y="4084"/>
                  </a:lnTo>
                  <a:lnTo>
                    <a:pt x="2077368" y="0"/>
                  </a:lnTo>
                  <a:lnTo>
                    <a:pt x="21359" y="2715072"/>
                  </a:lnTo>
                  <a:close/>
                  <a:moveTo>
                    <a:pt x="27174" y="3835090"/>
                  </a:moveTo>
                  <a:lnTo>
                    <a:pt x="13526" y="3206130"/>
                  </a:lnTo>
                  <a:lnTo>
                    <a:pt x="2426210" y="3723"/>
                  </a:lnTo>
                  <a:lnTo>
                    <a:pt x="2914069" y="840"/>
                  </a:lnTo>
                  <a:lnTo>
                    <a:pt x="27174" y="3835090"/>
                  </a:lnTo>
                  <a:close/>
                  <a:moveTo>
                    <a:pt x="22812" y="4882781"/>
                  </a:moveTo>
                  <a:lnTo>
                    <a:pt x="0" y="4315002"/>
                  </a:lnTo>
                  <a:lnTo>
                    <a:pt x="3254227" y="4602"/>
                  </a:lnTo>
                  <a:lnTo>
                    <a:pt x="3709301" y="25779"/>
                  </a:lnTo>
                  <a:lnTo>
                    <a:pt x="22812" y="4882781"/>
                  </a:lnTo>
                  <a:close/>
                  <a:moveTo>
                    <a:pt x="29263" y="5985735"/>
                  </a:moveTo>
                  <a:lnTo>
                    <a:pt x="15264" y="5394811"/>
                  </a:lnTo>
                  <a:lnTo>
                    <a:pt x="4090319" y="4084"/>
                  </a:lnTo>
                  <a:lnTo>
                    <a:pt x="4526162" y="17286"/>
                  </a:lnTo>
                  <a:lnTo>
                    <a:pt x="29263" y="5985735"/>
                  </a:lnTo>
                  <a:close/>
                  <a:moveTo>
                    <a:pt x="5407841" y="6916619"/>
                  </a:moveTo>
                  <a:lnTo>
                    <a:pt x="5009101" y="6925855"/>
                  </a:lnTo>
                  <a:lnTo>
                    <a:pt x="2298995" y="3388318"/>
                  </a:lnTo>
                  <a:lnTo>
                    <a:pt x="2535265" y="3078877"/>
                  </a:lnTo>
                  <a:lnTo>
                    <a:pt x="5407841" y="6916619"/>
                  </a:lnTo>
                  <a:close/>
                  <a:moveTo>
                    <a:pt x="6226274" y="6916620"/>
                  </a:moveTo>
                  <a:lnTo>
                    <a:pt x="5773792" y="6916620"/>
                  </a:lnTo>
                  <a:lnTo>
                    <a:pt x="2694856" y="2869862"/>
                  </a:lnTo>
                  <a:lnTo>
                    <a:pt x="2939759" y="2549117"/>
                  </a:lnTo>
                  <a:lnTo>
                    <a:pt x="6226274" y="6916620"/>
                  </a:lnTo>
                  <a:close/>
                  <a:moveTo>
                    <a:pt x="7016754" y="6916619"/>
                  </a:moveTo>
                  <a:lnTo>
                    <a:pt x="6608452" y="6925856"/>
                  </a:lnTo>
                  <a:lnTo>
                    <a:pt x="3099633" y="2339732"/>
                  </a:lnTo>
                  <a:lnTo>
                    <a:pt x="3318307" y="2053337"/>
                  </a:lnTo>
                  <a:lnTo>
                    <a:pt x="7016754" y="6916619"/>
                  </a:lnTo>
                  <a:close/>
                  <a:moveTo>
                    <a:pt x="7846076" y="6925855"/>
                  </a:moveTo>
                  <a:lnTo>
                    <a:pt x="7370401" y="6907383"/>
                  </a:lnTo>
                  <a:lnTo>
                    <a:pt x="3494362" y="1822761"/>
                  </a:lnTo>
                  <a:lnTo>
                    <a:pt x="3722100" y="1524494"/>
                  </a:lnTo>
                  <a:lnTo>
                    <a:pt x="7846076" y="6925855"/>
                  </a:lnTo>
                  <a:close/>
                </a:path>
              </a:pathLst>
            </a:custGeom>
            <a:solidFill>
              <a:schemeClr val="bg1">
                <a:lumMod val="95000"/>
                <a:alpha val="3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111" name="ïşḻiḓè">
              <a:extLst>
                <a:ext uri="{FF2B5EF4-FFF2-40B4-BE49-F238E27FC236}">
                  <a16:creationId xmlns:a16="http://schemas.microsoft.com/office/drawing/2014/main" id="{3BF5C5D2-E7C2-4CDE-AA15-9AC767E5F550}"/>
                </a:ext>
              </a:extLst>
            </p:cNvPr>
            <p:cNvSpPr txBox="1"/>
            <p:nvPr/>
          </p:nvSpPr>
          <p:spPr>
            <a:xfrm>
              <a:off x="669926" y="1130300"/>
              <a:ext cx="4869637" cy="10421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800" b="1" dirty="0"/>
                <a:t>Unified fonts make</a:t>
              </a:r>
            </a:p>
            <a:p>
              <a:pPr>
                <a:buSzPct val="25000"/>
              </a:pPr>
              <a:r>
                <a:rPr lang="en-US" sz="2800" b="1" dirty="0"/>
                <a:t>reading more fluent.</a:t>
              </a:r>
            </a:p>
          </p:txBody>
        </p:sp>
        <p:sp>
          <p:nvSpPr>
            <p:cNvPr id="112" name="îş1îḑe">
              <a:extLst>
                <a:ext uri="{FF2B5EF4-FFF2-40B4-BE49-F238E27FC236}">
                  <a16:creationId xmlns:a16="http://schemas.microsoft.com/office/drawing/2014/main" id="{57F2925F-A89D-40EB-8BE4-ABE2DB49951B}"/>
                </a:ext>
              </a:extLst>
            </p:cNvPr>
            <p:cNvSpPr txBox="1"/>
            <p:nvPr/>
          </p:nvSpPr>
          <p:spPr>
            <a:xfrm>
              <a:off x="669925" y="2172472"/>
              <a:ext cx="4869638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  <p:cxnSp>
          <p:nvCxnSpPr>
            <p:cNvPr id="113" name="ïṣľíḍé">
              <a:extLst>
                <a:ext uri="{FF2B5EF4-FFF2-40B4-BE49-F238E27FC236}">
                  <a16:creationId xmlns:a16="http://schemas.microsoft.com/office/drawing/2014/main" id="{26C41CF9-34E7-4AEE-B686-A84348D714EA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3467227"/>
              <a:ext cx="5901069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isľiḋè">
              <a:extLst>
                <a:ext uri="{FF2B5EF4-FFF2-40B4-BE49-F238E27FC236}">
                  <a16:creationId xmlns:a16="http://schemas.microsoft.com/office/drawing/2014/main" id="{C7DFDA58-9C77-4D4D-97CE-0E5B2D015ECE}"/>
                </a:ext>
              </a:extLst>
            </p:cNvPr>
            <p:cNvGrpSpPr/>
            <p:nvPr/>
          </p:nvGrpSpPr>
          <p:grpSpPr>
            <a:xfrm>
              <a:off x="673100" y="3959080"/>
              <a:ext cx="7231822" cy="1692691"/>
              <a:chOff x="673100" y="4069703"/>
              <a:chExt cx="7231822" cy="1692691"/>
            </a:xfrm>
          </p:grpSpPr>
          <p:sp>
            <p:nvSpPr>
              <p:cNvPr id="116" name="i$ḻîde">
                <a:extLst>
                  <a:ext uri="{FF2B5EF4-FFF2-40B4-BE49-F238E27FC236}">
                    <a16:creationId xmlns:a16="http://schemas.microsoft.com/office/drawing/2014/main" id="{5F447947-5BF4-45BD-9D05-82C941031E09}"/>
                  </a:ext>
                </a:extLst>
              </p:cNvPr>
              <p:cNvSpPr/>
              <p:nvPr/>
            </p:nvSpPr>
            <p:spPr bwMode="auto">
              <a:xfrm>
                <a:off x="1287419" y="4069703"/>
                <a:ext cx="394955" cy="533190"/>
              </a:xfrm>
              <a:custGeom>
                <a:avLst/>
                <a:gdLst>
                  <a:gd name="connsiteX0" fmla="*/ 85725 w 381000"/>
                  <a:gd name="connsiteY0" fmla="*/ 38100 h 514350"/>
                  <a:gd name="connsiteX1" fmla="*/ 85725 w 381000"/>
                  <a:gd name="connsiteY1" fmla="*/ 57150 h 514350"/>
                  <a:gd name="connsiteX2" fmla="*/ 121920 w 381000"/>
                  <a:gd name="connsiteY2" fmla="*/ 95250 h 514350"/>
                  <a:gd name="connsiteX3" fmla="*/ 123825 w 381000"/>
                  <a:gd name="connsiteY3" fmla="*/ 95250 h 514350"/>
                  <a:gd name="connsiteX4" fmla="*/ 257175 w 381000"/>
                  <a:gd name="connsiteY4" fmla="*/ 95250 h 514350"/>
                  <a:gd name="connsiteX5" fmla="*/ 295275 w 381000"/>
                  <a:gd name="connsiteY5" fmla="*/ 59055 h 514350"/>
                  <a:gd name="connsiteX6" fmla="*/ 295275 w 381000"/>
                  <a:gd name="connsiteY6" fmla="*/ 57150 h 514350"/>
                  <a:gd name="connsiteX7" fmla="*/ 295275 w 381000"/>
                  <a:gd name="connsiteY7" fmla="*/ 38100 h 514350"/>
                  <a:gd name="connsiteX8" fmla="*/ 352425 w 381000"/>
                  <a:gd name="connsiteY8" fmla="*/ 38100 h 514350"/>
                  <a:gd name="connsiteX9" fmla="*/ 381000 w 381000"/>
                  <a:gd name="connsiteY9" fmla="*/ 66675 h 514350"/>
                  <a:gd name="connsiteX10" fmla="*/ 381000 w 381000"/>
                  <a:gd name="connsiteY10" fmla="*/ 485775 h 514350"/>
                  <a:gd name="connsiteX11" fmla="*/ 352425 w 381000"/>
                  <a:gd name="connsiteY11" fmla="*/ 514350 h 514350"/>
                  <a:gd name="connsiteX12" fmla="*/ 28575 w 381000"/>
                  <a:gd name="connsiteY12" fmla="*/ 514350 h 514350"/>
                  <a:gd name="connsiteX13" fmla="*/ 0 w 381000"/>
                  <a:gd name="connsiteY13" fmla="*/ 485775 h 514350"/>
                  <a:gd name="connsiteX14" fmla="*/ 0 w 381000"/>
                  <a:gd name="connsiteY14" fmla="*/ 66675 h 514350"/>
                  <a:gd name="connsiteX15" fmla="*/ 28575 w 381000"/>
                  <a:gd name="connsiteY15" fmla="*/ 38100 h 514350"/>
                  <a:gd name="connsiteX16" fmla="*/ 85725 w 381000"/>
                  <a:gd name="connsiteY16" fmla="*/ 38100 h 514350"/>
                  <a:gd name="connsiteX17" fmla="*/ 190500 w 381000"/>
                  <a:gd name="connsiteY17" fmla="*/ 333375 h 514350"/>
                  <a:gd name="connsiteX18" fmla="*/ 76200 w 381000"/>
                  <a:gd name="connsiteY18" fmla="*/ 333375 h 514350"/>
                  <a:gd name="connsiteX19" fmla="*/ 76200 w 381000"/>
                  <a:gd name="connsiteY19" fmla="*/ 352425 h 514350"/>
                  <a:gd name="connsiteX20" fmla="*/ 190500 w 381000"/>
                  <a:gd name="connsiteY20" fmla="*/ 352425 h 514350"/>
                  <a:gd name="connsiteX21" fmla="*/ 190500 w 381000"/>
                  <a:gd name="connsiteY21" fmla="*/ 333375 h 514350"/>
                  <a:gd name="connsiteX22" fmla="*/ 304800 w 381000"/>
                  <a:gd name="connsiteY22" fmla="*/ 257175 h 514350"/>
                  <a:gd name="connsiteX23" fmla="*/ 76200 w 381000"/>
                  <a:gd name="connsiteY23" fmla="*/ 257175 h 514350"/>
                  <a:gd name="connsiteX24" fmla="*/ 76200 w 381000"/>
                  <a:gd name="connsiteY24" fmla="*/ 276225 h 514350"/>
                  <a:gd name="connsiteX25" fmla="*/ 304800 w 381000"/>
                  <a:gd name="connsiteY25" fmla="*/ 276225 h 514350"/>
                  <a:gd name="connsiteX26" fmla="*/ 304800 w 381000"/>
                  <a:gd name="connsiteY26" fmla="*/ 257175 h 514350"/>
                  <a:gd name="connsiteX27" fmla="*/ 304800 w 381000"/>
                  <a:gd name="connsiteY27" fmla="*/ 180975 h 514350"/>
                  <a:gd name="connsiteX28" fmla="*/ 76200 w 381000"/>
                  <a:gd name="connsiteY28" fmla="*/ 180975 h 514350"/>
                  <a:gd name="connsiteX29" fmla="*/ 76200 w 381000"/>
                  <a:gd name="connsiteY29" fmla="*/ 200025 h 514350"/>
                  <a:gd name="connsiteX30" fmla="*/ 304800 w 381000"/>
                  <a:gd name="connsiteY30" fmla="*/ 200025 h 514350"/>
                  <a:gd name="connsiteX31" fmla="*/ 304800 w 381000"/>
                  <a:gd name="connsiteY31" fmla="*/ 180975 h 514350"/>
                  <a:gd name="connsiteX32" fmla="*/ 247650 w 381000"/>
                  <a:gd name="connsiteY32" fmla="*/ 0 h 514350"/>
                  <a:gd name="connsiteX33" fmla="*/ 276225 w 381000"/>
                  <a:gd name="connsiteY33" fmla="*/ 28575 h 514350"/>
                  <a:gd name="connsiteX34" fmla="*/ 276225 w 381000"/>
                  <a:gd name="connsiteY34" fmla="*/ 47625 h 514350"/>
                  <a:gd name="connsiteX35" fmla="*/ 247650 w 381000"/>
                  <a:gd name="connsiteY35" fmla="*/ 76200 h 514350"/>
                  <a:gd name="connsiteX36" fmla="*/ 133350 w 381000"/>
                  <a:gd name="connsiteY36" fmla="*/ 76200 h 514350"/>
                  <a:gd name="connsiteX37" fmla="*/ 104775 w 381000"/>
                  <a:gd name="connsiteY37" fmla="*/ 47625 h 514350"/>
                  <a:gd name="connsiteX38" fmla="*/ 104775 w 381000"/>
                  <a:gd name="connsiteY38" fmla="*/ 28575 h 514350"/>
                  <a:gd name="connsiteX39" fmla="*/ 133350 w 381000"/>
                  <a:gd name="connsiteY39" fmla="*/ 0 h 514350"/>
                  <a:gd name="connsiteX40" fmla="*/ 247650 w 381000"/>
                  <a:gd name="connsiteY40" fmla="*/ 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81000" h="514350">
                    <a:moveTo>
                      <a:pt x="85725" y="38100"/>
                    </a:moveTo>
                    <a:lnTo>
                      <a:pt x="85725" y="57150"/>
                    </a:lnTo>
                    <a:cubicBezTo>
                      <a:pt x="85725" y="77534"/>
                      <a:pt x="101727" y="94202"/>
                      <a:pt x="121920" y="95250"/>
                    </a:cubicBezTo>
                    <a:lnTo>
                      <a:pt x="123825" y="95250"/>
                    </a:lnTo>
                    <a:lnTo>
                      <a:pt x="257175" y="95250"/>
                    </a:lnTo>
                    <a:cubicBezTo>
                      <a:pt x="277559" y="95250"/>
                      <a:pt x="294227" y="79248"/>
                      <a:pt x="295275" y="59055"/>
                    </a:cubicBezTo>
                    <a:lnTo>
                      <a:pt x="295275" y="57150"/>
                    </a:lnTo>
                    <a:lnTo>
                      <a:pt x="295275" y="38100"/>
                    </a:lnTo>
                    <a:lnTo>
                      <a:pt x="352425" y="38100"/>
                    </a:lnTo>
                    <a:cubicBezTo>
                      <a:pt x="368236" y="38100"/>
                      <a:pt x="381000" y="50864"/>
                      <a:pt x="381000" y="66675"/>
                    </a:cubicBezTo>
                    <a:lnTo>
                      <a:pt x="381000" y="485775"/>
                    </a:lnTo>
                    <a:cubicBezTo>
                      <a:pt x="381000" y="501587"/>
                      <a:pt x="368236" y="514350"/>
                      <a:pt x="352425" y="514350"/>
                    </a:cubicBezTo>
                    <a:lnTo>
                      <a:pt x="28575" y="514350"/>
                    </a:lnTo>
                    <a:cubicBezTo>
                      <a:pt x="12764" y="514350"/>
                      <a:pt x="0" y="501587"/>
                      <a:pt x="0" y="485775"/>
                    </a:cubicBezTo>
                    <a:lnTo>
                      <a:pt x="0" y="66675"/>
                    </a:lnTo>
                    <a:cubicBezTo>
                      <a:pt x="0" y="50864"/>
                      <a:pt x="12764" y="38100"/>
                      <a:pt x="28575" y="38100"/>
                    </a:cubicBezTo>
                    <a:lnTo>
                      <a:pt x="85725" y="38100"/>
                    </a:lnTo>
                    <a:close/>
                    <a:moveTo>
                      <a:pt x="190500" y="333375"/>
                    </a:moveTo>
                    <a:lnTo>
                      <a:pt x="76200" y="333375"/>
                    </a:lnTo>
                    <a:lnTo>
                      <a:pt x="76200" y="352425"/>
                    </a:lnTo>
                    <a:lnTo>
                      <a:pt x="190500" y="352425"/>
                    </a:lnTo>
                    <a:lnTo>
                      <a:pt x="190500" y="333375"/>
                    </a:lnTo>
                    <a:close/>
                    <a:moveTo>
                      <a:pt x="304800" y="257175"/>
                    </a:moveTo>
                    <a:lnTo>
                      <a:pt x="76200" y="257175"/>
                    </a:lnTo>
                    <a:lnTo>
                      <a:pt x="76200" y="276225"/>
                    </a:lnTo>
                    <a:lnTo>
                      <a:pt x="304800" y="276225"/>
                    </a:lnTo>
                    <a:lnTo>
                      <a:pt x="304800" y="257175"/>
                    </a:lnTo>
                    <a:close/>
                    <a:moveTo>
                      <a:pt x="304800" y="180975"/>
                    </a:moveTo>
                    <a:lnTo>
                      <a:pt x="76200" y="180975"/>
                    </a:lnTo>
                    <a:lnTo>
                      <a:pt x="76200" y="200025"/>
                    </a:lnTo>
                    <a:lnTo>
                      <a:pt x="304800" y="200025"/>
                    </a:lnTo>
                    <a:lnTo>
                      <a:pt x="304800" y="180975"/>
                    </a:lnTo>
                    <a:close/>
                    <a:moveTo>
                      <a:pt x="247650" y="0"/>
                    </a:moveTo>
                    <a:cubicBezTo>
                      <a:pt x="263461" y="0"/>
                      <a:pt x="276225" y="12763"/>
                      <a:pt x="276225" y="28575"/>
                    </a:cubicBezTo>
                    <a:lnTo>
                      <a:pt x="276225" y="47625"/>
                    </a:lnTo>
                    <a:cubicBezTo>
                      <a:pt x="276225" y="63437"/>
                      <a:pt x="263461" y="76200"/>
                      <a:pt x="247650" y="76200"/>
                    </a:cubicBezTo>
                    <a:lnTo>
                      <a:pt x="133350" y="76200"/>
                    </a:lnTo>
                    <a:cubicBezTo>
                      <a:pt x="117539" y="76200"/>
                      <a:pt x="104775" y="63437"/>
                      <a:pt x="104775" y="47625"/>
                    </a:cubicBezTo>
                    <a:lnTo>
                      <a:pt x="104775" y="28575"/>
                    </a:lnTo>
                    <a:cubicBezTo>
                      <a:pt x="104775" y="12763"/>
                      <a:pt x="117539" y="0"/>
                      <a:pt x="133350" y="0"/>
                    </a:cubicBezTo>
                    <a:lnTo>
                      <a:pt x="24765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7" name="í$ḻîdé">
                <a:extLst>
                  <a:ext uri="{FF2B5EF4-FFF2-40B4-BE49-F238E27FC236}">
                    <a16:creationId xmlns:a16="http://schemas.microsoft.com/office/drawing/2014/main" id="{65D28CF5-7A50-461B-8998-DCA1A0E754F4}"/>
                  </a:ext>
                </a:extLst>
              </p:cNvPr>
              <p:cNvSpPr/>
              <p:nvPr/>
            </p:nvSpPr>
            <p:spPr bwMode="auto">
              <a:xfrm>
                <a:off x="3087711" y="4114354"/>
                <a:ext cx="533190" cy="443888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18" name="iṧḻíḑe">
                <a:extLst>
                  <a:ext uri="{FF2B5EF4-FFF2-40B4-BE49-F238E27FC236}">
                    <a16:creationId xmlns:a16="http://schemas.microsoft.com/office/drawing/2014/main" id="{1175A03F-584F-42FA-AAB4-34973BABBF54}"/>
                  </a:ext>
                </a:extLst>
              </p:cNvPr>
              <p:cNvSpPr/>
              <p:nvPr/>
            </p:nvSpPr>
            <p:spPr bwMode="auto">
              <a:xfrm>
                <a:off x="4957121" y="4124009"/>
                <a:ext cx="533190" cy="424577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19" name="iś1ïḋè">
                <a:extLst>
                  <a:ext uri="{FF2B5EF4-FFF2-40B4-BE49-F238E27FC236}">
                    <a16:creationId xmlns:a16="http://schemas.microsoft.com/office/drawing/2014/main" id="{65C0E949-3D85-4B7F-9678-011D372B9BAE}"/>
                  </a:ext>
                </a:extLst>
              </p:cNvPr>
              <p:cNvGrpSpPr/>
              <p:nvPr/>
            </p:nvGrpSpPr>
            <p:grpSpPr>
              <a:xfrm>
                <a:off x="673100" y="4737306"/>
                <a:ext cx="1623594" cy="951664"/>
                <a:chOff x="6553263" y="4439485"/>
                <a:chExt cx="1361802" cy="951664"/>
              </a:xfrm>
            </p:grpSpPr>
            <p:sp>
              <p:nvSpPr>
                <p:cNvPr id="133" name="i$liḍé">
                  <a:extLst>
                    <a:ext uri="{FF2B5EF4-FFF2-40B4-BE49-F238E27FC236}">
                      <a16:creationId xmlns:a16="http://schemas.microsoft.com/office/drawing/2014/main" id="{E55CE6D2-8176-4338-BC5C-14F9802D5FB5}"/>
                    </a:ext>
                  </a:extLst>
                </p:cNvPr>
                <p:cNvSpPr/>
                <p:nvPr/>
              </p:nvSpPr>
              <p:spPr bwMode="auto">
                <a:xfrm>
                  <a:off x="655326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134" name="ïşḷîďé">
                  <a:extLst>
                    <a:ext uri="{FF2B5EF4-FFF2-40B4-BE49-F238E27FC236}">
                      <a16:creationId xmlns:a16="http://schemas.microsoft.com/office/drawing/2014/main" id="{02145C93-A50D-45CF-A7B4-8E6DDD3C6A71}"/>
                    </a:ext>
                  </a:extLst>
                </p:cNvPr>
                <p:cNvSpPr txBox="1"/>
                <p:nvPr/>
              </p:nvSpPr>
              <p:spPr bwMode="auto">
                <a:xfrm>
                  <a:off x="655326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grpSp>
            <p:nvGrpSpPr>
              <p:cNvPr id="120" name="íšḻïḍè">
                <a:extLst>
                  <a:ext uri="{FF2B5EF4-FFF2-40B4-BE49-F238E27FC236}">
                    <a16:creationId xmlns:a16="http://schemas.microsoft.com/office/drawing/2014/main" id="{9AF57820-3950-4F6B-B883-5533703D3C59}"/>
                  </a:ext>
                </a:extLst>
              </p:cNvPr>
              <p:cNvGrpSpPr/>
              <p:nvPr/>
            </p:nvGrpSpPr>
            <p:grpSpPr>
              <a:xfrm>
                <a:off x="2542510" y="4737306"/>
                <a:ext cx="1623594" cy="951664"/>
                <a:chOff x="8750374" y="4439485"/>
                <a:chExt cx="1361802" cy="951664"/>
              </a:xfrm>
            </p:grpSpPr>
            <p:sp>
              <p:nvSpPr>
                <p:cNvPr id="131" name="iśļïḋé">
                  <a:extLst>
                    <a:ext uri="{FF2B5EF4-FFF2-40B4-BE49-F238E27FC236}">
                      <a16:creationId xmlns:a16="http://schemas.microsoft.com/office/drawing/2014/main" id="{44EF8B5F-7D14-4758-BF9B-B322ADAC9775}"/>
                    </a:ext>
                  </a:extLst>
                </p:cNvPr>
                <p:cNvSpPr/>
                <p:nvPr/>
              </p:nvSpPr>
              <p:spPr bwMode="auto">
                <a:xfrm>
                  <a:off x="8750374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132" name="îṧļíde">
                  <a:extLst>
                    <a:ext uri="{FF2B5EF4-FFF2-40B4-BE49-F238E27FC236}">
                      <a16:creationId xmlns:a16="http://schemas.microsoft.com/office/drawing/2014/main" id="{A26D8C24-B45E-4A5D-8C0B-3D3C1E37AF47}"/>
                    </a:ext>
                  </a:extLst>
                </p:cNvPr>
                <p:cNvSpPr txBox="1"/>
                <p:nvPr/>
              </p:nvSpPr>
              <p:spPr bwMode="auto">
                <a:xfrm>
                  <a:off x="8750374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grpSp>
            <p:nvGrpSpPr>
              <p:cNvPr id="121" name="íṡḻîḍê">
                <a:extLst>
                  <a:ext uri="{FF2B5EF4-FFF2-40B4-BE49-F238E27FC236}">
                    <a16:creationId xmlns:a16="http://schemas.microsoft.com/office/drawing/2014/main" id="{5849D1E1-73F3-4C3E-91A4-762686631C17}"/>
                  </a:ext>
                </a:extLst>
              </p:cNvPr>
              <p:cNvGrpSpPr/>
              <p:nvPr/>
            </p:nvGrpSpPr>
            <p:grpSpPr>
              <a:xfrm>
                <a:off x="4411920" y="4737306"/>
                <a:ext cx="1623594" cy="951664"/>
                <a:chOff x="10118873" y="4439485"/>
                <a:chExt cx="1361802" cy="951664"/>
              </a:xfrm>
            </p:grpSpPr>
            <p:sp>
              <p:nvSpPr>
                <p:cNvPr id="129" name="ïśḷíḓe">
                  <a:extLst>
                    <a:ext uri="{FF2B5EF4-FFF2-40B4-BE49-F238E27FC236}">
                      <a16:creationId xmlns:a16="http://schemas.microsoft.com/office/drawing/2014/main" id="{3E2EAA48-413E-4C91-8199-5BF021C1E9DD}"/>
                    </a:ext>
                  </a:extLst>
                </p:cNvPr>
                <p:cNvSpPr/>
                <p:nvPr/>
              </p:nvSpPr>
              <p:spPr bwMode="auto">
                <a:xfrm>
                  <a:off x="10118873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130" name="ïṥḻídé">
                  <a:extLst>
                    <a:ext uri="{FF2B5EF4-FFF2-40B4-BE49-F238E27FC236}">
                      <a16:creationId xmlns:a16="http://schemas.microsoft.com/office/drawing/2014/main" id="{1DAAA78D-7DDE-4FD6-BEFD-F7FEE15B433C}"/>
                    </a:ext>
                  </a:extLst>
                </p:cNvPr>
                <p:cNvSpPr txBox="1"/>
                <p:nvPr/>
              </p:nvSpPr>
              <p:spPr bwMode="auto">
                <a:xfrm>
                  <a:off x="10118873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cxnSp>
            <p:nvCxnSpPr>
              <p:cNvPr id="122" name="ísḷîḑê">
                <a:extLst>
                  <a:ext uri="{FF2B5EF4-FFF2-40B4-BE49-F238E27FC236}">
                    <a16:creationId xmlns:a16="http://schemas.microsoft.com/office/drawing/2014/main" id="{3889F420-561A-422C-BD6C-C966F9B3B1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19602" y="4866101"/>
                <a:ext cx="0" cy="896293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ïṡḻîḍé">
                <a:extLst>
                  <a:ext uri="{FF2B5EF4-FFF2-40B4-BE49-F238E27FC236}">
                    <a16:creationId xmlns:a16="http://schemas.microsoft.com/office/drawing/2014/main" id="{BCA5C10A-C38C-4D30-AECD-7397C5D5F7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89012" y="4866101"/>
                <a:ext cx="0" cy="896293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4" name="iŝḻîdè">
                <a:extLst>
                  <a:ext uri="{FF2B5EF4-FFF2-40B4-BE49-F238E27FC236}">
                    <a16:creationId xmlns:a16="http://schemas.microsoft.com/office/drawing/2014/main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6826531" y="4136352"/>
                <a:ext cx="533190" cy="399892"/>
              </a:xfrm>
              <a:custGeom>
                <a:avLst/>
                <a:gdLst>
                  <a:gd name="connsiteX0" fmla="*/ 504825 w 533400"/>
                  <a:gd name="connsiteY0" fmla="*/ 0 h 400050"/>
                  <a:gd name="connsiteX1" fmla="*/ 533400 w 533400"/>
                  <a:gd name="connsiteY1" fmla="*/ 28575 h 400050"/>
                  <a:gd name="connsiteX2" fmla="*/ 533400 w 533400"/>
                  <a:gd name="connsiteY2" fmla="*/ 371475 h 400050"/>
                  <a:gd name="connsiteX3" fmla="*/ 504825 w 533400"/>
                  <a:gd name="connsiteY3" fmla="*/ 400050 h 400050"/>
                  <a:gd name="connsiteX4" fmla="*/ 28575 w 533400"/>
                  <a:gd name="connsiteY4" fmla="*/ 400050 h 400050"/>
                  <a:gd name="connsiteX5" fmla="*/ 0 w 533400"/>
                  <a:gd name="connsiteY5" fmla="*/ 371475 h 400050"/>
                  <a:gd name="connsiteX6" fmla="*/ 0 w 533400"/>
                  <a:gd name="connsiteY6" fmla="*/ 28575 h 400050"/>
                  <a:gd name="connsiteX7" fmla="*/ 28575 w 533400"/>
                  <a:gd name="connsiteY7" fmla="*/ 0 h 400050"/>
                  <a:gd name="connsiteX8" fmla="*/ 504825 w 533400"/>
                  <a:gd name="connsiteY8" fmla="*/ 0 h 400050"/>
                  <a:gd name="connsiteX9" fmla="*/ 390811 w 533400"/>
                  <a:gd name="connsiteY9" fmla="*/ 198025 h 400050"/>
                  <a:gd name="connsiteX10" fmla="*/ 350806 w 533400"/>
                  <a:gd name="connsiteY10" fmla="*/ 203549 h 400050"/>
                  <a:gd name="connsiteX11" fmla="*/ 350806 w 533400"/>
                  <a:gd name="connsiteY11" fmla="*/ 203549 h 400050"/>
                  <a:gd name="connsiteX12" fmla="*/ 266510 w 533400"/>
                  <a:gd name="connsiteY12" fmla="*/ 314992 h 400050"/>
                  <a:gd name="connsiteX13" fmla="*/ 264033 w 533400"/>
                  <a:gd name="connsiteY13" fmla="*/ 317849 h 400050"/>
                  <a:gd name="connsiteX14" fmla="*/ 223647 w 533400"/>
                  <a:gd name="connsiteY14" fmla="*/ 318135 h 400050"/>
                  <a:gd name="connsiteX15" fmla="*/ 223647 w 533400"/>
                  <a:gd name="connsiteY15" fmla="*/ 318135 h 400050"/>
                  <a:gd name="connsiteX16" fmla="*/ 161544 w 533400"/>
                  <a:gd name="connsiteY16" fmla="*/ 256794 h 400050"/>
                  <a:gd name="connsiteX17" fmla="*/ 159639 w 533400"/>
                  <a:gd name="connsiteY17" fmla="*/ 255079 h 400050"/>
                  <a:gd name="connsiteX18" fmla="*/ 119444 w 533400"/>
                  <a:gd name="connsiteY18" fmla="*/ 258985 h 400050"/>
                  <a:gd name="connsiteX19" fmla="*/ 119444 w 533400"/>
                  <a:gd name="connsiteY19" fmla="*/ 258985 h 400050"/>
                  <a:gd name="connsiteX20" fmla="*/ 31909 w 533400"/>
                  <a:gd name="connsiteY20" fmla="*/ 365474 h 400050"/>
                  <a:gd name="connsiteX21" fmla="*/ 29718 w 533400"/>
                  <a:gd name="connsiteY21" fmla="*/ 371475 h 400050"/>
                  <a:gd name="connsiteX22" fmla="*/ 39243 w 533400"/>
                  <a:gd name="connsiteY22" fmla="*/ 381000 h 400050"/>
                  <a:gd name="connsiteX23" fmla="*/ 39243 w 533400"/>
                  <a:gd name="connsiteY23" fmla="*/ 381000 h 400050"/>
                  <a:gd name="connsiteX24" fmla="*/ 496634 w 533400"/>
                  <a:gd name="connsiteY24" fmla="*/ 381000 h 400050"/>
                  <a:gd name="connsiteX25" fmla="*/ 501872 w 533400"/>
                  <a:gd name="connsiteY25" fmla="*/ 379381 h 400050"/>
                  <a:gd name="connsiteX26" fmla="*/ 504539 w 533400"/>
                  <a:gd name="connsiteY26" fmla="*/ 366141 h 400050"/>
                  <a:gd name="connsiteX27" fmla="*/ 504539 w 533400"/>
                  <a:gd name="connsiteY27" fmla="*/ 366141 h 400050"/>
                  <a:gd name="connsiteX28" fmla="*/ 397383 w 533400"/>
                  <a:gd name="connsiteY28" fmla="*/ 204883 h 400050"/>
                  <a:gd name="connsiteX29" fmla="*/ 390811 w 533400"/>
                  <a:gd name="connsiteY29" fmla="*/ 198025 h 400050"/>
                  <a:gd name="connsiteX30" fmla="*/ 95250 w 533400"/>
                  <a:gd name="connsiteY30" fmla="*/ 57150 h 400050"/>
                  <a:gd name="connsiteX31" fmla="*/ 57150 w 533400"/>
                  <a:gd name="connsiteY31" fmla="*/ 95250 h 400050"/>
                  <a:gd name="connsiteX32" fmla="*/ 95250 w 533400"/>
                  <a:gd name="connsiteY32" fmla="*/ 133350 h 400050"/>
                  <a:gd name="connsiteX33" fmla="*/ 133350 w 533400"/>
                  <a:gd name="connsiteY33" fmla="*/ 95250 h 400050"/>
                  <a:gd name="connsiteX34" fmla="*/ 95250 w 533400"/>
                  <a:gd name="connsiteY34" fmla="*/ 571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33400" h="400050">
                    <a:moveTo>
                      <a:pt x="504825" y="0"/>
                    </a:moveTo>
                    <a:cubicBezTo>
                      <a:pt x="520637" y="0"/>
                      <a:pt x="533400" y="12764"/>
                      <a:pt x="533400" y="28575"/>
                    </a:cubicBezTo>
                    <a:lnTo>
                      <a:pt x="533400" y="371475"/>
                    </a:lnTo>
                    <a:cubicBezTo>
                      <a:pt x="533400" y="387287"/>
                      <a:pt x="520637" y="400050"/>
                      <a:pt x="504825" y="400050"/>
                    </a:cubicBezTo>
                    <a:lnTo>
                      <a:pt x="28575" y="400050"/>
                    </a:lnTo>
                    <a:cubicBezTo>
                      <a:pt x="12763" y="400050"/>
                      <a:pt x="0" y="387287"/>
                      <a:pt x="0" y="371475"/>
                    </a:cubicBez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504825" y="0"/>
                    </a:lnTo>
                    <a:close/>
                    <a:moveTo>
                      <a:pt x="390811" y="198025"/>
                    </a:moveTo>
                    <a:cubicBezTo>
                      <a:pt x="378238" y="188500"/>
                      <a:pt x="360331" y="190976"/>
                      <a:pt x="350806" y="203549"/>
                    </a:cubicBezTo>
                    <a:lnTo>
                      <a:pt x="350806" y="203549"/>
                    </a:lnTo>
                    <a:lnTo>
                      <a:pt x="266510" y="314992"/>
                    </a:lnTo>
                    <a:cubicBezTo>
                      <a:pt x="265747" y="316040"/>
                      <a:pt x="264890" y="316897"/>
                      <a:pt x="264033" y="317849"/>
                    </a:cubicBezTo>
                    <a:cubicBezTo>
                      <a:pt x="252984" y="329089"/>
                      <a:pt x="234887" y="329184"/>
                      <a:pt x="223647" y="318135"/>
                    </a:cubicBezTo>
                    <a:lnTo>
                      <a:pt x="223647" y="318135"/>
                    </a:lnTo>
                    <a:lnTo>
                      <a:pt x="161544" y="256794"/>
                    </a:lnTo>
                    <a:cubicBezTo>
                      <a:pt x="160877" y="256223"/>
                      <a:pt x="160306" y="255556"/>
                      <a:pt x="159639" y="255079"/>
                    </a:cubicBezTo>
                    <a:cubicBezTo>
                      <a:pt x="147447" y="245078"/>
                      <a:pt x="129445" y="246793"/>
                      <a:pt x="119444" y="258985"/>
                    </a:cubicBezTo>
                    <a:lnTo>
                      <a:pt x="119444" y="258985"/>
                    </a:lnTo>
                    <a:lnTo>
                      <a:pt x="31909" y="365474"/>
                    </a:lnTo>
                    <a:cubicBezTo>
                      <a:pt x="30480" y="367189"/>
                      <a:pt x="29718" y="369284"/>
                      <a:pt x="29718" y="371475"/>
                    </a:cubicBezTo>
                    <a:cubicBezTo>
                      <a:pt x="29718" y="376714"/>
                      <a:pt x="34004" y="381000"/>
                      <a:pt x="39243" y="381000"/>
                    </a:cubicBezTo>
                    <a:lnTo>
                      <a:pt x="39243" y="381000"/>
                    </a:lnTo>
                    <a:lnTo>
                      <a:pt x="496634" y="381000"/>
                    </a:lnTo>
                    <a:cubicBezTo>
                      <a:pt x="498538" y="381000"/>
                      <a:pt x="500348" y="380429"/>
                      <a:pt x="501872" y="379381"/>
                    </a:cubicBezTo>
                    <a:cubicBezTo>
                      <a:pt x="506254" y="376428"/>
                      <a:pt x="507397" y="370523"/>
                      <a:pt x="504539" y="366141"/>
                    </a:cubicBezTo>
                    <a:lnTo>
                      <a:pt x="504539" y="366141"/>
                    </a:lnTo>
                    <a:lnTo>
                      <a:pt x="397383" y="204883"/>
                    </a:lnTo>
                    <a:cubicBezTo>
                      <a:pt x="395573" y="202311"/>
                      <a:pt x="393382" y="199930"/>
                      <a:pt x="390811" y="198025"/>
                    </a:cubicBezTo>
                    <a:close/>
                    <a:moveTo>
                      <a:pt x="95250" y="57150"/>
                    </a:moveTo>
                    <a:cubicBezTo>
                      <a:pt x="74200" y="57150"/>
                      <a:pt x="57150" y="74200"/>
                      <a:pt x="57150" y="95250"/>
                    </a:cubicBezTo>
                    <a:cubicBezTo>
                      <a:pt x="57150" y="116300"/>
                      <a:pt x="74200" y="133350"/>
                      <a:pt x="95250" y="133350"/>
                    </a:cubicBezTo>
                    <a:cubicBezTo>
                      <a:pt x="116300" y="133350"/>
                      <a:pt x="133350" y="116300"/>
                      <a:pt x="133350" y="95250"/>
                    </a:cubicBezTo>
                    <a:cubicBezTo>
                      <a:pt x="133350" y="74200"/>
                      <a:pt x="116300" y="57150"/>
                      <a:pt x="95250" y="571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25" name="îŝľïďe">
                <a:extLst>
                  <a:ext uri="{FF2B5EF4-FFF2-40B4-BE49-F238E27FC236}">
                    <a16:creationId xmlns:a16="http://schemas.microsoft.com/office/drawing/2014/main" id="{7F775D37-9271-41C9-9520-7F634EEA48E2}"/>
                  </a:ext>
                </a:extLst>
              </p:cNvPr>
              <p:cNvGrpSpPr/>
              <p:nvPr/>
            </p:nvGrpSpPr>
            <p:grpSpPr>
              <a:xfrm>
                <a:off x="6281328" y="4737306"/>
                <a:ext cx="1623594" cy="951664"/>
                <a:chOff x="8750374" y="4439485"/>
                <a:chExt cx="1361802" cy="951664"/>
              </a:xfrm>
            </p:grpSpPr>
            <p:sp>
              <p:nvSpPr>
                <p:cNvPr id="127" name="îšļíďé">
                  <a:extLst>
                    <a:ext uri="{FF2B5EF4-FFF2-40B4-BE49-F238E27FC236}">
                      <a16:creationId xmlns:a16="http://schemas.microsoft.com/office/drawing/2014/main" id="{A314FB46-1335-4A9B-9BDA-110DB0026E76}"/>
                    </a:ext>
                  </a:extLst>
                </p:cNvPr>
                <p:cNvSpPr/>
                <p:nvPr/>
              </p:nvSpPr>
              <p:spPr bwMode="auto">
                <a:xfrm>
                  <a:off x="8750374" y="4881290"/>
                  <a:ext cx="1361802" cy="509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 </a:t>
                  </a:r>
                </a:p>
              </p:txBody>
            </p:sp>
            <p:sp>
              <p:nvSpPr>
                <p:cNvPr id="128" name="îsļïďê">
                  <a:extLst>
                    <a:ext uri="{FF2B5EF4-FFF2-40B4-BE49-F238E27FC236}">
                      <a16:creationId xmlns:a16="http://schemas.microsoft.com/office/drawing/2014/main" id="{3F4BBAFA-D17D-4A54-A9F4-595E5981EA6D}"/>
                    </a:ext>
                  </a:extLst>
                </p:cNvPr>
                <p:cNvSpPr txBox="1"/>
                <p:nvPr/>
              </p:nvSpPr>
              <p:spPr bwMode="auto">
                <a:xfrm>
                  <a:off x="8750374" y="4439485"/>
                  <a:ext cx="136180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</p:grpSp>
          <p:cxnSp>
            <p:nvCxnSpPr>
              <p:cNvPr id="126" name="išḷïďe">
                <a:extLst>
                  <a:ext uri="{FF2B5EF4-FFF2-40B4-BE49-F238E27FC236}">
                    <a16:creationId xmlns:a16="http://schemas.microsoft.com/office/drawing/2014/main" id="{5F5EE3F5-6C12-44DE-B229-634261FC06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58422" y="4866101"/>
                <a:ext cx="0" cy="896293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5" name="ïṡḷidê">
              <a:extLst>
                <a:ext uri="{FF2B5EF4-FFF2-40B4-BE49-F238E27FC236}">
                  <a16:creationId xmlns:a16="http://schemas.microsoft.com/office/drawing/2014/main" id="{DA2D391F-AC52-48B3-8BAC-3985213DE170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6143625"/>
              <a:ext cx="749617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0969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ṡlîď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śļiďè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śḷiḑe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6" name="ïṣḷíďé">
            <a:extLst>
              <a:ext uri="{FF2B5EF4-FFF2-40B4-BE49-F238E27FC236}">
                <a16:creationId xmlns:a16="http://schemas.microsoft.com/office/drawing/2014/main" id="{FA996C2E-3503-4235-870E-98ED3E238287}"/>
              </a:ext>
            </a:extLst>
          </p:cNvPr>
          <p:cNvSpPr/>
          <p:nvPr/>
        </p:nvSpPr>
        <p:spPr>
          <a:xfrm>
            <a:off x="2858" y="3984624"/>
            <a:ext cx="12189142" cy="2149475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cxnSp>
        <p:nvCxnSpPr>
          <p:cNvPr id="42" name="íŝḷîḋé">
            <a:extLst>
              <a:ext uri="{FF2B5EF4-FFF2-40B4-BE49-F238E27FC236}">
                <a16:creationId xmlns:a16="http://schemas.microsoft.com/office/drawing/2014/main" id="{415FBED6-43B6-4209-999F-27F5B86461DB}"/>
              </a:ext>
            </a:extLst>
          </p:cNvPr>
          <p:cNvCxnSpPr>
            <a:cxnSpLocks/>
            <a:endCxn id="50" idx="4"/>
          </p:cNvCxnSpPr>
          <p:nvPr/>
        </p:nvCxnSpPr>
        <p:spPr>
          <a:xfrm flipH="1" flipV="1">
            <a:off x="9943474" y="2555736"/>
            <a:ext cx="2896" cy="138825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í$liḑé">
            <a:extLst>
              <a:ext uri="{FF2B5EF4-FFF2-40B4-BE49-F238E27FC236}">
                <a16:creationId xmlns:a16="http://schemas.microsoft.com/office/drawing/2014/main" id="{09A285C1-03E7-4001-96A2-5DC155F39CE6}"/>
              </a:ext>
            </a:extLst>
          </p:cNvPr>
          <p:cNvSpPr/>
          <p:nvPr/>
        </p:nvSpPr>
        <p:spPr bwMode="auto">
          <a:xfrm>
            <a:off x="9607873" y="1884536"/>
            <a:ext cx="671202" cy="671200"/>
          </a:xfrm>
          <a:prstGeom prst="ellipse">
            <a:avLst/>
          </a:prstGeom>
          <a:solidFill>
            <a:schemeClr val="accent3"/>
          </a:solidFill>
          <a:ln w="2857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4" name="îṥ1ïḑé">
            <a:extLst>
              <a:ext uri="{FF2B5EF4-FFF2-40B4-BE49-F238E27FC236}">
                <a16:creationId xmlns:a16="http://schemas.microsoft.com/office/drawing/2014/main" id="{F93D2C4B-EB21-4AFF-8AEE-AE0486809771}"/>
              </a:ext>
            </a:extLst>
          </p:cNvPr>
          <p:cNvSpPr txBox="1"/>
          <p:nvPr/>
        </p:nvSpPr>
        <p:spPr>
          <a:xfrm>
            <a:off x="9215837" y="1360290"/>
            <a:ext cx="1455274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…text</a:t>
            </a:r>
            <a:endParaRPr lang="id-ID" sz="1600" b="1" dirty="0"/>
          </a:p>
        </p:txBody>
      </p:sp>
      <p:sp>
        <p:nvSpPr>
          <p:cNvPr id="45" name="íṧľíďê">
            <a:extLst>
              <a:ext uri="{FF2B5EF4-FFF2-40B4-BE49-F238E27FC236}">
                <a16:creationId xmlns:a16="http://schemas.microsoft.com/office/drawing/2014/main" id="{8BF03A89-414F-4053-A1FE-F195065AF286}"/>
              </a:ext>
            </a:extLst>
          </p:cNvPr>
          <p:cNvSpPr/>
          <p:nvPr/>
        </p:nvSpPr>
        <p:spPr bwMode="auto">
          <a:xfrm>
            <a:off x="9215837" y="4161992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46" name="iSḷiḓe">
            <a:extLst>
              <a:ext uri="{FF2B5EF4-FFF2-40B4-BE49-F238E27FC236}">
                <a16:creationId xmlns:a16="http://schemas.microsoft.com/office/drawing/2014/main" id="{60FEE564-0455-415B-9A99-F8C81D945ACF}"/>
              </a:ext>
            </a:extLst>
          </p:cNvPr>
          <p:cNvSpPr/>
          <p:nvPr/>
        </p:nvSpPr>
        <p:spPr bwMode="auto">
          <a:xfrm>
            <a:off x="9215837" y="5207469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49" name="îşľîḋe">
            <a:extLst>
              <a:ext uri="{FF2B5EF4-FFF2-40B4-BE49-F238E27FC236}">
                <a16:creationId xmlns:a16="http://schemas.microsoft.com/office/drawing/2014/main" id="{45CB18FA-1A77-422F-8D32-4CDC668A7178}"/>
              </a:ext>
            </a:extLst>
          </p:cNvPr>
          <p:cNvSpPr/>
          <p:nvPr/>
        </p:nvSpPr>
        <p:spPr bwMode="auto">
          <a:xfrm>
            <a:off x="9849846" y="3895725"/>
            <a:ext cx="186912" cy="1869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1100"/>
          </a:p>
        </p:txBody>
      </p:sp>
      <p:cxnSp>
        <p:nvCxnSpPr>
          <p:cNvPr id="32" name="iṧ1ïďê">
            <a:extLst>
              <a:ext uri="{FF2B5EF4-FFF2-40B4-BE49-F238E27FC236}">
                <a16:creationId xmlns:a16="http://schemas.microsoft.com/office/drawing/2014/main" id="{332A7E73-9970-4BEA-A5C1-583496CECB7B}"/>
              </a:ext>
            </a:extLst>
          </p:cNvPr>
          <p:cNvCxnSpPr>
            <a:cxnSpLocks/>
            <a:endCxn id="40" idx="4"/>
          </p:cNvCxnSpPr>
          <p:nvPr/>
        </p:nvCxnSpPr>
        <p:spPr>
          <a:xfrm flipH="1" flipV="1">
            <a:off x="7378492" y="3241355"/>
            <a:ext cx="2896" cy="70263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ṧļiḍê">
            <a:extLst>
              <a:ext uri="{FF2B5EF4-FFF2-40B4-BE49-F238E27FC236}">
                <a16:creationId xmlns:a16="http://schemas.microsoft.com/office/drawing/2014/main" id="{5A76F313-9AF4-494D-BA03-8E78EC6D3150}"/>
              </a:ext>
            </a:extLst>
          </p:cNvPr>
          <p:cNvSpPr/>
          <p:nvPr/>
        </p:nvSpPr>
        <p:spPr bwMode="auto">
          <a:xfrm>
            <a:off x="7042891" y="2570155"/>
            <a:ext cx="671202" cy="671200"/>
          </a:xfrm>
          <a:prstGeom prst="ellipse">
            <a:avLst/>
          </a:prstGeom>
          <a:solidFill>
            <a:schemeClr val="accent1"/>
          </a:solidFill>
          <a:ln w="2857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iš1iďe">
            <a:extLst>
              <a:ext uri="{FF2B5EF4-FFF2-40B4-BE49-F238E27FC236}">
                <a16:creationId xmlns:a16="http://schemas.microsoft.com/office/drawing/2014/main" id="{E0A4AF35-B246-4AD3-B843-D5EC3C977659}"/>
              </a:ext>
            </a:extLst>
          </p:cNvPr>
          <p:cNvSpPr txBox="1"/>
          <p:nvPr/>
        </p:nvSpPr>
        <p:spPr>
          <a:xfrm>
            <a:off x="6650855" y="2045909"/>
            <a:ext cx="1455274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…text</a:t>
            </a:r>
            <a:endParaRPr lang="id-ID" sz="1600" b="1" dirty="0"/>
          </a:p>
        </p:txBody>
      </p:sp>
      <p:sp>
        <p:nvSpPr>
          <p:cNvPr id="35" name="išḷïḍe">
            <a:extLst>
              <a:ext uri="{FF2B5EF4-FFF2-40B4-BE49-F238E27FC236}">
                <a16:creationId xmlns:a16="http://schemas.microsoft.com/office/drawing/2014/main" id="{556CFF61-A29F-4C88-B45D-0FFCD262C332}"/>
              </a:ext>
            </a:extLst>
          </p:cNvPr>
          <p:cNvSpPr/>
          <p:nvPr/>
        </p:nvSpPr>
        <p:spPr bwMode="auto">
          <a:xfrm>
            <a:off x="6650855" y="4161992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36" name="ïSľiḑé">
            <a:extLst>
              <a:ext uri="{FF2B5EF4-FFF2-40B4-BE49-F238E27FC236}">
                <a16:creationId xmlns:a16="http://schemas.microsoft.com/office/drawing/2014/main" id="{ADC598B9-43E2-4B9B-BB6D-4C0754DAFCD5}"/>
              </a:ext>
            </a:extLst>
          </p:cNvPr>
          <p:cNvSpPr/>
          <p:nvPr/>
        </p:nvSpPr>
        <p:spPr bwMode="auto">
          <a:xfrm>
            <a:off x="6650855" y="5207469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39" name="işlïďé">
            <a:extLst>
              <a:ext uri="{FF2B5EF4-FFF2-40B4-BE49-F238E27FC236}">
                <a16:creationId xmlns:a16="http://schemas.microsoft.com/office/drawing/2014/main" id="{0BB1919E-4A46-4431-B086-D2A373EEE1A8}"/>
              </a:ext>
            </a:extLst>
          </p:cNvPr>
          <p:cNvSpPr/>
          <p:nvPr/>
        </p:nvSpPr>
        <p:spPr bwMode="auto">
          <a:xfrm>
            <a:off x="7284778" y="3895725"/>
            <a:ext cx="186912" cy="1869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1100"/>
          </a:p>
        </p:txBody>
      </p:sp>
      <p:cxnSp>
        <p:nvCxnSpPr>
          <p:cNvPr id="22" name="îṩḻîḍe">
            <a:extLst>
              <a:ext uri="{FF2B5EF4-FFF2-40B4-BE49-F238E27FC236}">
                <a16:creationId xmlns:a16="http://schemas.microsoft.com/office/drawing/2014/main" id="{293EB3A0-B3F9-4947-95BC-BFFF6BAB4E9C}"/>
              </a:ext>
            </a:extLst>
          </p:cNvPr>
          <p:cNvCxnSpPr>
            <a:cxnSpLocks/>
            <a:endCxn id="30" idx="4"/>
          </p:cNvCxnSpPr>
          <p:nvPr/>
        </p:nvCxnSpPr>
        <p:spPr>
          <a:xfrm flipH="1" flipV="1">
            <a:off x="4813509" y="2555736"/>
            <a:ext cx="2896" cy="138825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işļïdê">
            <a:extLst>
              <a:ext uri="{FF2B5EF4-FFF2-40B4-BE49-F238E27FC236}">
                <a16:creationId xmlns:a16="http://schemas.microsoft.com/office/drawing/2014/main" id="{1EB40DA2-D106-4874-BD8C-C12F7050A0E7}"/>
              </a:ext>
            </a:extLst>
          </p:cNvPr>
          <p:cNvSpPr/>
          <p:nvPr/>
        </p:nvSpPr>
        <p:spPr bwMode="auto">
          <a:xfrm>
            <a:off x="4477908" y="1884536"/>
            <a:ext cx="671202" cy="671200"/>
          </a:xfrm>
          <a:prstGeom prst="ellipse">
            <a:avLst/>
          </a:prstGeom>
          <a:solidFill>
            <a:schemeClr val="accent3"/>
          </a:solidFill>
          <a:ln w="2857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" name="iṡ1íḑè">
            <a:extLst>
              <a:ext uri="{FF2B5EF4-FFF2-40B4-BE49-F238E27FC236}">
                <a16:creationId xmlns:a16="http://schemas.microsoft.com/office/drawing/2014/main" id="{1C583EC1-0415-45C7-8FCF-46B58BE370E9}"/>
              </a:ext>
            </a:extLst>
          </p:cNvPr>
          <p:cNvSpPr txBox="1"/>
          <p:nvPr/>
        </p:nvSpPr>
        <p:spPr>
          <a:xfrm>
            <a:off x="4085872" y="1360290"/>
            <a:ext cx="1455274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…text</a:t>
            </a:r>
            <a:endParaRPr lang="id-ID" sz="1600" b="1" dirty="0"/>
          </a:p>
        </p:txBody>
      </p:sp>
      <p:sp>
        <p:nvSpPr>
          <p:cNvPr id="25" name="ísľïḋê">
            <a:extLst>
              <a:ext uri="{FF2B5EF4-FFF2-40B4-BE49-F238E27FC236}">
                <a16:creationId xmlns:a16="http://schemas.microsoft.com/office/drawing/2014/main" id="{74FBF319-1611-4903-A504-430459680CDC}"/>
              </a:ext>
            </a:extLst>
          </p:cNvPr>
          <p:cNvSpPr/>
          <p:nvPr/>
        </p:nvSpPr>
        <p:spPr bwMode="auto">
          <a:xfrm>
            <a:off x="4085872" y="4161992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6" name="íSlïḋé">
            <a:extLst>
              <a:ext uri="{FF2B5EF4-FFF2-40B4-BE49-F238E27FC236}">
                <a16:creationId xmlns:a16="http://schemas.microsoft.com/office/drawing/2014/main" id="{39281321-83E6-4B3F-883B-AA5907C7281D}"/>
              </a:ext>
            </a:extLst>
          </p:cNvPr>
          <p:cNvSpPr/>
          <p:nvPr/>
        </p:nvSpPr>
        <p:spPr bwMode="auto">
          <a:xfrm>
            <a:off x="4085872" y="5207469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29" name="ïś1íḑè">
            <a:extLst>
              <a:ext uri="{FF2B5EF4-FFF2-40B4-BE49-F238E27FC236}">
                <a16:creationId xmlns:a16="http://schemas.microsoft.com/office/drawing/2014/main" id="{122229CF-A9D9-4359-BC2D-045D256A39E2}"/>
              </a:ext>
            </a:extLst>
          </p:cNvPr>
          <p:cNvSpPr/>
          <p:nvPr/>
        </p:nvSpPr>
        <p:spPr bwMode="auto">
          <a:xfrm>
            <a:off x="4719709" y="3895725"/>
            <a:ext cx="186912" cy="1869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1100"/>
          </a:p>
        </p:txBody>
      </p:sp>
      <p:cxnSp>
        <p:nvCxnSpPr>
          <p:cNvPr id="12" name="íṥľîḓè">
            <a:extLst>
              <a:ext uri="{FF2B5EF4-FFF2-40B4-BE49-F238E27FC236}">
                <a16:creationId xmlns:a16="http://schemas.microsoft.com/office/drawing/2014/main" id="{1593A5EC-B0E1-4650-BCCF-A1D67B6CD1C2}"/>
              </a:ext>
            </a:extLst>
          </p:cNvPr>
          <p:cNvCxnSpPr>
            <a:cxnSpLocks/>
            <a:endCxn id="20" idx="4"/>
          </p:cNvCxnSpPr>
          <p:nvPr/>
        </p:nvCxnSpPr>
        <p:spPr>
          <a:xfrm flipH="1" flipV="1">
            <a:off x="2248526" y="3241355"/>
            <a:ext cx="2896" cy="70263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îS1îďe">
            <a:extLst>
              <a:ext uri="{FF2B5EF4-FFF2-40B4-BE49-F238E27FC236}">
                <a16:creationId xmlns:a16="http://schemas.microsoft.com/office/drawing/2014/main" id="{57FCC09A-EE38-40C1-B77C-C75820568766}"/>
              </a:ext>
            </a:extLst>
          </p:cNvPr>
          <p:cNvSpPr/>
          <p:nvPr/>
        </p:nvSpPr>
        <p:spPr bwMode="auto">
          <a:xfrm>
            <a:off x="1912925" y="2570155"/>
            <a:ext cx="671202" cy="671200"/>
          </a:xfrm>
          <a:prstGeom prst="ellipse">
            <a:avLst/>
          </a:prstGeom>
          <a:solidFill>
            <a:schemeClr val="accent1"/>
          </a:solidFill>
          <a:ln w="2857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4" name="îŝľîḍé">
            <a:extLst>
              <a:ext uri="{FF2B5EF4-FFF2-40B4-BE49-F238E27FC236}">
                <a16:creationId xmlns:a16="http://schemas.microsoft.com/office/drawing/2014/main" id="{4F8AF7E4-7E29-4282-9466-A0CA41B414BA}"/>
              </a:ext>
            </a:extLst>
          </p:cNvPr>
          <p:cNvSpPr txBox="1"/>
          <p:nvPr/>
        </p:nvSpPr>
        <p:spPr>
          <a:xfrm>
            <a:off x="1520889" y="2045909"/>
            <a:ext cx="1455274" cy="42052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…text</a:t>
            </a:r>
            <a:endParaRPr lang="id-ID" sz="1600" b="1" dirty="0"/>
          </a:p>
        </p:txBody>
      </p:sp>
      <p:sp>
        <p:nvSpPr>
          <p:cNvPr id="15" name="íṧliḋè">
            <a:extLst>
              <a:ext uri="{FF2B5EF4-FFF2-40B4-BE49-F238E27FC236}">
                <a16:creationId xmlns:a16="http://schemas.microsoft.com/office/drawing/2014/main" id="{486D2652-7957-440E-8876-A4FA8FE03C75}"/>
              </a:ext>
            </a:extLst>
          </p:cNvPr>
          <p:cNvSpPr/>
          <p:nvPr/>
        </p:nvSpPr>
        <p:spPr bwMode="auto">
          <a:xfrm>
            <a:off x="1520889" y="4161992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16" name="ï$ḷiďé">
            <a:extLst>
              <a:ext uri="{FF2B5EF4-FFF2-40B4-BE49-F238E27FC236}">
                <a16:creationId xmlns:a16="http://schemas.microsoft.com/office/drawing/2014/main" id="{E5FCB8B3-444E-49DC-B791-A2D30E403B6E}"/>
              </a:ext>
            </a:extLst>
          </p:cNvPr>
          <p:cNvSpPr/>
          <p:nvPr/>
        </p:nvSpPr>
        <p:spPr bwMode="auto">
          <a:xfrm>
            <a:off x="1520889" y="5207469"/>
            <a:ext cx="1455274" cy="77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Suppo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solidFill>
                  <a:schemeClr val="bg1"/>
                </a:solidFill>
              </a:rPr>
              <a:t>……</a:t>
            </a:r>
          </a:p>
        </p:txBody>
      </p:sp>
      <p:sp>
        <p:nvSpPr>
          <p:cNvPr id="19" name="ïṧḷîde">
            <a:extLst>
              <a:ext uri="{FF2B5EF4-FFF2-40B4-BE49-F238E27FC236}">
                <a16:creationId xmlns:a16="http://schemas.microsoft.com/office/drawing/2014/main" id="{91DFA892-098D-48CF-9469-18BD148BC32E}"/>
              </a:ext>
            </a:extLst>
          </p:cNvPr>
          <p:cNvSpPr/>
          <p:nvPr/>
        </p:nvSpPr>
        <p:spPr bwMode="auto">
          <a:xfrm>
            <a:off x="2154640" y="3895725"/>
            <a:ext cx="186912" cy="18691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1100"/>
          </a:p>
        </p:txBody>
      </p:sp>
      <p:sp>
        <p:nvSpPr>
          <p:cNvPr id="80" name="išľide">
            <a:extLst>
              <a:ext uri="{FF2B5EF4-FFF2-40B4-BE49-F238E27FC236}">
                <a16:creationId xmlns:a16="http://schemas.microsoft.com/office/drawing/2014/main" id="{1B1AB4BA-4118-44A6-B57C-8B3DD7C03530}"/>
              </a:ext>
            </a:extLst>
          </p:cNvPr>
          <p:cNvSpPr/>
          <p:nvPr/>
        </p:nvSpPr>
        <p:spPr bwMode="auto">
          <a:xfrm>
            <a:off x="2096883" y="2737930"/>
            <a:ext cx="303287" cy="335650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4" name="ïŝliḋé">
            <a:extLst>
              <a:ext uri="{FF2B5EF4-FFF2-40B4-BE49-F238E27FC236}">
                <a16:creationId xmlns:a16="http://schemas.microsoft.com/office/drawing/2014/main" id="{6C2040B5-844C-4032-85BB-28A7F1CB461F}"/>
              </a:ext>
            </a:extLst>
          </p:cNvPr>
          <p:cNvSpPr/>
          <p:nvPr/>
        </p:nvSpPr>
        <p:spPr bwMode="auto">
          <a:xfrm>
            <a:off x="4642300" y="2093082"/>
            <a:ext cx="335650" cy="254108"/>
          </a:xfrm>
          <a:custGeom>
            <a:avLst/>
            <a:gdLst>
              <a:gd name="T0" fmla="*/ 212 w 224"/>
              <a:gd name="T1" fmla="*/ 0 h 168"/>
              <a:gd name="T2" fmla="*/ 224 w 224"/>
              <a:gd name="T3" fmla="*/ 12 h 168"/>
              <a:gd name="T4" fmla="*/ 224 w 224"/>
              <a:gd name="T5" fmla="*/ 156 h 168"/>
              <a:gd name="T6" fmla="*/ 212 w 224"/>
              <a:gd name="T7" fmla="*/ 168 h 168"/>
              <a:gd name="T8" fmla="*/ 12 w 224"/>
              <a:gd name="T9" fmla="*/ 168 h 168"/>
              <a:gd name="T10" fmla="*/ 0 w 224"/>
              <a:gd name="T11" fmla="*/ 156 h 168"/>
              <a:gd name="T12" fmla="*/ 0 w 224"/>
              <a:gd name="T13" fmla="*/ 12 h 168"/>
              <a:gd name="T14" fmla="*/ 12 w 224"/>
              <a:gd name="T15" fmla="*/ 0 h 168"/>
              <a:gd name="T16" fmla="*/ 212 w 224"/>
              <a:gd name="T17" fmla="*/ 0 h 168"/>
              <a:gd name="T18" fmla="*/ 164 w 224"/>
              <a:gd name="T19" fmla="*/ 83 h 168"/>
              <a:gd name="T20" fmla="*/ 147 w 224"/>
              <a:gd name="T21" fmla="*/ 85 h 168"/>
              <a:gd name="T22" fmla="*/ 112 w 224"/>
              <a:gd name="T23" fmla="*/ 132 h 168"/>
              <a:gd name="T24" fmla="*/ 111 w 224"/>
              <a:gd name="T25" fmla="*/ 133 h 168"/>
              <a:gd name="T26" fmla="*/ 94 w 224"/>
              <a:gd name="T27" fmla="*/ 134 h 168"/>
              <a:gd name="T28" fmla="*/ 68 w 224"/>
              <a:gd name="T29" fmla="*/ 108 h 168"/>
              <a:gd name="T30" fmla="*/ 67 w 224"/>
              <a:gd name="T31" fmla="*/ 107 h 168"/>
              <a:gd name="T32" fmla="*/ 50 w 224"/>
              <a:gd name="T33" fmla="*/ 109 h 168"/>
              <a:gd name="T34" fmla="*/ 13 w 224"/>
              <a:gd name="T35" fmla="*/ 153 h 168"/>
              <a:gd name="T36" fmla="*/ 12 w 224"/>
              <a:gd name="T37" fmla="*/ 156 h 168"/>
              <a:gd name="T38" fmla="*/ 16 w 224"/>
              <a:gd name="T39" fmla="*/ 160 h 168"/>
              <a:gd name="T40" fmla="*/ 209 w 224"/>
              <a:gd name="T41" fmla="*/ 160 h 168"/>
              <a:gd name="T42" fmla="*/ 211 w 224"/>
              <a:gd name="T43" fmla="*/ 159 h 168"/>
              <a:gd name="T44" fmla="*/ 212 w 224"/>
              <a:gd name="T45" fmla="*/ 154 h 168"/>
              <a:gd name="T46" fmla="*/ 167 w 224"/>
              <a:gd name="T47" fmla="*/ 86 h 168"/>
              <a:gd name="T48" fmla="*/ 164 w 224"/>
              <a:gd name="T49" fmla="*/ 83 h 168"/>
              <a:gd name="T50" fmla="*/ 40 w 224"/>
              <a:gd name="T51" fmla="*/ 24 h 168"/>
              <a:gd name="T52" fmla="*/ 24 w 224"/>
              <a:gd name="T53" fmla="*/ 40 h 168"/>
              <a:gd name="T54" fmla="*/ 40 w 224"/>
              <a:gd name="T55" fmla="*/ 56 h 168"/>
              <a:gd name="T56" fmla="*/ 56 w 224"/>
              <a:gd name="T57" fmla="*/ 40 h 168"/>
              <a:gd name="T58" fmla="*/ 40 w 224"/>
              <a:gd name="T59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4" h="168">
                <a:moveTo>
                  <a:pt x="212" y="0"/>
                </a:moveTo>
                <a:cubicBezTo>
                  <a:pt x="219" y="0"/>
                  <a:pt x="224" y="5"/>
                  <a:pt x="224" y="12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4" y="163"/>
                  <a:pt x="219" y="168"/>
                  <a:pt x="212" y="168"/>
                </a:cubicBezTo>
                <a:cubicBezTo>
                  <a:pt x="12" y="168"/>
                  <a:pt x="12" y="168"/>
                  <a:pt x="12" y="168"/>
                </a:cubicBezTo>
                <a:cubicBezTo>
                  <a:pt x="5" y="168"/>
                  <a:pt x="0" y="163"/>
                  <a:pt x="0" y="15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12" y="0"/>
                </a:lnTo>
                <a:close/>
                <a:moveTo>
                  <a:pt x="164" y="83"/>
                </a:moveTo>
                <a:cubicBezTo>
                  <a:pt x="159" y="79"/>
                  <a:pt x="151" y="80"/>
                  <a:pt x="147" y="85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12" y="133"/>
                  <a:pt x="111" y="133"/>
                  <a:pt x="111" y="133"/>
                </a:cubicBezTo>
                <a:cubicBezTo>
                  <a:pt x="106" y="138"/>
                  <a:pt x="99" y="138"/>
                  <a:pt x="94" y="134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7" y="107"/>
                  <a:pt x="67" y="107"/>
                  <a:pt x="67" y="107"/>
                </a:cubicBezTo>
                <a:cubicBezTo>
                  <a:pt x="62" y="103"/>
                  <a:pt x="54" y="104"/>
                  <a:pt x="50" y="109"/>
                </a:cubicBezTo>
                <a:cubicBezTo>
                  <a:pt x="13" y="153"/>
                  <a:pt x="13" y="153"/>
                  <a:pt x="13" y="153"/>
                </a:cubicBezTo>
                <a:cubicBezTo>
                  <a:pt x="13" y="154"/>
                  <a:pt x="12" y="155"/>
                  <a:pt x="12" y="156"/>
                </a:cubicBezTo>
                <a:cubicBezTo>
                  <a:pt x="12" y="158"/>
                  <a:pt x="14" y="160"/>
                  <a:pt x="16" y="160"/>
                </a:cubicBezTo>
                <a:cubicBezTo>
                  <a:pt x="209" y="160"/>
                  <a:pt x="209" y="160"/>
                  <a:pt x="209" y="160"/>
                </a:cubicBezTo>
                <a:cubicBezTo>
                  <a:pt x="209" y="160"/>
                  <a:pt x="210" y="160"/>
                  <a:pt x="211" y="159"/>
                </a:cubicBezTo>
                <a:cubicBezTo>
                  <a:pt x="213" y="158"/>
                  <a:pt x="213" y="156"/>
                  <a:pt x="212" y="154"/>
                </a:cubicBezTo>
                <a:cubicBezTo>
                  <a:pt x="167" y="86"/>
                  <a:pt x="167" y="86"/>
                  <a:pt x="167" y="86"/>
                </a:cubicBezTo>
                <a:cubicBezTo>
                  <a:pt x="166" y="85"/>
                  <a:pt x="165" y="84"/>
                  <a:pt x="164" y="83"/>
                </a:cubicBez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5" name="iSḷídê">
            <a:extLst>
              <a:ext uri="{FF2B5EF4-FFF2-40B4-BE49-F238E27FC236}">
                <a16:creationId xmlns:a16="http://schemas.microsoft.com/office/drawing/2014/main" id="{4A7549C7-8E24-49D7-9730-1330A5CB6142}"/>
              </a:ext>
            </a:extLst>
          </p:cNvPr>
          <p:cNvSpPr/>
          <p:nvPr/>
        </p:nvSpPr>
        <p:spPr bwMode="auto">
          <a:xfrm>
            <a:off x="7203897" y="2770508"/>
            <a:ext cx="335650" cy="270494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6" name="iśliḑé">
            <a:extLst>
              <a:ext uri="{FF2B5EF4-FFF2-40B4-BE49-F238E27FC236}">
                <a16:creationId xmlns:a16="http://schemas.microsoft.com/office/drawing/2014/main" id="{E8D33C51-A935-43A3-B1D7-E200041F55B5}"/>
              </a:ext>
            </a:extLst>
          </p:cNvPr>
          <p:cNvSpPr/>
          <p:nvPr/>
        </p:nvSpPr>
        <p:spPr bwMode="auto">
          <a:xfrm>
            <a:off x="9765496" y="2060883"/>
            <a:ext cx="335650" cy="305703"/>
          </a:xfrm>
          <a:custGeom>
            <a:avLst/>
            <a:gdLst>
              <a:gd name="T0" fmla="*/ 52 w 224"/>
              <a:gd name="T1" fmla="*/ 96 h 204"/>
              <a:gd name="T2" fmla="*/ 52 w 224"/>
              <a:gd name="T3" fmla="*/ 116 h 204"/>
              <a:gd name="T4" fmla="*/ 60 w 224"/>
              <a:gd name="T5" fmla="*/ 116 h 204"/>
              <a:gd name="T6" fmla="*/ 60 w 224"/>
              <a:gd name="T7" fmla="*/ 96 h 204"/>
              <a:gd name="T8" fmla="*/ 164 w 224"/>
              <a:gd name="T9" fmla="*/ 96 h 204"/>
              <a:gd name="T10" fmla="*/ 164 w 224"/>
              <a:gd name="T11" fmla="*/ 116 h 204"/>
              <a:gd name="T12" fmla="*/ 172 w 224"/>
              <a:gd name="T13" fmla="*/ 116 h 204"/>
              <a:gd name="T14" fmla="*/ 172 w 224"/>
              <a:gd name="T15" fmla="*/ 96 h 204"/>
              <a:gd name="T16" fmla="*/ 224 w 224"/>
              <a:gd name="T17" fmla="*/ 96 h 204"/>
              <a:gd name="T18" fmla="*/ 224 w 224"/>
              <a:gd name="T19" fmla="*/ 192 h 204"/>
              <a:gd name="T20" fmla="*/ 212 w 224"/>
              <a:gd name="T21" fmla="*/ 204 h 204"/>
              <a:gd name="T22" fmla="*/ 12 w 224"/>
              <a:gd name="T23" fmla="*/ 204 h 204"/>
              <a:gd name="T24" fmla="*/ 0 w 224"/>
              <a:gd name="T25" fmla="*/ 192 h 204"/>
              <a:gd name="T26" fmla="*/ 0 w 224"/>
              <a:gd name="T27" fmla="*/ 96 h 204"/>
              <a:gd name="T28" fmla="*/ 52 w 224"/>
              <a:gd name="T29" fmla="*/ 96 h 204"/>
              <a:gd name="T30" fmla="*/ 156 w 224"/>
              <a:gd name="T31" fmla="*/ 0 h 204"/>
              <a:gd name="T32" fmla="*/ 172 w 224"/>
              <a:gd name="T33" fmla="*/ 15 h 204"/>
              <a:gd name="T34" fmla="*/ 172 w 224"/>
              <a:gd name="T35" fmla="*/ 16 h 204"/>
              <a:gd name="T36" fmla="*/ 172 w 224"/>
              <a:gd name="T37" fmla="*/ 48 h 204"/>
              <a:gd name="T38" fmla="*/ 212 w 224"/>
              <a:gd name="T39" fmla="*/ 48 h 204"/>
              <a:gd name="T40" fmla="*/ 224 w 224"/>
              <a:gd name="T41" fmla="*/ 60 h 204"/>
              <a:gd name="T42" fmla="*/ 224 w 224"/>
              <a:gd name="T43" fmla="*/ 88 h 204"/>
              <a:gd name="T44" fmla="*/ 0 w 224"/>
              <a:gd name="T45" fmla="*/ 88 h 204"/>
              <a:gd name="T46" fmla="*/ 0 w 224"/>
              <a:gd name="T47" fmla="*/ 60 h 204"/>
              <a:gd name="T48" fmla="*/ 12 w 224"/>
              <a:gd name="T49" fmla="*/ 48 h 204"/>
              <a:gd name="T50" fmla="*/ 52 w 224"/>
              <a:gd name="T51" fmla="*/ 48 h 204"/>
              <a:gd name="T52" fmla="*/ 52 w 224"/>
              <a:gd name="T53" fmla="*/ 16 h 204"/>
              <a:gd name="T54" fmla="*/ 67 w 224"/>
              <a:gd name="T55" fmla="*/ 0 h 204"/>
              <a:gd name="T56" fmla="*/ 68 w 224"/>
              <a:gd name="T57" fmla="*/ 0 h 204"/>
              <a:gd name="T58" fmla="*/ 156 w 224"/>
              <a:gd name="T59" fmla="*/ 0 h 204"/>
              <a:gd name="T60" fmla="*/ 156 w 224"/>
              <a:gd name="T61" fmla="*/ 8 h 204"/>
              <a:gd name="T62" fmla="*/ 68 w 224"/>
              <a:gd name="T63" fmla="*/ 8 h 204"/>
              <a:gd name="T64" fmla="*/ 60 w 224"/>
              <a:gd name="T65" fmla="*/ 15 h 204"/>
              <a:gd name="T66" fmla="*/ 60 w 224"/>
              <a:gd name="T67" fmla="*/ 16 h 204"/>
              <a:gd name="T68" fmla="*/ 60 w 224"/>
              <a:gd name="T69" fmla="*/ 48 h 204"/>
              <a:gd name="T70" fmla="*/ 164 w 224"/>
              <a:gd name="T71" fmla="*/ 48 h 204"/>
              <a:gd name="T72" fmla="*/ 164 w 224"/>
              <a:gd name="T73" fmla="*/ 16 h 204"/>
              <a:gd name="T74" fmla="*/ 157 w 224"/>
              <a:gd name="T75" fmla="*/ 8 h 204"/>
              <a:gd name="T76" fmla="*/ 157 w 224"/>
              <a:gd name="T77" fmla="*/ 8 h 204"/>
              <a:gd name="T78" fmla="*/ 156 w 224"/>
              <a:gd name="T79" fmla="*/ 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24" h="204">
                <a:moveTo>
                  <a:pt x="52" y="96"/>
                </a:moveTo>
                <a:cubicBezTo>
                  <a:pt x="52" y="116"/>
                  <a:pt x="52" y="116"/>
                  <a:pt x="52" y="116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96"/>
                  <a:pt x="60" y="96"/>
                  <a:pt x="60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116"/>
                  <a:pt x="164" y="116"/>
                  <a:pt x="164" y="116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72" y="96"/>
                  <a:pt x="172" y="96"/>
                  <a:pt x="172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99"/>
                  <a:pt x="219" y="204"/>
                  <a:pt x="212" y="204"/>
                </a:cubicBezTo>
                <a:cubicBezTo>
                  <a:pt x="12" y="204"/>
                  <a:pt x="12" y="204"/>
                  <a:pt x="12" y="204"/>
                </a:cubicBezTo>
                <a:cubicBezTo>
                  <a:pt x="5" y="204"/>
                  <a:pt x="0" y="199"/>
                  <a:pt x="0" y="192"/>
                </a:cubicBezTo>
                <a:cubicBezTo>
                  <a:pt x="0" y="96"/>
                  <a:pt x="0" y="96"/>
                  <a:pt x="0" y="96"/>
                </a:cubicBezTo>
                <a:lnTo>
                  <a:pt x="52" y="96"/>
                </a:lnTo>
                <a:close/>
                <a:moveTo>
                  <a:pt x="156" y="0"/>
                </a:moveTo>
                <a:cubicBezTo>
                  <a:pt x="165" y="0"/>
                  <a:pt x="172" y="7"/>
                  <a:pt x="172" y="15"/>
                </a:cubicBezTo>
                <a:cubicBezTo>
                  <a:pt x="172" y="16"/>
                  <a:pt x="172" y="16"/>
                  <a:pt x="172" y="16"/>
                </a:cubicBezTo>
                <a:cubicBezTo>
                  <a:pt x="172" y="48"/>
                  <a:pt x="172" y="48"/>
                  <a:pt x="172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3"/>
                  <a:pt x="5" y="48"/>
                  <a:pt x="1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16"/>
                  <a:pt x="52" y="16"/>
                  <a:pt x="52" y="16"/>
                </a:cubicBezTo>
                <a:cubicBezTo>
                  <a:pt x="52" y="7"/>
                  <a:pt x="59" y="0"/>
                  <a:pt x="67" y="0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  <a:moveTo>
                  <a:pt x="156" y="8"/>
                </a:moveTo>
                <a:cubicBezTo>
                  <a:pt x="68" y="8"/>
                  <a:pt x="68" y="8"/>
                  <a:pt x="68" y="8"/>
                </a:cubicBezTo>
                <a:cubicBezTo>
                  <a:pt x="64" y="8"/>
                  <a:pt x="60" y="11"/>
                  <a:pt x="60" y="15"/>
                </a:cubicBezTo>
                <a:cubicBezTo>
                  <a:pt x="60" y="16"/>
                  <a:pt x="60" y="16"/>
                  <a:pt x="60" y="16"/>
                </a:cubicBezTo>
                <a:cubicBezTo>
                  <a:pt x="60" y="48"/>
                  <a:pt x="60" y="48"/>
                  <a:pt x="60" y="48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164" y="16"/>
                  <a:pt x="164" y="16"/>
                  <a:pt x="164" y="16"/>
                </a:cubicBezTo>
                <a:cubicBezTo>
                  <a:pt x="164" y="12"/>
                  <a:pt x="161" y="9"/>
                  <a:pt x="157" y="8"/>
                </a:cubicBezTo>
                <a:cubicBezTo>
                  <a:pt x="157" y="8"/>
                  <a:pt x="157" y="8"/>
                  <a:pt x="157" y="8"/>
                </a:cubicBezTo>
                <a:lnTo>
                  <a:pt x="156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150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ṥ1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íşļíḓé">
            <a:extLst>
              <a:ext uri="{FF2B5EF4-FFF2-40B4-BE49-F238E27FC236}">
                <a16:creationId xmlns:a16="http://schemas.microsoft.com/office/drawing/2014/main" id="{03522D59-85F6-41A7-B4C4-F703B84871DD}"/>
              </a:ext>
            </a:extLst>
          </p:cNvPr>
          <p:cNvSpPr/>
          <p:nvPr/>
        </p:nvSpPr>
        <p:spPr>
          <a:xfrm>
            <a:off x="669923" y="3577916"/>
            <a:ext cx="10848976" cy="113938"/>
          </a:xfrm>
          <a:prstGeom prst="roundRect">
            <a:avLst>
              <a:gd name="adj" fmla="val 17749"/>
            </a:avLst>
          </a:prstGeom>
          <a:solidFill>
            <a:schemeClr val="bg1">
              <a:lumMod val="95000"/>
            </a:schemeClr>
          </a:solid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106" name="í$ļiḋé">
            <a:extLst>
              <a:ext uri="{FF2B5EF4-FFF2-40B4-BE49-F238E27FC236}">
                <a16:creationId xmlns:a16="http://schemas.microsoft.com/office/drawing/2014/main" id="{1F86EFE0-D2CD-4838-9CE9-DAE5D757B82F}"/>
              </a:ext>
            </a:extLst>
          </p:cNvPr>
          <p:cNvSpPr/>
          <p:nvPr/>
        </p:nvSpPr>
        <p:spPr>
          <a:xfrm>
            <a:off x="2013433" y="3241902"/>
            <a:ext cx="804518" cy="78747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108" name="išḻíďê">
            <a:extLst>
              <a:ext uri="{FF2B5EF4-FFF2-40B4-BE49-F238E27FC236}">
                <a16:creationId xmlns:a16="http://schemas.microsoft.com/office/drawing/2014/main" id="{1382B738-CC94-43DC-B1E3-60ABEBDC8E66}"/>
              </a:ext>
            </a:extLst>
          </p:cNvPr>
          <p:cNvSpPr/>
          <p:nvPr/>
        </p:nvSpPr>
        <p:spPr>
          <a:xfrm>
            <a:off x="4081672" y="3234681"/>
            <a:ext cx="804518" cy="787474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109" name="ïṥḷïḑê">
            <a:extLst>
              <a:ext uri="{FF2B5EF4-FFF2-40B4-BE49-F238E27FC236}">
                <a16:creationId xmlns:a16="http://schemas.microsoft.com/office/drawing/2014/main" id="{4394E657-2C31-461E-8255-7EDFB4F0B90E}"/>
              </a:ext>
            </a:extLst>
          </p:cNvPr>
          <p:cNvSpPr/>
          <p:nvPr/>
        </p:nvSpPr>
        <p:spPr>
          <a:xfrm>
            <a:off x="6149911" y="3227460"/>
            <a:ext cx="804518" cy="78747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110" name="ïşlïḍé">
            <a:extLst>
              <a:ext uri="{FF2B5EF4-FFF2-40B4-BE49-F238E27FC236}">
                <a16:creationId xmlns:a16="http://schemas.microsoft.com/office/drawing/2014/main" id="{F64D2FC3-BD98-4C77-BC73-62EE4DB1AE82}"/>
              </a:ext>
            </a:extLst>
          </p:cNvPr>
          <p:cNvSpPr/>
          <p:nvPr/>
        </p:nvSpPr>
        <p:spPr>
          <a:xfrm>
            <a:off x="8218150" y="3220239"/>
            <a:ext cx="804518" cy="787474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111" name="iṩḻiḑè">
            <a:extLst>
              <a:ext uri="{FF2B5EF4-FFF2-40B4-BE49-F238E27FC236}">
                <a16:creationId xmlns:a16="http://schemas.microsoft.com/office/drawing/2014/main" id="{557D09E7-52BC-407A-B50A-F30134655689}"/>
              </a:ext>
            </a:extLst>
          </p:cNvPr>
          <p:cNvSpPr/>
          <p:nvPr/>
        </p:nvSpPr>
        <p:spPr>
          <a:xfrm>
            <a:off x="10286389" y="3213018"/>
            <a:ext cx="804518" cy="78747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>
              <a:solidFill>
                <a:schemeClr val="bg1"/>
              </a:solidFill>
            </a:endParaRPr>
          </a:p>
        </p:txBody>
      </p:sp>
      <p:sp>
        <p:nvSpPr>
          <p:cNvPr id="2" name="ïŝľiďê">
            <a:extLst>
              <a:ext uri="{FF2B5EF4-FFF2-40B4-BE49-F238E27FC236}">
                <a16:creationId xmlns:a16="http://schemas.microsoft.com/office/drawing/2014/main" id="{1B28B401-BA1E-4CCC-A46F-C76380FE2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š1îďé">
            <a:extLst>
              <a:ext uri="{FF2B5EF4-FFF2-40B4-BE49-F238E27FC236}">
                <a16:creationId xmlns:a16="http://schemas.microsoft.com/office/drawing/2014/main" id="{FA61EC32-B4AF-48B5-9627-101427485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śļiḍe">
            <a:extLst>
              <a:ext uri="{FF2B5EF4-FFF2-40B4-BE49-F238E27FC236}">
                <a16:creationId xmlns:a16="http://schemas.microsoft.com/office/drawing/2014/main" id="{6E652D61-B0F6-4855-A624-F0E19D52F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91" name="íṥľïḑé">
            <a:extLst>
              <a:ext uri="{FF2B5EF4-FFF2-40B4-BE49-F238E27FC236}">
                <a16:creationId xmlns:a16="http://schemas.microsoft.com/office/drawing/2014/main" id="{0E430FE1-28AC-41B8-828B-0B3696B4ADAB}"/>
              </a:ext>
            </a:extLst>
          </p:cNvPr>
          <p:cNvSpPr/>
          <p:nvPr/>
        </p:nvSpPr>
        <p:spPr>
          <a:xfrm>
            <a:off x="1646950" y="2607817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grpSp>
        <p:nvGrpSpPr>
          <p:cNvPr id="92" name="íṩḷidé">
            <a:extLst>
              <a:ext uri="{FF2B5EF4-FFF2-40B4-BE49-F238E27FC236}">
                <a16:creationId xmlns:a16="http://schemas.microsoft.com/office/drawing/2014/main" id="{9BB28AB4-13B0-467F-B9E6-11888DE7233A}"/>
              </a:ext>
            </a:extLst>
          </p:cNvPr>
          <p:cNvGrpSpPr/>
          <p:nvPr/>
        </p:nvGrpSpPr>
        <p:grpSpPr>
          <a:xfrm>
            <a:off x="660399" y="1609418"/>
            <a:ext cx="1755294" cy="998399"/>
            <a:chOff x="660399" y="1609418"/>
            <a:chExt cx="1755294" cy="998399"/>
          </a:xfrm>
        </p:grpSpPr>
        <p:sp>
          <p:nvSpPr>
            <p:cNvPr id="93" name="îşlîḍe">
              <a:extLst>
                <a:ext uri="{FF2B5EF4-FFF2-40B4-BE49-F238E27FC236}">
                  <a16:creationId xmlns:a16="http://schemas.microsoft.com/office/drawing/2014/main" id="{7153FD79-553E-4497-A05B-BC0121216D32}"/>
                </a:ext>
              </a:extLst>
            </p:cNvPr>
            <p:cNvSpPr/>
            <p:nvPr/>
          </p:nvSpPr>
          <p:spPr bwMode="auto">
            <a:xfrm>
              <a:off x="660399" y="1609418"/>
              <a:ext cx="175529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94" name="îŝļïḑê">
              <a:extLst>
                <a:ext uri="{FF2B5EF4-FFF2-40B4-BE49-F238E27FC236}">
                  <a16:creationId xmlns:a16="http://schemas.microsoft.com/office/drawing/2014/main" id="{0CBCDDD1-656C-4294-A959-31EC15680C7B}"/>
                </a:ext>
              </a:extLst>
            </p:cNvPr>
            <p:cNvGrpSpPr/>
            <p:nvPr/>
          </p:nvGrpSpPr>
          <p:grpSpPr>
            <a:xfrm>
              <a:off x="660400" y="2333625"/>
              <a:ext cx="1755293" cy="274192"/>
              <a:chOff x="660400" y="2333625"/>
              <a:chExt cx="1755293" cy="274192"/>
            </a:xfrm>
          </p:grpSpPr>
          <p:cxnSp>
            <p:nvCxnSpPr>
              <p:cNvPr id="95" name="îs1îḋe">
                <a:extLst>
                  <a:ext uri="{FF2B5EF4-FFF2-40B4-BE49-F238E27FC236}">
                    <a16:creationId xmlns:a16="http://schemas.microsoft.com/office/drawing/2014/main" id="{38CE8FC3-E8E2-4FC8-AB33-D56929DCCE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0400" y="2333625"/>
                <a:ext cx="175529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ïš1îḓe">
                <a:extLst>
                  <a:ext uri="{FF2B5EF4-FFF2-40B4-BE49-F238E27FC236}">
                    <a16:creationId xmlns:a16="http://schemas.microsoft.com/office/drawing/2014/main" id="{BAE5CEC7-4B87-4E1C-A995-B7A19E76DB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15693" y="2333625"/>
                <a:ext cx="0" cy="274192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iS1îḓé">
            <a:extLst>
              <a:ext uri="{FF2B5EF4-FFF2-40B4-BE49-F238E27FC236}">
                <a16:creationId xmlns:a16="http://schemas.microsoft.com/office/drawing/2014/main" id="{5E92FD11-8DC7-49DB-BA3C-EB901B9D25E4}"/>
              </a:ext>
            </a:extLst>
          </p:cNvPr>
          <p:cNvSpPr/>
          <p:nvPr/>
        </p:nvSpPr>
        <p:spPr>
          <a:xfrm>
            <a:off x="3735692" y="4251881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grpSp>
        <p:nvGrpSpPr>
          <p:cNvPr id="83" name="i$ḷíďê">
            <a:extLst>
              <a:ext uri="{FF2B5EF4-FFF2-40B4-BE49-F238E27FC236}">
                <a16:creationId xmlns:a16="http://schemas.microsoft.com/office/drawing/2014/main" id="{A090309F-A201-4824-8386-B4E23F6B3A16}"/>
              </a:ext>
            </a:extLst>
          </p:cNvPr>
          <p:cNvGrpSpPr/>
          <p:nvPr/>
        </p:nvGrpSpPr>
        <p:grpSpPr>
          <a:xfrm>
            <a:off x="2728638" y="4599250"/>
            <a:ext cx="1775797" cy="961880"/>
            <a:chOff x="2306789" y="4599250"/>
            <a:chExt cx="1775797" cy="961880"/>
          </a:xfrm>
        </p:grpSpPr>
        <p:sp>
          <p:nvSpPr>
            <p:cNvPr id="84" name="íSḻíḑé">
              <a:extLst>
                <a:ext uri="{FF2B5EF4-FFF2-40B4-BE49-F238E27FC236}">
                  <a16:creationId xmlns:a16="http://schemas.microsoft.com/office/drawing/2014/main" id="{9815423B-695A-4788-8B1D-1618CE154BB6}"/>
                </a:ext>
              </a:extLst>
            </p:cNvPr>
            <p:cNvSpPr/>
            <p:nvPr/>
          </p:nvSpPr>
          <p:spPr bwMode="auto">
            <a:xfrm>
              <a:off x="2306789" y="4936033"/>
              <a:ext cx="175529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85" name="îṩḻîdè">
              <a:extLst>
                <a:ext uri="{FF2B5EF4-FFF2-40B4-BE49-F238E27FC236}">
                  <a16:creationId xmlns:a16="http://schemas.microsoft.com/office/drawing/2014/main" id="{FC1DBAF7-F4A6-4848-8AAA-C2048A400E5C}"/>
                </a:ext>
              </a:extLst>
            </p:cNvPr>
            <p:cNvGrpSpPr/>
            <p:nvPr/>
          </p:nvGrpSpPr>
          <p:grpSpPr>
            <a:xfrm flipV="1">
              <a:off x="2327293" y="4599250"/>
              <a:ext cx="1755293" cy="274192"/>
              <a:chOff x="660400" y="2333625"/>
              <a:chExt cx="1755293" cy="274192"/>
            </a:xfrm>
          </p:grpSpPr>
          <p:cxnSp>
            <p:nvCxnSpPr>
              <p:cNvPr id="86" name="îš1îdè">
                <a:extLst>
                  <a:ext uri="{FF2B5EF4-FFF2-40B4-BE49-F238E27FC236}">
                    <a16:creationId xmlns:a16="http://schemas.microsoft.com/office/drawing/2014/main" id="{33CCD318-B06A-4665-B106-061EA84DC5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0400" y="2333625"/>
                <a:ext cx="175529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îS1iḑè">
                <a:extLst>
                  <a:ext uri="{FF2B5EF4-FFF2-40B4-BE49-F238E27FC236}">
                    <a16:creationId xmlns:a16="http://schemas.microsoft.com/office/drawing/2014/main" id="{7F4E9E7B-BD57-4FAF-B3B6-03CE0B68C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15693" y="2333625"/>
                <a:ext cx="0" cy="274192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3" name="işḻiḓè">
            <a:extLst>
              <a:ext uri="{FF2B5EF4-FFF2-40B4-BE49-F238E27FC236}">
                <a16:creationId xmlns:a16="http://schemas.microsoft.com/office/drawing/2014/main" id="{0FF40BCD-530A-471C-93C4-6EB5B5997805}"/>
              </a:ext>
            </a:extLst>
          </p:cNvPr>
          <p:cNvSpPr/>
          <p:nvPr/>
        </p:nvSpPr>
        <p:spPr>
          <a:xfrm>
            <a:off x="7892673" y="4251881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grpSp>
        <p:nvGrpSpPr>
          <p:cNvPr id="74" name="iṡlide">
            <a:extLst>
              <a:ext uri="{FF2B5EF4-FFF2-40B4-BE49-F238E27FC236}">
                <a16:creationId xmlns:a16="http://schemas.microsoft.com/office/drawing/2014/main" id="{96A9DD24-15DA-4C60-957A-2ABDAE3EC9DA}"/>
              </a:ext>
            </a:extLst>
          </p:cNvPr>
          <p:cNvGrpSpPr/>
          <p:nvPr/>
        </p:nvGrpSpPr>
        <p:grpSpPr>
          <a:xfrm>
            <a:off x="6885619" y="4599250"/>
            <a:ext cx="1775797" cy="961880"/>
            <a:chOff x="2306789" y="4599250"/>
            <a:chExt cx="1775797" cy="961880"/>
          </a:xfrm>
        </p:grpSpPr>
        <p:sp>
          <p:nvSpPr>
            <p:cNvPr id="75" name="íṥlídè">
              <a:extLst>
                <a:ext uri="{FF2B5EF4-FFF2-40B4-BE49-F238E27FC236}">
                  <a16:creationId xmlns:a16="http://schemas.microsoft.com/office/drawing/2014/main" id="{28CF7DC3-A2A8-43D3-A1D3-BB073E52E651}"/>
                </a:ext>
              </a:extLst>
            </p:cNvPr>
            <p:cNvSpPr/>
            <p:nvPr/>
          </p:nvSpPr>
          <p:spPr bwMode="auto">
            <a:xfrm>
              <a:off x="2306789" y="4936033"/>
              <a:ext cx="175529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76" name="iṩḻîďê">
              <a:extLst>
                <a:ext uri="{FF2B5EF4-FFF2-40B4-BE49-F238E27FC236}">
                  <a16:creationId xmlns:a16="http://schemas.microsoft.com/office/drawing/2014/main" id="{26FA656D-F3F8-4AA1-8530-B6F9013C4CEC}"/>
                </a:ext>
              </a:extLst>
            </p:cNvPr>
            <p:cNvGrpSpPr/>
            <p:nvPr/>
          </p:nvGrpSpPr>
          <p:grpSpPr>
            <a:xfrm flipV="1">
              <a:off x="2327293" y="4599250"/>
              <a:ext cx="1755293" cy="274192"/>
              <a:chOff x="660400" y="2333625"/>
              <a:chExt cx="1755293" cy="274192"/>
            </a:xfrm>
          </p:grpSpPr>
          <p:cxnSp>
            <p:nvCxnSpPr>
              <p:cNvPr id="77" name="íṥ1íḓê">
                <a:extLst>
                  <a:ext uri="{FF2B5EF4-FFF2-40B4-BE49-F238E27FC236}">
                    <a16:creationId xmlns:a16="http://schemas.microsoft.com/office/drawing/2014/main" id="{EFFCF3DC-58EC-4F79-87B1-68D04EEED3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0400" y="2333625"/>
                <a:ext cx="175529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ï$ļíḍé">
                <a:extLst>
                  <a:ext uri="{FF2B5EF4-FFF2-40B4-BE49-F238E27FC236}">
                    <a16:creationId xmlns:a16="http://schemas.microsoft.com/office/drawing/2014/main" id="{40F06B8B-1362-4DD1-88FC-D33B67412C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15693" y="2333625"/>
                <a:ext cx="0" cy="274192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5" name="îṣļíḍé">
            <a:extLst>
              <a:ext uri="{FF2B5EF4-FFF2-40B4-BE49-F238E27FC236}">
                <a16:creationId xmlns:a16="http://schemas.microsoft.com/office/drawing/2014/main" id="{EA3746E2-208E-4055-B280-9B29CAA49D25}"/>
              </a:ext>
            </a:extLst>
          </p:cNvPr>
          <p:cNvSpPr/>
          <p:nvPr/>
        </p:nvSpPr>
        <p:spPr>
          <a:xfrm>
            <a:off x="5803931" y="2607817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57" name="íŝḷïdé">
            <a:extLst>
              <a:ext uri="{FF2B5EF4-FFF2-40B4-BE49-F238E27FC236}">
                <a16:creationId xmlns:a16="http://schemas.microsoft.com/office/drawing/2014/main" id="{4DD0DD2C-35A7-4522-8E5A-35329F4DDE81}"/>
              </a:ext>
            </a:extLst>
          </p:cNvPr>
          <p:cNvSpPr/>
          <p:nvPr/>
        </p:nvSpPr>
        <p:spPr bwMode="auto">
          <a:xfrm>
            <a:off x="4817380" y="1609418"/>
            <a:ext cx="1755293" cy="6250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cxnSp>
        <p:nvCxnSpPr>
          <p:cNvPr id="59" name="i$1ïde">
            <a:extLst>
              <a:ext uri="{FF2B5EF4-FFF2-40B4-BE49-F238E27FC236}">
                <a16:creationId xmlns:a16="http://schemas.microsoft.com/office/drawing/2014/main" id="{2E441776-A66A-464C-8A38-F741304B4986}"/>
              </a:ext>
            </a:extLst>
          </p:cNvPr>
          <p:cNvCxnSpPr>
            <a:cxnSpLocks/>
          </p:cNvCxnSpPr>
          <p:nvPr/>
        </p:nvCxnSpPr>
        <p:spPr>
          <a:xfrm>
            <a:off x="4817381" y="2333625"/>
            <a:ext cx="175529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íṡ1ïḑè">
            <a:extLst>
              <a:ext uri="{FF2B5EF4-FFF2-40B4-BE49-F238E27FC236}">
                <a16:creationId xmlns:a16="http://schemas.microsoft.com/office/drawing/2014/main" id="{7AB18FD9-30CA-4405-9845-8D80F5186B68}"/>
              </a:ext>
            </a:extLst>
          </p:cNvPr>
          <p:cNvCxnSpPr>
            <a:cxnSpLocks/>
          </p:cNvCxnSpPr>
          <p:nvPr/>
        </p:nvCxnSpPr>
        <p:spPr>
          <a:xfrm>
            <a:off x="6572674" y="2333625"/>
            <a:ext cx="0" cy="27419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íŝḷíḋê">
            <a:extLst>
              <a:ext uri="{FF2B5EF4-FFF2-40B4-BE49-F238E27FC236}">
                <a16:creationId xmlns:a16="http://schemas.microsoft.com/office/drawing/2014/main" id="{AC3A7BCC-0C83-4CAC-8B58-47E623616662}"/>
              </a:ext>
            </a:extLst>
          </p:cNvPr>
          <p:cNvCxnSpPr>
            <a:cxnSpLocks/>
          </p:cNvCxnSpPr>
          <p:nvPr/>
        </p:nvCxnSpPr>
        <p:spPr>
          <a:xfrm>
            <a:off x="8930422" y="2315336"/>
            <a:ext cx="175529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îš1îḓè">
            <a:extLst>
              <a:ext uri="{FF2B5EF4-FFF2-40B4-BE49-F238E27FC236}">
                <a16:creationId xmlns:a16="http://schemas.microsoft.com/office/drawing/2014/main" id="{C748FFBA-9D5A-404D-B350-DA00106D6D8F}"/>
              </a:ext>
            </a:extLst>
          </p:cNvPr>
          <p:cNvCxnSpPr>
            <a:cxnSpLocks/>
          </p:cNvCxnSpPr>
          <p:nvPr/>
        </p:nvCxnSpPr>
        <p:spPr>
          <a:xfrm>
            <a:off x="10685715" y="2315336"/>
            <a:ext cx="0" cy="27419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îṣ1íḍe">
            <a:extLst>
              <a:ext uri="{FF2B5EF4-FFF2-40B4-BE49-F238E27FC236}">
                <a16:creationId xmlns:a16="http://schemas.microsoft.com/office/drawing/2014/main" id="{3519CFCA-AADE-4C1E-9E4E-9BBCA24C891D}"/>
              </a:ext>
            </a:extLst>
          </p:cNvPr>
          <p:cNvSpPr/>
          <p:nvPr/>
        </p:nvSpPr>
        <p:spPr bwMode="auto">
          <a:xfrm>
            <a:off x="8930421" y="1591129"/>
            <a:ext cx="1755293" cy="6250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02" name="iṡľîḍè">
            <a:extLst>
              <a:ext uri="{FF2B5EF4-FFF2-40B4-BE49-F238E27FC236}">
                <a16:creationId xmlns:a16="http://schemas.microsoft.com/office/drawing/2014/main" id="{F17B4A2B-94A6-479E-B426-151CC7DE9DE9}"/>
              </a:ext>
            </a:extLst>
          </p:cNvPr>
          <p:cNvSpPr/>
          <p:nvPr/>
        </p:nvSpPr>
        <p:spPr>
          <a:xfrm>
            <a:off x="9916972" y="2589528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114" name="ïS1îdê">
            <a:extLst>
              <a:ext uri="{FF2B5EF4-FFF2-40B4-BE49-F238E27FC236}">
                <a16:creationId xmlns:a16="http://schemas.microsoft.com/office/drawing/2014/main" id="{6BE3333C-E530-48E5-8599-1896458E9CE4}"/>
              </a:ext>
            </a:extLst>
          </p:cNvPr>
          <p:cNvSpPr>
            <a:spLocks noChangeAspect="1"/>
          </p:cNvSpPr>
          <p:nvPr/>
        </p:nvSpPr>
        <p:spPr bwMode="auto">
          <a:xfrm>
            <a:off x="2269434" y="3502430"/>
            <a:ext cx="292517" cy="266418"/>
          </a:xfrm>
          <a:custGeom>
            <a:avLst/>
            <a:gdLst>
              <a:gd name="T0" fmla="*/ 52 w 224"/>
              <a:gd name="T1" fmla="*/ 96 h 204"/>
              <a:gd name="T2" fmla="*/ 52 w 224"/>
              <a:gd name="T3" fmla="*/ 116 h 204"/>
              <a:gd name="T4" fmla="*/ 60 w 224"/>
              <a:gd name="T5" fmla="*/ 116 h 204"/>
              <a:gd name="T6" fmla="*/ 60 w 224"/>
              <a:gd name="T7" fmla="*/ 96 h 204"/>
              <a:gd name="T8" fmla="*/ 164 w 224"/>
              <a:gd name="T9" fmla="*/ 96 h 204"/>
              <a:gd name="T10" fmla="*/ 164 w 224"/>
              <a:gd name="T11" fmla="*/ 116 h 204"/>
              <a:gd name="T12" fmla="*/ 172 w 224"/>
              <a:gd name="T13" fmla="*/ 116 h 204"/>
              <a:gd name="T14" fmla="*/ 172 w 224"/>
              <a:gd name="T15" fmla="*/ 96 h 204"/>
              <a:gd name="T16" fmla="*/ 224 w 224"/>
              <a:gd name="T17" fmla="*/ 96 h 204"/>
              <a:gd name="T18" fmla="*/ 224 w 224"/>
              <a:gd name="T19" fmla="*/ 192 h 204"/>
              <a:gd name="T20" fmla="*/ 212 w 224"/>
              <a:gd name="T21" fmla="*/ 204 h 204"/>
              <a:gd name="T22" fmla="*/ 12 w 224"/>
              <a:gd name="T23" fmla="*/ 204 h 204"/>
              <a:gd name="T24" fmla="*/ 0 w 224"/>
              <a:gd name="T25" fmla="*/ 192 h 204"/>
              <a:gd name="T26" fmla="*/ 0 w 224"/>
              <a:gd name="T27" fmla="*/ 96 h 204"/>
              <a:gd name="T28" fmla="*/ 52 w 224"/>
              <a:gd name="T29" fmla="*/ 96 h 204"/>
              <a:gd name="T30" fmla="*/ 156 w 224"/>
              <a:gd name="T31" fmla="*/ 0 h 204"/>
              <a:gd name="T32" fmla="*/ 172 w 224"/>
              <a:gd name="T33" fmla="*/ 15 h 204"/>
              <a:gd name="T34" fmla="*/ 172 w 224"/>
              <a:gd name="T35" fmla="*/ 16 h 204"/>
              <a:gd name="T36" fmla="*/ 172 w 224"/>
              <a:gd name="T37" fmla="*/ 48 h 204"/>
              <a:gd name="T38" fmla="*/ 212 w 224"/>
              <a:gd name="T39" fmla="*/ 48 h 204"/>
              <a:gd name="T40" fmla="*/ 224 w 224"/>
              <a:gd name="T41" fmla="*/ 60 h 204"/>
              <a:gd name="T42" fmla="*/ 224 w 224"/>
              <a:gd name="T43" fmla="*/ 88 h 204"/>
              <a:gd name="T44" fmla="*/ 0 w 224"/>
              <a:gd name="T45" fmla="*/ 88 h 204"/>
              <a:gd name="T46" fmla="*/ 0 w 224"/>
              <a:gd name="T47" fmla="*/ 60 h 204"/>
              <a:gd name="T48" fmla="*/ 12 w 224"/>
              <a:gd name="T49" fmla="*/ 48 h 204"/>
              <a:gd name="T50" fmla="*/ 52 w 224"/>
              <a:gd name="T51" fmla="*/ 48 h 204"/>
              <a:gd name="T52" fmla="*/ 52 w 224"/>
              <a:gd name="T53" fmla="*/ 16 h 204"/>
              <a:gd name="T54" fmla="*/ 67 w 224"/>
              <a:gd name="T55" fmla="*/ 0 h 204"/>
              <a:gd name="T56" fmla="*/ 68 w 224"/>
              <a:gd name="T57" fmla="*/ 0 h 204"/>
              <a:gd name="T58" fmla="*/ 156 w 224"/>
              <a:gd name="T59" fmla="*/ 0 h 204"/>
              <a:gd name="T60" fmla="*/ 156 w 224"/>
              <a:gd name="T61" fmla="*/ 8 h 204"/>
              <a:gd name="T62" fmla="*/ 68 w 224"/>
              <a:gd name="T63" fmla="*/ 8 h 204"/>
              <a:gd name="T64" fmla="*/ 60 w 224"/>
              <a:gd name="T65" fmla="*/ 15 h 204"/>
              <a:gd name="T66" fmla="*/ 60 w 224"/>
              <a:gd name="T67" fmla="*/ 16 h 204"/>
              <a:gd name="T68" fmla="*/ 60 w 224"/>
              <a:gd name="T69" fmla="*/ 48 h 204"/>
              <a:gd name="T70" fmla="*/ 164 w 224"/>
              <a:gd name="T71" fmla="*/ 48 h 204"/>
              <a:gd name="T72" fmla="*/ 164 w 224"/>
              <a:gd name="T73" fmla="*/ 16 h 204"/>
              <a:gd name="T74" fmla="*/ 157 w 224"/>
              <a:gd name="T75" fmla="*/ 8 h 204"/>
              <a:gd name="T76" fmla="*/ 157 w 224"/>
              <a:gd name="T77" fmla="*/ 8 h 204"/>
              <a:gd name="T78" fmla="*/ 156 w 224"/>
              <a:gd name="T79" fmla="*/ 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24" h="204">
                <a:moveTo>
                  <a:pt x="52" y="96"/>
                </a:moveTo>
                <a:cubicBezTo>
                  <a:pt x="52" y="116"/>
                  <a:pt x="52" y="116"/>
                  <a:pt x="52" y="116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96"/>
                  <a:pt x="60" y="96"/>
                  <a:pt x="60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116"/>
                  <a:pt x="164" y="116"/>
                  <a:pt x="164" y="116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72" y="96"/>
                  <a:pt x="172" y="96"/>
                  <a:pt x="172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192"/>
                  <a:pt x="224" y="192"/>
                  <a:pt x="224" y="192"/>
                </a:cubicBezTo>
                <a:cubicBezTo>
                  <a:pt x="224" y="199"/>
                  <a:pt x="219" y="204"/>
                  <a:pt x="212" y="204"/>
                </a:cubicBezTo>
                <a:cubicBezTo>
                  <a:pt x="12" y="204"/>
                  <a:pt x="12" y="204"/>
                  <a:pt x="12" y="204"/>
                </a:cubicBezTo>
                <a:cubicBezTo>
                  <a:pt x="5" y="204"/>
                  <a:pt x="0" y="199"/>
                  <a:pt x="0" y="192"/>
                </a:cubicBezTo>
                <a:cubicBezTo>
                  <a:pt x="0" y="96"/>
                  <a:pt x="0" y="96"/>
                  <a:pt x="0" y="96"/>
                </a:cubicBezTo>
                <a:lnTo>
                  <a:pt x="52" y="96"/>
                </a:lnTo>
                <a:close/>
                <a:moveTo>
                  <a:pt x="156" y="0"/>
                </a:moveTo>
                <a:cubicBezTo>
                  <a:pt x="165" y="0"/>
                  <a:pt x="172" y="7"/>
                  <a:pt x="172" y="15"/>
                </a:cubicBezTo>
                <a:cubicBezTo>
                  <a:pt x="172" y="16"/>
                  <a:pt x="172" y="16"/>
                  <a:pt x="172" y="16"/>
                </a:cubicBezTo>
                <a:cubicBezTo>
                  <a:pt x="172" y="48"/>
                  <a:pt x="172" y="48"/>
                  <a:pt x="172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88"/>
                  <a:pt x="224" y="88"/>
                  <a:pt x="224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3"/>
                  <a:pt x="5" y="48"/>
                  <a:pt x="1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16"/>
                  <a:pt x="52" y="16"/>
                  <a:pt x="52" y="16"/>
                </a:cubicBezTo>
                <a:cubicBezTo>
                  <a:pt x="52" y="7"/>
                  <a:pt x="59" y="0"/>
                  <a:pt x="67" y="0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  <a:moveTo>
                  <a:pt x="156" y="8"/>
                </a:moveTo>
                <a:cubicBezTo>
                  <a:pt x="68" y="8"/>
                  <a:pt x="68" y="8"/>
                  <a:pt x="68" y="8"/>
                </a:cubicBezTo>
                <a:cubicBezTo>
                  <a:pt x="64" y="8"/>
                  <a:pt x="60" y="11"/>
                  <a:pt x="60" y="15"/>
                </a:cubicBezTo>
                <a:cubicBezTo>
                  <a:pt x="60" y="16"/>
                  <a:pt x="60" y="16"/>
                  <a:pt x="60" y="16"/>
                </a:cubicBezTo>
                <a:cubicBezTo>
                  <a:pt x="60" y="48"/>
                  <a:pt x="60" y="48"/>
                  <a:pt x="60" y="48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164" y="16"/>
                  <a:pt x="164" y="16"/>
                  <a:pt x="164" y="16"/>
                </a:cubicBezTo>
                <a:cubicBezTo>
                  <a:pt x="164" y="12"/>
                  <a:pt x="161" y="9"/>
                  <a:pt x="157" y="8"/>
                </a:cubicBezTo>
                <a:cubicBezTo>
                  <a:pt x="157" y="8"/>
                  <a:pt x="157" y="8"/>
                  <a:pt x="157" y="8"/>
                </a:cubicBezTo>
                <a:lnTo>
                  <a:pt x="156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16" name="îṧ1ídê">
            <a:extLst>
              <a:ext uri="{FF2B5EF4-FFF2-40B4-BE49-F238E27FC236}">
                <a16:creationId xmlns:a16="http://schemas.microsoft.com/office/drawing/2014/main" id="{73ED7017-31AD-4BDC-9CFA-8A87A901423D}"/>
              </a:ext>
            </a:extLst>
          </p:cNvPr>
          <p:cNvSpPr>
            <a:spLocks noChangeAspect="1"/>
          </p:cNvSpPr>
          <p:nvPr/>
        </p:nvSpPr>
        <p:spPr bwMode="auto">
          <a:xfrm>
            <a:off x="4337673" y="3517691"/>
            <a:ext cx="292517" cy="221453"/>
          </a:xfrm>
          <a:custGeom>
            <a:avLst/>
            <a:gdLst>
              <a:gd name="T0" fmla="*/ 212 w 224"/>
              <a:gd name="T1" fmla="*/ 0 h 168"/>
              <a:gd name="T2" fmla="*/ 224 w 224"/>
              <a:gd name="T3" fmla="*/ 12 h 168"/>
              <a:gd name="T4" fmla="*/ 224 w 224"/>
              <a:gd name="T5" fmla="*/ 156 h 168"/>
              <a:gd name="T6" fmla="*/ 212 w 224"/>
              <a:gd name="T7" fmla="*/ 168 h 168"/>
              <a:gd name="T8" fmla="*/ 12 w 224"/>
              <a:gd name="T9" fmla="*/ 168 h 168"/>
              <a:gd name="T10" fmla="*/ 0 w 224"/>
              <a:gd name="T11" fmla="*/ 156 h 168"/>
              <a:gd name="T12" fmla="*/ 0 w 224"/>
              <a:gd name="T13" fmla="*/ 12 h 168"/>
              <a:gd name="T14" fmla="*/ 12 w 224"/>
              <a:gd name="T15" fmla="*/ 0 h 168"/>
              <a:gd name="T16" fmla="*/ 212 w 224"/>
              <a:gd name="T17" fmla="*/ 0 h 168"/>
              <a:gd name="T18" fmla="*/ 164 w 224"/>
              <a:gd name="T19" fmla="*/ 83 h 168"/>
              <a:gd name="T20" fmla="*/ 147 w 224"/>
              <a:gd name="T21" fmla="*/ 85 h 168"/>
              <a:gd name="T22" fmla="*/ 112 w 224"/>
              <a:gd name="T23" fmla="*/ 132 h 168"/>
              <a:gd name="T24" fmla="*/ 111 w 224"/>
              <a:gd name="T25" fmla="*/ 133 h 168"/>
              <a:gd name="T26" fmla="*/ 94 w 224"/>
              <a:gd name="T27" fmla="*/ 134 h 168"/>
              <a:gd name="T28" fmla="*/ 68 w 224"/>
              <a:gd name="T29" fmla="*/ 108 h 168"/>
              <a:gd name="T30" fmla="*/ 67 w 224"/>
              <a:gd name="T31" fmla="*/ 107 h 168"/>
              <a:gd name="T32" fmla="*/ 50 w 224"/>
              <a:gd name="T33" fmla="*/ 109 h 168"/>
              <a:gd name="T34" fmla="*/ 13 w 224"/>
              <a:gd name="T35" fmla="*/ 153 h 168"/>
              <a:gd name="T36" fmla="*/ 12 w 224"/>
              <a:gd name="T37" fmla="*/ 156 h 168"/>
              <a:gd name="T38" fmla="*/ 16 w 224"/>
              <a:gd name="T39" fmla="*/ 160 h 168"/>
              <a:gd name="T40" fmla="*/ 209 w 224"/>
              <a:gd name="T41" fmla="*/ 160 h 168"/>
              <a:gd name="T42" fmla="*/ 211 w 224"/>
              <a:gd name="T43" fmla="*/ 159 h 168"/>
              <a:gd name="T44" fmla="*/ 212 w 224"/>
              <a:gd name="T45" fmla="*/ 154 h 168"/>
              <a:gd name="T46" fmla="*/ 167 w 224"/>
              <a:gd name="T47" fmla="*/ 86 h 168"/>
              <a:gd name="T48" fmla="*/ 164 w 224"/>
              <a:gd name="T49" fmla="*/ 83 h 168"/>
              <a:gd name="T50" fmla="*/ 40 w 224"/>
              <a:gd name="T51" fmla="*/ 24 h 168"/>
              <a:gd name="T52" fmla="*/ 24 w 224"/>
              <a:gd name="T53" fmla="*/ 40 h 168"/>
              <a:gd name="T54" fmla="*/ 40 w 224"/>
              <a:gd name="T55" fmla="*/ 56 h 168"/>
              <a:gd name="T56" fmla="*/ 56 w 224"/>
              <a:gd name="T57" fmla="*/ 40 h 168"/>
              <a:gd name="T58" fmla="*/ 40 w 224"/>
              <a:gd name="T59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4" h="168">
                <a:moveTo>
                  <a:pt x="212" y="0"/>
                </a:moveTo>
                <a:cubicBezTo>
                  <a:pt x="219" y="0"/>
                  <a:pt x="224" y="5"/>
                  <a:pt x="224" y="12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4" y="163"/>
                  <a:pt x="219" y="168"/>
                  <a:pt x="212" y="168"/>
                </a:cubicBezTo>
                <a:cubicBezTo>
                  <a:pt x="12" y="168"/>
                  <a:pt x="12" y="168"/>
                  <a:pt x="12" y="168"/>
                </a:cubicBezTo>
                <a:cubicBezTo>
                  <a:pt x="5" y="168"/>
                  <a:pt x="0" y="163"/>
                  <a:pt x="0" y="15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12" y="0"/>
                </a:lnTo>
                <a:close/>
                <a:moveTo>
                  <a:pt x="164" y="83"/>
                </a:moveTo>
                <a:cubicBezTo>
                  <a:pt x="159" y="79"/>
                  <a:pt x="151" y="80"/>
                  <a:pt x="147" y="85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112" y="133"/>
                  <a:pt x="111" y="133"/>
                  <a:pt x="111" y="133"/>
                </a:cubicBezTo>
                <a:cubicBezTo>
                  <a:pt x="106" y="138"/>
                  <a:pt x="99" y="138"/>
                  <a:pt x="94" y="134"/>
                </a:cubicBezTo>
                <a:cubicBezTo>
                  <a:pt x="68" y="108"/>
                  <a:pt x="68" y="108"/>
                  <a:pt x="68" y="108"/>
                </a:cubicBezTo>
                <a:cubicBezTo>
                  <a:pt x="67" y="107"/>
                  <a:pt x="67" y="107"/>
                  <a:pt x="67" y="107"/>
                </a:cubicBezTo>
                <a:cubicBezTo>
                  <a:pt x="62" y="103"/>
                  <a:pt x="54" y="104"/>
                  <a:pt x="50" y="109"/>
                </a:cubicBezTo>
                <a:cubicBezTo>
                  <a:pt x="13" y="153"/>
                  <a:pt x="13" y="153"/>
                  <a:pt x="13" y="153"/>
                </a:cubicBezTo>
                <a:cubicBezTo>
                  <a:pt x="13" y="154"/>
                  <a:pt x="12" y="155"/>
                  <a:pt x="12" y="156"/>
                </a:cubicBezTo>
                <a:cubicBezTo>
                  <a:pt x="12" y="158"/>
                  <a:pt x="14" y="160"/>
                  <a:pt x="16" y="160"/>
                </a:cubicBezTo>
                <a:cubicBezTo>
                  <a:pt x="209" y="160"/>
                  <a:pt x="209" y="160"/>
                  <a:pt x="209" y="160"/>
                </a:cubicBezTo>
                <a:cubicBezTo>
                  <a:pt x="209" y="160"/>
                  <a:pt x="210" y="160"/>
                  <a:pt x="211" y="159"/>
                </a:cubicBezTo>
                <a:cubicBezTo>
                  <a:pt x="213" y="158"/>
                  <a:pt x="213" y="156"/>
                  <a:pt x="212" y="154"/>
                </a:cubicBezTo>
                <a:cubicBezTo>
                  <a:pt x="167" y="86"/>
                  <a:pt x="167" y="86"/>
                  <a:pt x="167" y="86"/>
                </a:cubicBezTo>
                <a:cubicBezTo>
                  <a:pt x="166" y="85"/>
                  <a:pt x="165" y="84"/>
                  <a:pt x="164" y="83"/>
                </a:cubicBez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18" name="ïşľïḍe">
            <a:extLst>
              <a:ext uri="{FF2B5EF4-FFF2-40B4-BE49-F238E27FC236}">
                <a16:creationId xmlns:a16="http://schemas.microsoft.com/office/drawing/2014/main" id="{1742C81F-E431-431B-ACA5-C1AA82A76F24}"/>
              </a:ext>
            </a:extLst>
          </p:cNvPr>
          <p:cNvSpPr>
            <a:spLocks noChangeAspect="1"/>
          </p:cNvSpPr>
          <p:nvPr/>
        </p:nvSpPr>
        <p:spPr bwMode="auto">
          <a:xfrm>
            <a:off x="6405911" y="3490279"/>
            <a:ext cx="292517" cy="289211"/>
          </a:xfrm>
          <a:custGeom>
            <a:avLst/>
            <a:gdLst>
              <a:gd name="T0" fmla="*/ 144 w 224"/>
              <a:gd name="T1" fmla="*/ 116 h 220"/>
              <a:gd name="T2" fmla="*/ 156 w 224"/>
              <a:gd name="T3" fmla="*/ 128 h 220"/>
              <a:gd name="T4" fmla="*/ 156 w 224"/>
              <a:gd name="T5" fmla="*/ 208 h 220"/>
              <a:gd name="T6" fmla="*/ 144 w 224"/>
              <a:gd name="T7" fmla="*/ 220 h 220"/>
              <a:gd name="T8" fmla="*/ 80 w 224"/>
              <a:gd name="T9" fmla="*/ 220 h 220"/>
              <a:gd name="T10" fmla="*/ 68 w 224"/>
              <a:gd name="T11" fmla="*/ 208 h 220"/>
              <a:gd name="T12" fmla="*/ 68 w 224"/>
              <a:gd name="T13" fmla="*/ 128 h 220"/>
              <a:gd name="T14" fmla="*/ 80 w 224"/>
              <a:gd name="T15" fmla="*/ 116 h 220"/>
              <a:gd name="T16" fmla="*/ 144 w 224"/>
              <a:gd name="T17" fmla="*/ 116 h 220"/>
              <a:gd name="T18" fmla="*/ 60 w 224"/>
              <a:gd name="T19" fmla="*/ 48 h 220"/>
              <a:gd name="T20" fmla="*/ 75 w 224"/>
              <a:gd name="T21" fmla="*/ 64 h 220"/>
              <a:gd name="T22" fmla="*/ 76 w 224"/>
              <a:gd name="T23" fmla="*/ 64 h 220"/>
              <a:gd name="T24" fmla="*/ 148 w 224"/>
              <a:gd name="T25" fmla="*/ 64 h 220"/>
              <a:gd name="T26" fmla="*/ 164 w 224"/>
              <a:gd name="T27" fmla="*/ 49 h 220"/>
              <a:gd name="T28" fmla="*/ 164 w 224"/>
              <a:gd name="T29" fmla="*/ 48 h 220"/>
              <a:gd name="T30" fmla="*/ 212 w 224"/>
              <a:gd name="T31" fmla="*/ 48 h 220"/>
              <a:gd name="T32" fmla="*/ 224 w 224"/>
              <a:gd name="T33" fmla="*/ 60 h 220"/>
              <a:gd name="T34" fmla="*/ 224 w 224"/>
              <a:gd name="T35" fmla="*/ 160 h 220"/>
              <a:gd name="T36" fmla="*/ 212 w 224"/>
              <a:gd name="T37" fmla="*/ 172 h 220"/>
              <a:gd name="T38" fmla="*/ 164 w 224"/>
              <a:gd name="T39" fmla="*/ 172 h 220"/>
              <a:gd name="T40" fmla="*/ 164 w 224"/>
              <a:gd name="T41" fmla="*/ 124 h 220"/>
              <a:gd name="T42" fmla="*/ 149 w 224"/>
              <a:gd name="T43" fmla="*/ 108 h 220"/>
              <a:gd name="T44" fmla="*/ 148 w 224"/>
              <a:gd name="T45" fmla="*/ 108 h 220"/>
              <a:gd name="T46" fmla="*/ 76 w 224"/>
              <a:gd name="T47" fmla="*/ 108 h 220"/>
              <a:gd name="T48" fmla="*/ 60 w 224"/>
              <a:gd name="T49" fmla="*/ 123 h 220"/>
              <a:gd name="T50" fmla="*/ 60 w 224"/>
              <a:gd name="T51" fmla="*/ 124 h 220"/>
              <a:gd name="T52" fmla="*/ 60 w 224"/>
              <a:gd name="T53" fmla="*/ 172 h 220"/>
              <a:gd name="T54" fmla="*/ 12 w 224"/>
              <a:gd name="T55" fmla="*/ 172 h 220"/>
              <a:gd name="T56" fmla="*/ 0 w 224"/>
              <a:gd name="T57" fmla="*/ 160 h 220"/>
              <a:gd name="T58" fmla="*/ 0 w 224"/>
              <a:gd name="T59" fmla="*/ 84 h 220"/>
              <a:gd name="T60" fmla="*/ 4 w 224"/>
              <a:gd name="T61" fmla="*/ 73 h 220"/>
              <a:gd name="T62" fmla="*/ 23 w 224"/>
              <a:gd name="T63" fmla="*/ 53 h 220"/>
              <a:gd name="T64" fmla="*/ 35 w 224"/>
              <a:gd name="T65" fmla="*/ 48 h 220"/>
              <a:gd name="T66" fmla="*/ 60 w 224"/>
              <a:gd name="T67" fmla="*/ 48 h 220"/>
              <a:gd name="T68" fmla="*/ 194 w 224"/>
              <a:gd name="T69" fmla="*/ 72 h 220"/>
              <a:gd name="T70" fmla="*/ 188 w 224"/>
              <a:gd name="T71" fmla="*/ 78 h 220"/>
              <a:gd name="T72" fmla="*/ 194 w 224"/>
              <a:gd name="T73" fmla="*/ 84 h 220"/>
              <a:gd name="T74" fmla="*/ 200 w 224"/>
              <a:gd name="T75" fmla="*/ 78 h 220"/>
              <a:gd name="T76" fmla="*/ 194 w 224"/>
              <a:gd name="T77" fmla="*/ 72 h 220"/>
              <a:gd name="T78" fmla="*/ 144 w 224"/>
              <a:gd name="T79" fmla="*/ 0 h 220"/>
              <a:gd name="T80" fmla="*/ 156 w 224"/>
              <a:gd name="T81" fmla="*/ 12 h 220"/>
              <a:gd name="T82" fmla="*/ 156 w 224"/>
              <a:gd name="T83" fmla="*/ 44 h 220"/>
              <a:gd name="T84" fmla="*/ 144 w 224"/>
              <a:gd name="T85" fmla="*/ 56 h 220"/>
              <a:gd name="T86" fmla="*/ 80 w 224"/>
              <a:gd name="T87" fmla="*/ 56 h 220"/>
              <a:gd name="T88" fmla="*/ 68 w 224"/>
              <a:gd name="T89" fmla="*/ 44 h 220"/>
              <a:gd name="T90" fmla="*/ 68 w 224"/>
              <a:gd name="T91" fmla="*/ 12 h 220"/>
              <a:gd name="T92" fmla="*/ 80 w 224"/>
              <a:gd name="T93" fmla="*/ 0 h 220"/>
              <a:gd name="T94" fmla="*/ 144 w 224"/>
              <a:gd name="T95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4" h="220">
                <a:moveTo>
                  <a:pt x="144" y="116"/>
                </a:moveTo>
                <a:cubicBezTo>
                  <a:pt x="151" y="116"/>
                  <a:pt x="156" y="121"/>
                  <a:pt x="156" y="128"/>
                </a:cubicBezTo>
                <a:cubicBezTo>
                  <a:pt x="156" y="208"/>
                  <a:pt x="156" y="208"/>
                  <a:pt x="156" y="208"/>
                </a:cubicBezTo>
                <a:cubicBezTo>
                  <a:pt x="156" y="215"/>
                  <a:pt x="151" y="220"/>
                  <a:pt x="144" y="220"/>
                </a:cubicBezTo>
                <a:cubicBezTo>
                  <a:pt x="80" y="220"/>
                  <a:pt x="80" y="220"/>
                  <a:pt x="80" y="220"/>
                </a:cubicBezTo>
                <a:cubicBezTo>
                  <a:pt x="73" y="220"/>
                  <a:pt x="68" y="215"/>
                  <a:pt x="68" y="208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1"/>
                  <a:pt x="73" y="116"/>
                  <a:pt x="80" y="116"/>
                </a:cubicBezTo>
                <a:lnTo>
                  <a:pt x="144" y="116"/>
                </a:lnTo>
                <a:close/>
                <a:moveTo>
                  <a:pt x="60" y="48"/>
                </a:moveTo>
                <a:cubicBezTo>
                  <a:pt x="60" y="57"/>
                  <a:pt x="67" y="64"/>
                  <a:pt x="75" y="64"/>
                </a:cubicBezTo>
                <a:cubicBezTo>
                  <a:pt x="76" y="64"/>
                  <a:pt x="76" y="64"/>
                  <a:pt x="76" y="64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57" y="64"/>
                  <a:pt x="164" y="57"/>
                  <a:pt x="164" y="49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12" y="48"/>
                  <a:pt x="212" y="48"/>
                  <a:pt x="212" y="48"/>
                </a:cubicBezTo>
                <a:cubicBezTo>
                  <a:pt x="219" y="48"/>
                  <a:pt x="224" y="53"/>
                  <a:pt x="224" y="60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24" y="167"/>
                  <a:pt x="219" y="172"/>
                  <a:pt x="212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4" y="115"/>
                  <a:pt x="157" y="108"/>
                  <a:pt x="149" y="108"/>
                </a:cubicBezTo>
                <a:cubicBezTo>
                  <a:pt x="148" y="108"/>
                  <a:pt x="148" y="108"/>
                  <a:pt x="148" y="108"/>
                </a:cubicBezTo>
                <a:cubicBezTo>
                  <a:pt x="76" y="108"/>
                  <a:pt x="76" y="108"/>
                  <a:pt x="76" y="108"/>
                </a:cubicBezTo>
                <a:cubicBezTo>
                  <a:pt x="67" y="108"/>
                  <a:pt x="60" y="115"/>
                  <a:pt x="60" y="123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12" y="172"/>
                  <a:pt x="12" y="172"/>
                  <a:pt x="12" y="172"/>
                </a:cubicBezTo>
                <a:cubicBezTo>
                  <a:pt x="5" y="172"/>
                  <a:pt x="0" y="167"/>
                  <a:pt x="0" y="160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0"/>
                  <a:pt x="2" y="76"/>
                  <a:pt x="4" y="73"/>
                </a:cubicBezTo>
                <a:cubicBezTo>
                  <a:pt x="23" y="53"/>
                  <a:pt x="23" y="53"/>
                  <a:pt x="23" y="53"/>
                </a:cubicBezTo>
                <a:cubicBezTo>
                  <a:pt x="26" y="50"/>
                  <a:pt x="31" y="48"/>
                  <a:pt x="35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44" y="0"/>
                </a:moveTo>
                <a:cubicBezTo>
                  <a:pt x="151" y="0"/>
                  <a:pt x="156" y="5"/>
                  <a:pt x="156" y="12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56" y="51"/>
                  <a:pt x="151" y="56"/>
                  <a:pt x="144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73" y="56"/>
                  <a:pt x="68" y="51"/>
                  <a:pt x="68" y="4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73" y="0"/>
                  <a:pt x="80" y="0"/>
                </a:cubicBezTo>
                <a:lnTo>
                  <a:pt x="1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20" name="íṡļîdé">
            <a:extLst>
              <a:ext uri="{FF2B5EF4-FFF2-40B4-BE49-F238E27FC236}">
                <a16:creationId xmlns:a16="http://schemas.microsoft.com/office/drawing/2014/main" id="{E38F9B0B-9B44-44EF-B9B5-5F0ED48E06EA}"/>
              </a:ext>
            </a:extLst>
          </p:cNvPr>
          <p:cNvSpPr>
            <a:spLocks noChangeAspect="1"/>
          </p:cNvSpPr>
          <p:nvPr/>
        </p:nvSpPr>
        <p:spPr bwMode="auto">
          <a:xfrm>
            <a:off x="8494653" y="3496109"/>
            <a:ext cx="292517" cy="235734"/>
          </a:xfrm>
          <a:custGeom>
            <a:avLst/>
            <a:gdLst>
              <a:gd name="T0" fmla="*/ 204 w 216"/>
              <a:gd name="T1" fmla="*/ 0 h 172"/>
              <a:gd name="T2" fmla="*/ 216 w 216"/>
              <a:gd name="T3" fmla="*/ 12 h 172"/>
              <a:gd name="T4" fmla="*/ 216 w 216"/>
              <a:gd name="T5" fmla="*/ 136 h 172"/>
              <a:gd name="T6" fmla="*/ 204 w 216"/>
              <a:gd name="T7" fmla="*/ 148 h 172"/>
              <a:gd name="T8" fmla="*/ 80 w 216"/>
              <a:gd name="T9" fmla="*/ 148 h 172"/>
              <a:gd name="T10" fmla="*/ 48 w 216"/>
              <a:gd name="T11" fmla="*/ 172 h 172"/>
              <a:gd name="T12" fmla="*/ 48 w 216"/>
              <a:gd name="T13" fmla="*/ 148 h 172"/>
              <a:gd name="T14" fmla="*/ 12 w 216"/>
              <a:gd name="T15" fmla="*/ 148 h 172"/>
              <a:gd name="T16" fmla="*/ 0 w 216"/>
              <a:gd name="T17" fmla="*/ 136 h 172"/>
              <a:gd name="T18" fmla="*/ 0 w 216"/>
              <a:gd name="T19" fmla="*/ 12 h 172"/>
              <a:gd name="T20" fmla="*/ 12 w 216"/>
              <a:gd name="T21" fmla="*/ 0 h 172"/>
              <a:gd name="T22" fmla="*/ 204 w 216"/>
              <a:gd name="T23" fmla="*/ 0 h 172"/>
              <a:gd name="T24" fmla="*/ 52 w 216"/>
              <a:gd name="T25" fmla="*/ 60 h 172"/>
              <a:gd name="T26" fmla="*/ 38 w 216"/>
              <a:gd name="T27" fmla="*/ 74 h 172"/>
              <a:gd name="T28" fmla="*/ 52 w 216"/>
              <a:gd name="T29" fmla="*/ 88 h 172"/>
              <a:gd name="T30" fmla="*/ 66 w 216"/>
              <a:gd name="T31" fmla="*/ 74 h 172"/>
              <a:gd name="T32" fmla="*/ 52 w 216"/>
              <a:gd name="T33" fmla="*/ 60 h 172"/>
              <a:gd name="T34" fmla="*/ 108 w 216"/>
              <a:gd name="T35" fmla="*/ 60 h 172"/>
              <a:gd name="T36" fmla="*/ 94 w 216"/>
              <a:gd name="T37" fmla="*/ 74 h 172"/>
              <a:gd name="T38" fmla="*/ 108 w 216"/>
              <a:gd name="T39" fmla="*/ 88 h 172"/>
              <a:gd name="T40" fmla="*/ 122 w 216"/>
              <a:gd name="T41" fmla="*/ 74 h 172"/>
              <a:gd name="T42" fmla="*/ 108 w 216"/>
              <a:gd name="T43" fmla="*/ 60 h 172"/>
              <a:gd name="T44" fmla="*/ 164 w 216"/>
              <a:gd name="T45" fmla="*/ 60 h 172"/>
              <a:gd name="T46" fmla="*/ 150 w 216"/>
              <a:gd name="T47" fmla="*/ 74 h 172"/>
              <a:gd name="T48" fmla="*/ 164 w 216"/>
              <a:gd name="T49" fmla="*/ 88 h 172"/>
              <a:gd name="T50" fmla="*/ 178 w 216"/>
              <a:gd name="T51" fmla="*/ 74 h 172"/>
              <a:gd name="T52" fmla="*/ 164 w 216"/>
              <a:gd name="T53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" h="172">
                <a:moveTo>
                  <a:pt x="204" y="0"/>
                </a:moveTo>
                <a:cubicBezTo>
                  <a:pt x="211" y="0"/>
                  <a:pt x="216" y="5"/>
                  <a:pt x="216" y="12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143"/>
                  <a:pt x="211" y="148"/>
                  <a:pt x="204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12" y="148"/>
                  <a:pt x="12" y="148"/>
                  <a:pt x="12" y="148"/>
                </a:cubicBezTo>
                <a:cubicBezTo>
                  <a:pt x="5" y="148"/>
                  <a:pt x="0" y="143"/>
                  <a:pt x="0" y="136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lnTo>
                  <a:pt x="204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23" name="iSḻïḓe">
            <a:extLst>
              <a:ext uri="{FF2B5EF4-FFF2-40B4-BE49-F238E27FC236}">
                <a16:creationId xmlns:a16="http://schemas.microsoft.com/office/drawing/2014/main" id="{A24BB8C7-ECAA-4DDB-9362-36D36F84EA3D}"/>
              </a:ext>
            </a:extLst>
          </p:cNvPr>
          <p:cNvSpPr>
            <a:spLocks noChangeAspect="1"/>
          </p:cNvSpPr>
          <p:nvPr/>
        </p:nvSpPr>
        <p:spPr bwMode="auto">
          <a:xfrm>
            <a:off x="10542390" y="3484316"/>
            <a:ext cx="292517" cy="244878"/>
          </a:xfrm>
          <a:custGeom>
            <a:avLst/>
            <a:gdLst>
              <a:gd name="T0" fmla="*/ 203 w 222"/>
              <a:gd name="T1" fmla="*/ 56 h 184"/>
              <a:gd name="T2" fmla="*/ 222 w 222"/>
              <a:gd name="T3" fmla="*/ 75 h 184"/>
              <a:gd name="T4" fmla="*/ 221 w 222"/>
              <a:gd name="T5" fmla="*/ 76 h 184"/>
              <a:gd name="T6" fmla="*/ 216 w 222"/>
              <a:gd name="T7" fmla="*/ 149 h 184"/>
              <a:gd name="T8" fmla="*/ 204 w 222"/>
              <a:gd name="T9" fmla="*/ 160 h 184"/>
              <a:gd name="T10" fmla="*/ 191 w 222"/>
              <a:gd name="T11" fmla="*/ 160 h 184"/>
              <a:gd name="T12" fmla="*/ 191 w 222"/>
              <a:gd name="T13" fmla="*/ 184 h 184"/>
              <a:gd name="T14" fmla="*/ 183 w 222"/>
              <a:gd name="T15" fmla="*/ 184 h 184"/>
              <a:gd name="T16" fmla="*/ 183 w 222"/>
              <a:gd name="T17" fmla="*/ 160 h 184"/>
              <a:gd name="T18" fmla="*/ 39 w 222"/>
              <a:gd name="T19" fmla="*/ 160 h 184"/>
              <a:gd name="T20" fmla="*/ 39 w 222"/>
              <a:gd name="T21" fmla="*/ 184 h 184"/>
              <a:gd name="T22" fmla="*/ 31 w 222"/>
              <a:gd name="T23" fmla="*/ 184 h 184"/>
              <a:gd name="T24" fmla="*/ 31 w 222"/>
              <a:gd name="T25" fmla="*/ 160 h 184"/>
              <a:gd name="T26" fmla="*/ 18 w 222"/>
              <a:gd name="T27" fmla="*/ 160 h 184"/>
              <a:gd name="T28" fmla="*/ 6 w 222"/>
              <a:gd name="T29" fmla="*/ 149 h 184"/>
              <a:gd name="T30" fmla="*/ 1 w 222"/>
              <a:gd name="T31" fmla="*/ 76 h 184"/>
              <a:gd name="T32" fmla="*/ 18 w 222"/>
              <a:gd name="T33" fmla="*/ 56 h 184"/>
              <a:gd name="T34" fmla="*/ 19 w 222"/>
              <a:gd name="T35" fmla="*/ 56 h 184"/>
              <a:gd name="T36" fmla="*/ 43 w 222"/>
              <a:gd name="T37" fmla="*/ 76 h 184"/>
              <a:gd name="T38" fmla="*/ 51 w 222"/>
              <a:gd name="T39" fmla="*/ 120 h 184"/>
              <a:gd name="T40" fmla="*/ 171 w 222"/>
              <a:gd name="T41" fmla="*/ 120 h 184"/>
              <a:gd name="T42" fmla="*/ 179 w 222"/>
              <a:gd name="T43" fmla="*/ 76 h 184"/>
              <a:gd name="T44" fmla="*/ 203 w 222"/>
              <a:gd name="T45" fmla="*/ 56 h 184"/>
              <a:gd name="T46" fmla="*/ 175 w 222"/>
              <a:gd name="T47" fmla="*/ 0 h 184"/>
              <a:gd name="T48" fmla="*/ 203 w 222"/>
              <a:gd name="T49" fmla="*/ 28 h 184"/>
              <a:gd name="T50" fmla="*/ 203 w 222"/>
              <a:gd name="T51" fmla="*/ 48 h 184"/>
              <a:gd name="T52" fmla="*/ 200 w 222"/>
              <a:gd name="T53" fmla="*/ 48 h 184"/>
              <a:gd name="T54" fmla="*/ 173 w 222"/>
              <a:gd name="T55" fmla="*/ 70 h 184"/>
              <a:gd name="T56" fmla="*/ 173 w 222"/>
              <a:gd name="T57" fmla="*/ 71 h 184"/>
              <a:gd name="T58" fmla="*/ 165 w 222"/>
              <a:gd name="T59" fmla="*/ 112 h 184"/>
              <a:gd name="T60" fmla="*/ 57 w 222"/>
              <a:gd name="T61" fmla="*/ 112 h 184"/>
              <a:gd name="T62" fmla="*/ 49 w 222"/>
              <a:gd name="T63" fmla="*/ 71 h 184"/>
              <a:gd name="T64" fmla="*/ 22 w 222"/>
              <a:gd name="T65" fmla="*/ 48 h 184"/>
              <a:gd name="T66" fmla="*/ 23 w 222"/>
              <a:gd name="T67" fmla="*/ 28 h 184"/>
              <a:gd name="T68" fmla="*/ 51 w 222"/>
              <a:gd name="T69" fmla="*/ 0 h 184"/>
              <a:gd name="T70" fmla="*/ 175 w 222"/>
              <a:gd name="T71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2" h="184">
                <a:moveTo>
                  <a:pt x="203" y="56"/>
                </a:moveTo>
                <a:cubicBezTo>
                  <a:pt x="213" y="56"/>
                  <a:pt x="222" y="64"/>
                  <a:pt x="222" y="75"/>
                </a:cubicBezTo>
                <a:cubicBezTo>
                  <a:pt x="222" y="75"/>
                  <a:pt x="222" y="75"/>
                  <a:pt x="221" y="76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15" y="155"/>
                  <a:pt x="210" y="160"/>
                  <a:pt x="204" y="160"/>
                </a:cubicBezTo>
                <a:cubicBezTo>
                  <a:pt x="191" y="160"/>
                  <a:pt x="191" y="160"/>
                  <a:pt x="191" y="160"/>
                </a:cubicBezTo>
                <a:cubicBezTo>
                  <a:pt x="191" y="184"/>
                  <a:pt x="191" y="184"/>
                  <a:pt x="191" y="184"/>
                </a:cubicBezTo>
                <a:cubicBezTo>
                  <a:pt x="183" y="184"/>
                  <a:pt x="183" y="184"/>
                  <a:pt x="183" y="184"/>
                </a:cubicBezTo>
                <a:cubicBezTo>
                  <a:pt x="183" y="160"/>
                  <a:pt x="183" y="160"/>
                  <a:pt x="183" y="160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31" y="184"/>
                  <a:pt x="31" y="184"/>
                  <a:pt x="31" y="184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18" y="160"/>
                  <a:pt x="18" y="160"/>
                  <a:pt x="18" y="160"/>
                </a:cubicBezTo>
                <a:cubicBezTo>
                  <a:pt x="12" y="160"/>
                  <a:pt x="7" y="155"/>
                  <a:pt x="6" y="149"/>
                </a:cubicBezTo>
                <a:cubicBezTo>
                  <a:pt x="1" y="76"/>
                  <a:pt x="1" y="76"/>
                  <a:pt x="1" y="76"/>
                </a:cubicBezTo>
                <a:cubicBezTo>
                  <a:pt x="0" y="66"/>
                  <a:pt x="7" y="57"/>
                  <a:pt x="18" y="56"/>
                </a:cubicBezTo>
                <a:cubicBezTo>
                  <a:pt x="18" y="56"/>
                  <a:pt x="19" y="56"/>
                  <a:pt x="19" y="56"/>
                </a:cubicBezTo>
                <a:cubicBezTo>
                  <a:pt x="31" y="56"/>
                  <a:pt x="41" y="64"/>
                  <a:pt x="43" y="76"/>
                </a:cubicBezTo>
                <a:cubicBezTo>
                  <a:pt x="51" y="120"/>
                  <a:pt x="51" y="120"/>
                  <a:pt x="51" y="120"/>
                </a:cubicBezTo>
                <a:cubicBezTo>
                  <a:pt x="171" y="120"/>
                  <a:pt x="171" y="120"/>
                  <a:pt x="171" y="120"/>
                </a:cubicBezTo>
                <a:cubicBezTo>
                  <a:pt x="179" y="76"/>
                  <a:pt x="179" y="76"/>
                  <a:pt x="179" y="76"/>
                </a:cubicBezTo>
                <a:cubicBezTo>
                  <a:pt x="181" y="64"/>
                  <a:pt x="191" y="56"/>
                  <a:pt x="203" y="56"/>
                </a:cubicBezTo>
                <a:close/>
                <a:moveTo>
                  <a:pt x="175" y="0"/>
                </a:moveTo>
                <a:cubicBezTo>
                  <a:pt x="190" y="0"/>
                  <a:pt x="203" y="13"/>
                  <a:pt x="203" y="28"/>
                </a:cubicBezTo>
                <a:cubicBezTo>
                  <a:pt x="203" y="48"/>
                  <a:pt x="203" y="48"/>
                  <a:pt x="203" y="48"/>
                </a:cubicBezTo>
                <a:cubicBezTo>
                  <a:pt x="202" y="48"/>
                  <a:pt x="201" y="48"/>
                  <a:pt x="200" y="48"/>
                </a:cubicBezTo>
                <a:cubicBezTo>
                  <a:pt x="187" y="48"/>
                  <a:pt x="176" y="57"/>
                  <a:pt x="173" y="70"/>
                </a:cubicBezTo>
                <a:cubicBezTo>
                  <a:pt x="173" y="71"/>
                  <a:pt x="173" y="71"/>
                  <a:pt x="173" y="71"/>
                </a:cubicBezTo>
                <a:cubicBezTo>
                  <a:pt x="165" y="112"/>
                  <a:pt x="165" y="112"/>
                  <a:pt x="165" y="112"/>
                </a:cubicBezTo>
                <a:cubicBezTo>
                  <a:pt x="57" y="112"/>
                  <a:pt x="57" y="112"/>
                  <a:pt x="57" y="112"/>
                </a:cubicBezTo>
                <a:cubicBezTo>
                  <a:pt x="49" y="71"/>
                  <a:pt x="49" y="71"/>
                  <a:pt x="49" y="71"/>
                </a:cubicBezTo>
                <a:cubicBezTo>
                  <a:pt x="47" y="57"/>
                  <a:pt x="35" y="48"/>
                  <a:pt x="22" y="48"/>
                </a:cubicBezTo>
                <a:cubicBezTo>
                  <a:pt x="23" y="28"/>
                  <a:pt x="23" y="28"/>
                  <a:pt x="23" y="28"/>
                </a:cubicBezTo>
                <a:cubicBezTo>
                  <a:pt x="23" y="13"/>
                  <a:pt x="36" y="0"/>
                  <a:pt x="51" y="0"/>
                </a:cubicBezTo>
                <a:lnTo>
                  <a:pt x="17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4304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ḷidê">
            <a:extLst>
              <a:ext uri="{FF2B5EF4-FFF2-40B4-BE49-F238E27FC236}">
                <a16:creationId xmlns:a16="http://schemas.microsoft.com/office/drawing/2014/main" id="{B56E30E0-4B90-4471-91AE-EA20E458E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ṡľiḋè">
            <a:extLst>
              <a:ext uri="{FF2B5EF4-FFF2-40B4-BE49-F238E27FC236}">
                <a16:creationId xmlns:a16="http://schemas.microsoft.com/office/drawing/2014/main" id="{3D3FEF40-F9E6-4456-AEFD-4F8550F81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ṡ1iḋê">
            <a:extLst>
              <a:ext uri="{FF2B5EF4-FFF2-40B4-BE49-F238E27FC236}">
                <a16:creationId xmlns:a16="http://schemas.microsoft.com/office/drawing/2014/main" id="{8371119D-C834-4734-A988-239F80E3B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89" name="ï$ḻîḑ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1CFDF43-D805-4506-9BE2-93D7889369BB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2034000"/>
            <a:ext cx="10858501" cy="3556000"/>
            <a:chOff x="660400" y="2034000"/>
            <a:chExt cx="10858501" cy="3556000"/>
          </a:xfrm>
        </p:grpSpPr>
        <p:sp>
          <p:nvSpPr>
            <p:cNvPr id="90" name="iŝ1ïḍè">
              <a:extLst>
                <a:ext uri="{FF2B5EF4-FFF2-40B4-BE49-F238E27FC236}">
                  <a16:creationId xmlns:a16="http://schemas.microsoft.com/office/drawing/2014/main" id="{97503CB7-B444-4F61-B5A8-634647009F7D}"/>
                </a:ext>
              </a:extLst>
            </p:cNvPr>
            <p:cNvSpPr/>
            <p:nvPr/>
          </p:nvSpPr>
          <p:spPr>
            <a:xfrm>
              <a:off x="660400" y="2034000"/>
              <a:ext cx="2667585" cy="3556000"/>
            </a:xfrm>
            <a:prstGeom prst="roundRect">
              <a:avLst>
                <a:gd name="adj" fmla="val 5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1" name="íŝļídè">
              <a:extLst>
                <a:ext uri="{FF2B5EF4-FFF2-40B4-BE49-F238E27FC236}">
                  <a16:creationId xmlns:a16="http://schemas.microsoft.com/office/drawing/2014/main" id="{5563F433-12CE-466E-AD03-5C9739B4F3B5}"/>
                </a:ext>
              </a:extLst>
            </p:cNvPr>
            <p:cNvSpPr/>
            <p:nvPr/>
          </p:nvSpPr>
          <p:spPr bwMode="auto">
            <a:xfrm>
              <a:off x="981541" y="4929600"/>
              <a:ext cx="2040598" cy="38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de-DE" altLang="zh-CN" sz="1600" b="1" dirty="0">
                  <a:solidFill>
                    <a:schemeClr val="tx1"/>
                  </a:solidFill>
                </a:rPr>
                <a:t>... ￥ | 27 %</a:t>
              </a:r>
            </a:p>
          </p:txBody>
        </p:sp>
        <p:sp>
          <p:nvSpPr>
            <p:cNvPr id="92" name="í$ľîḋé">
              <a:extLst>
                <a:ext uri="{FF2B5EF4-FFF2-40B4-BE49-F238E27FC236}">
                  <a16:creationId xmlns:a16="http://schemas.microsoft.com/office/drawing/2014/main" id="{8631F847-2295-44F4-A79E-EBBDA027DE8A}"/>
                </a:ext>
              </a:extLst>
            </p:cNvPr>
            <p:cNvSpPr txBox="1"/>
            <p:nvPr/>
          </p:nvSpPr>
          <p:spPr bwMode="auto">
            <a:xfrm>
              <a:off x="660400" y="3156430"/>
              <a:ext cx="2667585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93" name="iṧḷîdè">
              <a:extLst>
                <a:ext uri="{FF2B5EF4-FFF2-40B4-BE49-F238E27FC236}">
                  <a16:creationId xmlns:a16="http://schemas.microsoft.com/office/drawing/2014/main" id="{3485E510-F49D-41D9-B8FA-CB6AF4949D42}"/>
                </a:ext>
              </a:extLst>
            </p:cNvPr>
            <p:cNvSpPr txBox="1"/>
            <p:nvPr/>
          </p:nvSpPr>
          <p:spPr bwMode="auto">
            <a:xfrm>
              <a:off x="660400" y="3618094"/>
              <a:ext cx="2667585" cy="75020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94" name="iṣľíḍe">
              <a:extLst>
                <a:ext uri="{FF2B5EF4-FFF2-40B4-BE49-F238E27FC236}">
                  <a16:creationId xmlns:a16="http://schemas.microsoft.com/office/drawing/2014/main" id="{933D345D-D496-48B9-9CEF-17D9B60F3DE7}"/>
                </a:ext>
              </a:extLst>
            </p:cNvPr>
            <p:cNvSpPr/>
            <p:nvPr/>
          </p:nvSpPr>
          <p:spPr bwMode="auto">
            <a:xfrm>
              <a:off x="1705362" y="2274463"/>
              <a:ext cx="577659" cy="633204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5" name="iśļîdè">
              <a:extLst>
                <a:ext uri="{FF2B5EF4-FFF2-40B4-BE49-F238E27FC236}">
                  <a16:creationId xmlns:a16="http://schemas.microsoft.com/office/drawing/2014/main" id="{3B8D98E6-ACBB-446B-B21A-4F6451389C09}"/>
                </a:ext>
              </a:extLst>
            </p:cNvPr>
            <p:cNvSpPr/>
            <p:nvPr/>
          </p:nvSpPr>
          <p:spPr>
            <a:xfrm>
              <a:off x="3390706" y="2034000"/>
              <a:ext cx="2667585" cy="3556000"/>
            </a:xfrm>
            <a:prstGeom prst="roundRect">
              <a:avLst>
                <a:gd name="adj" fmla="val 5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6" name="ïṥḻiḓé">
              <a:extLst>
                <a:ext uri="{FF2B5EF4-FFF2-40B4-BE49-F238E27FC236}">
                  <a16:creationId xmlns:a16="http://schemas.microsoft.com/office/drawing/2014/main" id="{A8BC1304-7178-4947-8C8E-CEFFA234304A}"/>
                </a:ext>
              </a:extLst>
            </p:cNvPr>
            <p:cNvSpPr/>
            <p:nvPr/>
          </p:nvSpPr>
          <p:spPr bwMode="auto">
            <a:xfrm>
              <a:off x="3711846" y="4929600"/>
              <a:ext cx="2040598" cy="38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de-DE" altLang="zh-CN" sz="1600" b="1" dirty="0">
                  <a:solidFill>
                    <a:schemeClr val="tx1"/>
                  </a:solidFill>
                </a:rPr>
                <a:t>... ￥ | 27 %</a:t>
              </a:r>
            </a:p>
          </p:txBody>
        </p:sp>
        <p:sp>
          <p:nvSpPr>
            <p:cNvPr id="97" name="ïṩľïḓê">
              <a:extLst>
                <a:ext uri="{FF2B5EF4-FFF2-40B4-BE49-F238E27FC236}">
                  <a16:creationId xmlns:a16="http://schemas.microsoft.com/office/drawing/2014/main" id="{B3023176-89C5-40C2-BE17-E29F7EE2AC30}"/>
                </a:ext>
              </a:extLst>
            </p:cNvPr>
            <p:cNvSpPr txBox="1"/>
            <p:nvPr/>
          </p:nvSpPr>
          <p:spPr bwMode="auto">
            <a:xfrm>
              <a:off x="3390706" y="3156430"/>
              <a:ext cx="2667585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98" name="î$ḻíḍé">
              <a:extLst>
                <a:ext uri="{FF2B5EF4-FFF2-40B4-BE49-F238E27FC236}">
                  <a16:creationId xmlns:a16="http://schemas.microsoft.com/office/drawing/2014/main" id="{0ABAC475-0948-4D07-B2DA-5C2029AC705C}"/>
                </a:ext>
              </a:extLst>
            </p:cNvPr>
            <p:cNvSpPr txBox="1"/>
            <p:nvPr/>
          </p:nvSpPr>
          <p:spPr bwMode="auto">
            <a:xfrm>
              <a:off x="3390706" y="3618094"/>
              <a:ext cx="2667585" cy="75020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99" name="íṩļîḑê">
              <a:extLst>
                <a:ext uri="{FF2B5EF4-FFF2-40B4-BE49-F238E27FC236}">
                  <a16:creationId xmlns:a16="http://schemas.microsoft.com/office/drawing/2014/main" id="{2FDAEE2A-394B-46DC-AEB5-1796D855F05B}"/>
                </a:ext>
              </a:extLst>
            </p:cNvPr>
            <p:cNvSpPr/>
            <p:nvPr/>
          </p:nvSpPr>
          <p:spPr bwMode="auto">
            <a:xfrm>
              <a:off x="4407895" y="2338955"/>
              <a:ext cx="633204" cy="504218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0" name="ï$lídé">
              <a:extLst>
                <a:ext uri="{FF2B5EF4-FFF2-40B4-BE49-F238E27FC236}">
                  <a16:creationId xmlns:a16="http://schemas.microsoft.com/office/drawing/2014/main" id="{6011FC71-19CD-4A35-AE10-5B9B8F613EBF}"/>
                </a:ext>
              </a:extLst>
            </p:cNvPr>
            <p:cNvSpPr/>
            <p:nvPr/>
          </p:nvSpPr>
          <p:spPr>
            <a:xfrm>
              <a:off x="6121012" y="2034000"/>
              <a:ext cx="2667585" cy="3556000"/>
            </a:xfrm>
            <a:prstGeom prst="roundRect">
              <a:avLst>
                <a:gd name="adj" fmla="val 5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1" name="îṧ1iďê">
              <a:extLst>
                <a:ext uri="{FF2B5EF4-FFF2-40B4-BE49-F238E27FC236}">
                  <a16:creationId xmlns:a16="http://schemas.microsoft.com/office/drawing/2014/main" id="{2591B877-910D-426C-A9DE-58DE0E3FC539}"/>
                </a:ext>
              </a:extLst>
            </p:cNvPr>
            <p:cNvSpPr/>
            <p:nvPr/>
          </p:nvSpPr>
          <p:spPr bwMode="auto">
            <a:xfrm>
              <a:off x="6442151" y="4929600"/>
              <a:ext cx="2040598" cy="38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de-DE" altLang="zh-CN" sz="1600" b="1" dirty="0">
                  <a:solidFill>
                    <a:schemeClr val="tx1"/>
                  </a:solidFill>
                </a:rPr>
                <a:t>... ￥ | 54 %</a:t>
              </a:r>
            </a:p>
          </p:txBody>
        </p:sp>
        <p:sp>
          <p:nvSpPr>
            <p:cNvPr id="102" name="ïS1iḑé">
              <a:extLst>
                <a:ext uri="{FF2B5EF4-FFF2-40B4-BE49-F238E27FC236}">
                  <a16:creationId xmlns:a16="http://schemas.microsoft.com/office/drawing/2014/main" id="{7B12DD6C-2BB8-40C4-8B5E-CF08954818EC}"/>
                </a:ext>
              </a:extLst>
            </p:cNvPr>
            <p:cNvSpPr txBox="1"/>
            <p:nvPr/>
          </p:nvSpPr>
          <p:spPr bwMode="auto">
            <a:xfrm>
              <a:off x="6121012" y="3156430"/>
              <a:ext cx="2667585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altLang="zh-CN" b="1" dirty="0">
                  <a:solidFill>
                    <a:schemeClr val="bg1">
                      <a:lumMod val="100000"/>
                    </a:schemeClr>
                  </a:solidFill>
                  <a:effectLst/>
                </a:rPr>
                <a:t>Text here</a:t>
              </a:r>
              <a:endParaRPr lang="zh-CN" altLang="en-US" b="1" dirty="0">
                <a:solidFill>
                  <a:schemeClr val="bg1">
                    <a:lumMod val="100000"/>
                  </a:schemeClr>
                </a:solidFill>
                <a:effectLst/>
              </a:endParaRPr>
            </a:p>
          </p:txBody>
        </p:sp>
        <p:sp>
          <p:nvSpPr>
            <p:cNvPr id="103" name="ïṡḷîḓe">
              <a:extLst>
                <a:ext uri="{FF2B5EF4-FFF2-40B4-BE49-F238E27FC236}">
                  <a16:creationId xmlns:a16="http://schemas.microsoft.com/office/drawing/2014/main" id="{751D29D4-10AB-4BD4-905C-EB1F99A26C83}"/>
                </a:ext>
              </a:extLst>
            </p:cNvPr>
            <p:cNvSpPr txBox="1"/>
            <p:nvPr/>
          </p:nvSpPr>
          <p:spPr bwMode="auto">
            <a:xfrm>
              <a:off x="6121012" y="3618094"/>
              <a:ext cx="2667585" cy="75020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104" name="íşḻïḋé">
              <a:extLst>
                <a:ext uri="{FF2B5EF4-FFF2-40B4-BE49-F238E27FC236}">
                  <a16:creationId xmlns:a16="http://schemas.microsoft.com/office/drawing/2014/main" id="{7F0C3EEC-5B0C-42F9-84AB-40B6A4CA6905}"/>
                </a:ext>
              </a:extLst>
            </p:cNvPr>
            <p:cNvSpPr/>
            <p:nvPr/>
          </p:nvSpPr>
          <p:spPr bwMode="auto">
            <a:xfrm>
              <a:off x="7138200" y="2302730"/>
              <a:ext cx="633204" cy="576668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5" name="îSḻidé">
              <a:extLst>
                <a:ext uri="{FF2B5EF4-FFF2-40B4-BE49-F238E27FC236}">
                  <a16:creationId xmlns:a16="http://schemas.microsoft.com/office/drawing/2014/main" id="{819EBA8F-E324-4740-A2AC-64B34642F40B}"/>
                </a:ext>
              </a:extLst>
            </p:cNvPr>
            <p:cNvSpPr/>
            <p:nvPr/>
          </p:nvSpPr>
          <p:spPr>
            <a:xfrm>
              <a:off x="8851316" y="2034000"/>
              <a:ext cx="2667585" cy="3556000"/>
            </a:xfrm>
            <a:prstGeom prst="roundRect">
              <a:avLst>
                <a:gd name="adj" fmla="val 5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6" name="íṩľîde">
              <a:extLst>
                <a:ext uri="{FF2B5EF4-FFF2-40B4-BE49-F238E27FC236}">
                  <a16:creationId xmlns:a16="http://schemas.microsoft.com/office/drawing/2014/main" id="{9A8050E5-61B2-4153-9079-82CEF2ECB705}"/>
                </a:ext>
              </a:extLst>
            </p:cNvPr>
            <p:cNvSpPr/>
            <p:nvPr/>
          </p:nvSpPr>
          <p:spPr bwMode="auto">
            <a:xfrm>
              <a:off x="9172457" y="4929600"/>
              <a:ext cx="2040598" cy="38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de-DE" altLang="zh-CN" sz="1600" b="1" dirty="0">
                  <a:solidFill>
                    <a:schemeClr val="tx1"/>
                  </a:solidFill>
                </a:rPr>
                <a:t>... ￥ | 27 %</a:t>
              </a:r>
            </a:p>
          </p:txBody>
        </p:sp>
        <p:sp>
          <p:nvSpPr>
            <p:cNvPr id="107" name="ïṩliḑè">
              <a:extLst>
                <a:ext uri="{FF2B5EF4-FFF2-40B4-BE49-F238E27FC236}">
                  <a16:creationId xmlns:a16="http://schemas.microsoft.com/office/drawing/2014/main" id="{E16CC54E-CE48-4762-935C-DF091A18F2C8}"/>
                </a:ext>
              </a:extLst>
            </p:cNvPr>
            <p:cNvSpPr txBox="1"/>
            <p:nvPr/>
          </p:nvSpPr>
          <p:spPr bwMode="auto">
            <a:xfrm>
              <a:off x="8851316" y="3156430"/>
              <a:ext cx="2667585" cy="461664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108" name="îśḷïḓe">
              <a:extLst>
                <a:ext uri="{FF2B5EF4-FFF2-40B4-BE49-F238E27FC236}">
                  <a16:creationId xmlns:a16="http://schemas.microsoft.com/office/drawing/2014/main" id="{005396AC-9235-485B-B445-D4C86EB87749}"/>
                </a:ext>
              </a:extLst>
            </p:cNvPr>
            <p:cNvSpPr txBox="1"/>
            <p:nvPr/>
          </p:nvSpPr>
          <p:spPr bwMode="auto">
            <a:xfrm>
              <a:off x="8851316" y="3618094"/>
              <a:ext cx="2667585" cy="75020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09" name="iṩľide">
              <a:extLst>
                <a:ext uri="{FF2B5EF4-FFF2-40B4-BE49-F238E27FC236}">
                  <a16:creationId xmlns:a16="http://schemas.microsoft.com/office/drawing/2014/main" id="{9B608E3C-BA08-4B59-AAF7-25D276E82F23}"/>
                </a:ext>
              </a:extLst>
            </p:cNvPr>
            <p:cNvSpPr/>
            <p:nvPr/>
          </p:nvSpPr>
          <p:spPr bwMode="auto">
            <a:xfrm>
              <a:off x="9868506" y="2327489"/>
              <a:ext cx="633204" cy="527151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513063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ľ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ŝḻíḓe">
            <a:extLst>
              <a:ext uri="{FF2B5EF4-FFF2-40B4-BE49-F238E27FC236}">
                <a16:creationId xmlns:a16="http://schemas.microsoft.com/office/drawing/2014/main" id="{10010CE4-8531-4170-82AB-4284A1159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ṡľïḑe">
            <a:extLst>
              <a:ext uri="{FF2B5EF4-FFF2-40B4-BE49-F238E27FC236}">
                <a16:creationId xmlns:a16="http://schemas.microsoft.com/office/drawing/2014/main" id="{BDF4D9D3-71B0-4C38-8234-61C7D94EC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sľíde">
            <a:extLst>
              <a:ext uri="{FF2B5EF4-FFF2-40B4-BE49-F238E27FC236}">
                <a16:creationId xmlns:a16="http://schemas.microsoft.com/office/drawing/2014/main" id="{238954F8-C6D7-4B19-AAFF-6DCE9275D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32" name="ïŝlî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2DF3736-7EAC-420E-9E13-8991673A77A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597364"/>
            <a:ext cx="10845800" cy="4082373"/>
            <a:chOff x="673100" y="1597363"/>
            <a:chExt cx="10845800" cy="4082373"/>
          </a:xfrm>
        </p:grpSpPr>
        <p:cxnSp>
          <p:nvCxnSpPr>
            <p:cNvPr id="33" name="iśľíḓe">
              <a:extLst>
                <a:ext uri="{FF2B5EF4-FFF2-40B4-BE49-F238E27FC236}">
                  <a16:creationId xmlns:a16="http://schemas.microsoft.com/office/drawing/2014/main" id="{8E6B596B-BEDF-4918-9F8A-F73514DAB3BC}"/>
                </a:ext>
              </a:extLst>
            </p:cNvPr>
            <p:cNvCxnSpPr/>
            <p:nvPr/>
          </p:nvCxnSpPr>
          <p:spPr>
            <a:xfrm>
              <a:off x="6436311" y="3430349"/>
              <a:ext cx="50825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" name="îṩḻíḋê">
              <a:extLst>
                <a:ext uri="{FF2B5EF4-FFF2-40B4-BE49-F238E27FC236}">
                  <a16:creationId xmlns:a16="http://schemas.microsoft.com/office/drawing/2014/main" id="{5FA74F49-DF25-4D5A-874D-D222E73A418D}"/>
                </a:ext>
              </a:extLst>
            </p:cNvPr>
            <p:cNvGrpSpPr/>
            <p:nvPr/>
          </p:nvGrpSpPr>
          <p:grpSpPr>
            <a:xfrm>
              <a:off x="4912311" y="1597363"/>
              <a:ext cx="2367378" cy="4082373"/>
              <a:chOff x="4949779" y="1661974"/>
              <a:chExt cx="2292442" cy="3953152"/>
            </a:xfrm>
          </p:grpSpPr>
          <p:sp>
            <p:nvSpPr>
              <p:cNvPr id="46" name="íśļîḓè">
                <a:extLst>
                  <a:ext uri="{FF2B5EF4-FFF2-40B4-BE49-F238E27FC236}">
                    <a16:creationId xmlns:a16="http://schemas.microsoft.com/office/drawing/2014/main" id="{29B0A07A-E61A-4DFE-9FFE-3C53284E357C}"/>
                  </a:ext>
                </a:extLst>
              </p:cNvPr>
              <p:cNvSpPr/>
              <p:nvPr/>
            </p:nvSpPr>
            <p:spPr bwMode="auto">
              <a:xfrm>
                <a:off x="5079763" y="1999929"/>
                <a:ext cx="2162458" cy="1333975"/>
              </a:xfrm>
              <a:custGeom>
                <a:avLst/>
                <a:gdLst>
                  <a:gd name="T0" fmla="*/ 0 w 1028"/>
                  <a:gd name="T1" fmla="*/ 238 h 635"/>
                  <a:gd name="T2" fmla="*/ 1028 w 1028"/>
                  <a:gd name="T3" fmla="*/ 303 h 635"/>
                  <a:gd name="T4" fmla="*/ 810 w 1028"/>
                  <a:gd name="T5" fmla="*/ 11 h 635"/>
                  <a:gd name="T6" fmla="*/ 210 w 1028"/>
                  <a:gd name="T7" fmla="*/ 0 h 635"/>
                  <a:gd name="T8" fmla="*/ 0 w 1028"/>
                  <a:gd name="T9" fmla="*/ 238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8" h="635">
                    <a:moveTo>
                      <a:pt x="0" y="238"/>
                    </a:moveTo>
                    <a:cubicBezTo>
                      <a:pt x="0" y="238"/>
                      <a:pt x="264" y="635"/>
                      <a:pt x="1028" y="303"/>
                    </a:cubicBezTo>
                    <a:cubicBezTo>
                      <a:pt x="1028" y="303"/>
                      <a:pt x="992" y="130"/>
                      <a:pt x="810" y="11"/>
                    </a:cubicBezTo>
                    <a:cubicBezTo>
                      <a:pt x="810" y="11"/>
                      <a:pt x="621" y="169"/>
                      <a:pt x="210" y="0"/>
                    </a:cubicBezTo>
                    <a:cubicBezTo>
                      <a:pt x="210" y="0"/>
                      <a:pt x="60" y="97"/>
                      <a:pt x="0" y="23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47" name="ï$ḷiḋê">
                <a:extLst>
                  <a:ext uri="{FF2B5EF4-FFF2-40B4-BE49-F238E27FC236}">
                    <a16:creationId xmlns:a16="http://schemas.microsoft.com/office/drawing/2014/main" id="{14C95988-AB64-43FD-B0CD-2C0B7E853D32}"/>
                  </a:ext>
                </a:extLst>
              </p:cNvPr>
              <p:cNvSpPr/>
              <p:nvPr/>
            </p:nvSpPr>
            <p:spPr bwMode="auto">
              <a:xfrm>
                <a:off x="4983202" y="3001009"/>
                <a:ext cx="2247800" cy="1375989"/>
              </a:xfrm>
              <a:custGeom>
                <a:avLst/>
                <a:gdLst>
                  <a:gd name="T0" fmla="*/ 0 w 1069"/>
                  <a:gd name="T1" fmla="*/ 0 h 655"/>
                  <a:gd name="T2" fmla="*/ 1069 w 1069"/>
                  <a:gd name="T3" fmla="*/ 204 h 655"/>
                  <a:gd name="T4" fmla="*/ 987 w 1069"/>
                  <a:gd name="T5" fmla="*/ 343 h 655"/>
                  <a:gd name="T6" fmla="*/ 894 w 1069"/>
                  <a:gd name="T7" fmla="*/ 478 h 655"/>
                  <a:gd name="T8" fmla="*/ 121 w 1069"/>
                  <a:gd name="T9" fmla="*/ 344 h 655"/>
                  <a:gd name="T10" fmla="*/ 0 w 1069"/>
                  <a:gd name="T11" fmla="*/ 0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9" h="655">
                    <a:moveTo>
                      <a:pt x="0" y="0"/>
                    </a:moveTo>
                    <a:cubicBezTo>
                      <a:pt x="0" y="0"/>
                      <a:pt x="413" y="432"/>
                      <a:pt x="1069" y="204"/>
                    </a:cubicBezTo>
                    <a:cubicBezTo>
                      <a:pt x="1069" y="204"/>
                      <a:pt x="1032" y="288"/>
                      <a:pt x="987" y="343"/>
                    </a:cubicBezTo>
                    <a:cubicBezTo>
                      <a:pt x="942" y="398"/>
                      <a:pt x="894" y="478"/>
                      <a:pt x="894" y="478"/>
                    </a:cubicBezTo>
                    <a:cubicBezTo>
                      <a:pt x="894" y="478"/>
                      <a:pt x="517" y="655"/>
                      <a:pt x="121" y="344"/>
                    </a:cubicBezTo>
                    <a:cubicBezTo>
                      <a:pt x="121" y="344"/>
                      <a:pt x="6" y="228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48" name="îṩḷíḑê">
                <a:extLst>
                  <a:ext uri="{FF2B5EF4-FFF2-40B4-BE49-F238E27FC236}">
                    <a16:creationId xmlns:a16="http://schemas.microsoft.com/office/drawing/2014/main" id="{7540A69D-7140-4A5D-8786-1F4CB9E48421}"/>
                  </a:ext>
                </a:extLst>
              </p:cNvPr>
              <p:cNvSpPr/>
              <p:nvPr/>
            </p:nvSpPr>
            <p:spPr bwMode="auto">
              <a:xfrm>
                <a:off x="5442741" y="4118343"/>
                <a:ext cx="1228938" cy="761521"/>
              </a:xfrm>
              <a:custGeom>
                <a:avLst/>
                <a:gdLst>
                  <a:gd name="T0" fmla="*/ 0 w 584"/>
                  <a:gd name="T1" fmla="*/ 0 h 362"/>
                  <a:gd name="T2" fmla="*/ 584 w 584"/>
                  <a:gd name="T3" fmla="*/ 209 h 362"/>
                  <a:gd name="T4" fmla="*/ 75 w 584"/>
                  <a:gd name="T5" fmla="*/ 212 h 362"/>
                  <a:gd name="T6" fmla="*/ 0 w 584"/>
                  <a:gd name="T7" fmla="*/ 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4" h="362">
                    <a:moveTo>
                      <a:pt x="0" y="0"/>
                    </a:moveTo>
                    <a:cubicBezTo>
                      <a:pt x="0" y="0"/>
                      <a:pt x="182" y="210"/>
                      <a:pt x="584" y="209"/>
                    </a:cubicBezTo>
                    <a:cubicBezTo>
                      <a:pt x="584" y="209"/>
                      <a:pt x="400" y="362"/>
                      <a:pt x="75" y="212"/>
                    </a:cubicBezTo>
                    <a:cubicBezTo>
                      <a:pt x="75" y="212"/>
                      <a:pt x="25" y="19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49" name="î$ḷíḍè">
                <a:extLst>
                  <a:ext uri="{FF2B5EF4-FFF2-40B4-BE49-F238E27FC236}">
                    <a16:creationId xmlns:a16="http://schemas.microsoft.com/office/drawing/2014/main" id="{73CDDEF8-C8B9-468B-A01E-B9C9C9F5E019}"/>
                  </a:ext>
                </a:extLst>
              </p:cNvPr>
              <p:cNvSpPr/>
              <p:nvPr/>
            </p:nvSpPr>
            <p:spPr bwMode="auto">
              <a:xfrm>
                <a:off x="5591107" y="4575256"/>
                <a:ext cx="1112084" cy="1039870"/>
              </a:xfrm>
              <a:custGeom>
                <a:avLst/>
                <a:gdLst>
                  <a:gd name="T0" fmla="*/ 514 w 529"/>
                  <a:gd name="T1" fmla="*/ 0 h 495"/>
                  <a:gd name="T2" fmla="*/ 264 w 529"/>
                  <a:gd name="T3" fmla="*/ 19 h 495"/>
                  <a:gd name="T4" fmla="*/ 15 w 529"/>
                  <a:gd name="T5" fmla="*/ 0 h 495"/>
                  <a:gd name="T6" fmla="*/ 11 w 529"/>
                  <a:gd name="T7" fmla="*/ 20 h 495"/>
                  <a:gd name="T8" fmla="*/ 21 w 529"/>
                  <a:gd name="T9" fmla="*/ 54 h 495"/>
                  <a:gd name="T10" fmla="*/ 26 w 529"/>
                  <a:gd name="T11" fmla="*/ 118 h 495"/>
                  <a:gd name="T12" fmla="*/ 35 w 529"/>
                  <a:gd name="T13" fmla="*/ 118 h 495"/>
                  <a:gd name="T14" fmla="*/ 35 w 529"/>
                  <a:gd name="T15" fmla="*/ 118 h 495"/>
                  <a:gd name="T16" fmla="*/ 35 w 529"/>
                  <a:gd name="T17" fmla="*/ 142 h 495"/>
                  <a:gd name="T18" fmla="*/ 32 w 529"/>
                  <a:gd name="T19" fmla="*/ 142 h 495"/>
                  <a:gd name="T20" fmla="*/ 13 w 529"/>
                  <a:gd name="T21" fmla="*/ 156 h 495"/>
                  <a:gd name="T22" fmla="*/ 32 w 529"/>
                  <a:gd name="T23" fmla="*/ 170 h 495"/>
                  <a:gd name="T24" fmla="*/ 35 w 529"/>
                  <a:gd name="T25" fmla="*/ 170 h 495"/>
                  <a:gd name="T26" fmla="*/ 35 w 529"/>
                  <a:gd name="T27" fmla="*/ 194 h 495"/>
                  <a:gd name="T28" fmla="*/ 32 w 529"/>
                  <a:gd name="T29" fmla="*/ 194 h 495"/>
                  <a:gd name="T30" fmla="*/ 13 w 529"/>
                  <a:gd name="T31" fmla="*/ 212 h 495"/>
                  <a:gd name="T32" fmla="*/ 32 w 529"/>
                  <a:gd name="T33" fmla="*/ 230 h 495"/>
                  <a:gd name="T34" fmla="*/ 35 w 529"/>
                  <a:gd name="T35" fmla="*/ 230 h 495"/>
                  <a:gd name="T36" fmla="*/ 35 w 529"/>
                  <a:gd name="T37" fmla="*/ 258 h 495"/>
                  <a:gd name="T38" fmla="*/ 33 w 529"/>
                  <a:gd name="T39" fmla="*/ 258 h 495"/>
                  <a:gd name="T40" fmla="*/ 14 w 529"/>
                  <a:gd name="T41" fmla="*/ 274 h 495"/>
                  <a:gd name="T42" fmla="*/ 33 w 529"/>
                  <a:gd name="T43" fmla="*/ 290 h 495"/>
                  <a:gd name="T44" fmla="*/ 35 w 529"/>
                  <a:gd name="T45" fmla="*/ 290 h 495"/>
                  <a:gd name="T46" fmla="*/ 35 w 529"/>
                  <a:gd name="T47" fmla="*/ 296 h 495"/>
                  <a:gd name="T48" fmla="*/ 40 w 529"/>
                  <a:gd name="T49" fmla="*/ 314 h 495"/>
                  <a:gd name="T50" fmla="*/ 33 w 529"/>
                  <a:gd name="T51" fmla="*/ 314 h 495"/>
                  <a:gd name="T52" fmla="*/ 14 w 529"/>
                  <a:gd name="T53" fmla="*/ 332 h 495"/>
                  <a:gd name="T54" fmla="*/ 33 w 529"/>
                  <a:gd name="T55" fmla="*/ 350 h 495"/>
                  <a:gd name="T56" fmla="*/ 59 w 529"/>
                  <a:gd name="T57" fmla="*/ 350 h 495"/>
                  <a:gd name="T58" fmla="*/ 90 w 529"/>
                  <a:gd name="T59" fmla="*/ 379 h 495"/>
                  <a:gd name="T60" fmla="*/ 143 w 529"/>
                  <a:gd name="T61" fmla="*/ 417 h 495"/>
                  <a:gd name="T62" fmla="*/ 142 w 529"/>
                  <a:gd name="T63" fmla="*/ 417 h 495"/>
                  <a:gd name="T64" fmla="*/ 236 w 529"/>
                  <a:gd name="T65" fmla="*/ 485 h 495"/>
                  <a:gd name="T66" fmla="*/ 251 w 529"/>
                  <a:gd name="T67" fmla="*/ 492 h 495"/>
                  <a:gd name="T68" fmla="*/ 267 w 529"/>
                  <a:gd name="T69" fmla="*/ 494 h 495"/>
                  <a:gd name="T70" fmla="*/ 381 w 529"/>
                  <a:gd name="T71" fmla="*/ 416 h 495"/>
                  <a:gd name="T72" fmla="*/ 379 w 529"/>
                  <a:gd name="T73" fmla="*/ 417 h 495"/>
                  <a:gd name="T74" fmla="*/ 460 w 529"/>
                  <a:gd name="T75" fmla="*/ 350 h 495"/>
                  <a:gd name="T76" fmla="*/ 482 w 529"/>
                  <a:gd name="T77" fmla="*/ 350 h 495"/>
                  <a:gd name="T78" fmla="*/ 501 w 529"/>
                  <a:gd name="T79" fmla="*/ 332 h 495"/>
                  <a:gd name="T80" fmla="*/ 482 w 529"/>
                  <a:gd name="T81" fmla="*/ 314 h 495"/>
                  <a:gd name="T82" fmla="*/ 482 w 529"/>
                  <a:gd name="T83" fmla="*/ 314 h 495"/>
                  <a:gd name="T84" fmla="*/ 487 w 529"/>
                  <a:gd name="T85" fmla="*/ 296 h 495"/>
                  <a:gd name="T86" fmla="*/ 487 w 529"/>
                  <a:gd name="T87" fmla="*/ 289 h 495"/>
                  <a:gd name="T88" fmla="*/ 501 w 529"/>
                  <a:gd name="T89" fmla="*/ 274 h 495"/>
                  <a:gd name="T90" fmla="*/ 487 w 529"/>
                  <a:gd name="T91" fmla="*/ 260 h 495"/>
                  <a:gd name="T92" fmla="*/ 487 w 529"/>
                  <a:gd name="T93" fmla="*/ 230 h 495"/>
                  <a:gd name="T94" fmla="*/ 501 w 529"/>
                  <a:gd name="T95" fmla="*/ 213 h 495"/>
                  <a:gd name="T96" fmla="*/ 487 w 529"/>
                  <a:gd name="T97" fmla="*/ 197 h 495"/>
                  <a:gd name="T98" fmla="*/ 487 w 529"/>
                  <a:gd name="T99" fmla="*/ 171 h 495"/>
                  <a:gd name="T100" fmla="*/ 501 w 529"/>
                  <a:gd name="T101" fmla="*/ 157 h 495"/>
                  <a:gd name="T102" fmla="*/ 487 w 529"/>
                  <a:gd name="T103" fmla="*/ 142 h 495"/>
                  <a:gd name="T104" fmla="*/ 487 w 529"/>
                  <a:gd name="T105" fmla="*/ 118 h 495"/>
                  <a:gd name="T106" fmla="*/ 487 w 529"/>
                  <a:gd name="T107" fmla="*/ 118 h 495"/>
                  <a:gd name="T108" fmla="*/ 503 w 529"/>
                  <a:gd name="T109" fmla="*/ 118 h 495"/>
                  <a:gd name="T110" fmla="*/ 508 w 529"/>
                  <a:gd name="T111" fmla="*/ 54 h 495"/>
                  <a:gd name="T112" fmla="*/ 518 w 529"/>
                  <a:gd name="T113" fmla="*/ 21 h 495"/>
                  <a:gd name="T114" fmla="*/ 514 w 529"/>
                  <a:gd name="T115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29" h="495">
                    <a:moveTo>
                      <a:pt x="514" y="0"/>
                    </a:moveTo>
                    <a:cubicBezTo>
                      <a:pt x="466" y="13"/>
                      <a:pt x="312" y="18"/>
                      <a:pt x="264" y="19"/>
                    </a:cubicBezTo>
                    <a:cubicBezTo>
                      <a:pt x="215" y="18"/>
                      <a:pt x="63" y="13"/>
                      <a:pt x="15" y="0"/>
                    </a:cubicBezTo>
                    <a:cubicBezTo>
                      <a:pt x="15" y="0"/>
                      <a:pt x="0" y="2"/>
                      <a:pt x="11" y="20"/>
                    </a:cubicBezTo>
                    <a:cubicBezTo>
                      <a:pt x="11" y="20"/>
                      <a:pt x="19" y="24"/>
                      <a:pt x="21" y="54"/>
                    </a:cubicBezTo>
                    <a:cubicBezTo>
                      <a:pt x="23" y="83"/>
                      <a:pt x="15" y="102"/>
                      <a:pt x="26" y="118"/>
                    </a:cubicBezTo>
                    <a:cubicBezTo>
                      <a:pt x="35" y="118"/>
                      <a:pt x="35" y="118"/>
                      <a:pt x="35" y="118"/>
                    </a:cubicBezTo>
                    <a:cubicBezTo>
                      <a:pt x="35" y="118"/>
                      <a:pt x="35" y="117"/>
                      <a:pt x="35" y="118"/>
                    </a:cubicBezTo>
                    <a:cubicBezTo>
                      <a:pt x="35" y="142"/>
                      <a:pt x="35" y="142"/>
                      <a:pt x="35" y="142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21" y="142"/>
                      <a:pt x="13" y="147"/>
                      <a:pt x="13" y="156"/>
                    </a:cubicBezTo>
                    <a:cubicBezTo>
                      <a:pt x="13" y="165"/>
                      <a:pt x="21" y="170"/>
                      <a:pt x="32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5" y="194"/>
                      <a:pt x="35" y="194"/>
                      <a:pt x="35" y="194"/>
                    </a:cubicBezTo>
                    <a:cubicBezTo>
                      <a:pt x="32" y="194"/>
                      <a:pt x="32" y="194"/>
                      <a:pt x="32" y="194"/>
                    </a:cubicBezTo>
                    <a:cubicBezTo>
                      <a:pt x="21" y="194"/>
                      <a:pt x="13" y="203"/>
                      <a:pt x="13" y="212"/>
                    </a:cubicBezTo>
                    <a:cubicBezTo>
                      <a:pt x="13" y="221"/>
                      <a:pt x="21" y="230"/>
                      <a:pt x="32" y="230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58"/>
                      <a:pt x="35" y="258"/>
                      <a:pt x="35" y="258"/>
                    </a:cubicBezTo>
                    <a:cubicBezTo>
                      <a:pt x="33" y="258"/>
                      <a:pt x="33" y="258"/>
                      <a:pt x="33" y="258"/>
                    </a:cubicBezTo>
                    <a:cubicBezTo>
                      <a:pt x="22" y="258"/>
                      <a:pt x="14" y="265"/>
                      <a:pt x="14" y="274"/>
                    </a:cubicBezTo>
                    <a:cubicBezTo>
                      <a:pt x="14" y="283"/>
                      <a:pt x="22" y="290"/>
                      <a:pt x="33" y="290"/>
                    </a:cubicBezTo>
                    <a:cubicBezTo>
                      <a:pt x="35" y="290"/>
                      <a:pt x="35" y="290"/>
                      <a:pt x="35" y="290"/>
                    </a:cubicBezTo>
                    <a:cubicBezTo>
                      <a:pt x="35" y="296"/>
                      <a:pt x="35" y="296"/>
                      <a:pt x="35" y="296"/>
                    </a:cubicBezTo>
                    <a:cubicBezTo>
                      <a:pt x="35" y="302"/>
                      <a:pt x="37" y="310"/>
                      <a:pt x="40" y="314"/>
                    </a:cubicBezTo>
                    <a:cubicBezTo>
                      <a:pt x="33" y="314"/>
                      <a:pt x="33" y="314"/>
                      <a:pt x="33" y="314"/>
                    </a:cubicBezTo>
                    <a:cubicBezTo>
                      <a:pt x="22" y="314"/>
                      <a:pt x="14" y="323"/>
                      <a:pt x="14" y="332"/>
                    </a:cubicBezTo>
                    <a:cubicBezTo>
                      <a:pt x="14" y="341"/>
                      <a:pt x="22" y="350"/>
                      <a:pt x="33" y="350"/>
                    </a:cubicBezTo>
                    <a:cubicBezTo>
                      <a:pt x="59" y="350"/>
                      <a:pt x="59" y="350"/>
                      <a:pt x="59" y="350"/>
                    </a:cubicBezTo>
                    <a:cubicBezTo>
                      <a:pt x="66" y="358"/>
                      <a:pt x="77" y="370"/>
                      <a:pt x="90" y="379"/>
                    </a:cubicBezTo>
                    <a:cubicBezTo>
                      <a:pt x="107" y="391"/>
                      <a:pt x="125" y="404"/>
                      <a:pt x="143" y="417"/>
                    </a:cubicBezTo>
                    <a:cubicBezTo>
                      <a:pt x="143" y="417"/>
                      <a:pt x="142" y="417"/>
                      <a:pt x="142" y="417"/>
                    </a:cubicBezTo>
                    <a:cubicBezTo>
                      <a:pt x="161" y="432"/>
                      <a:pt x="203" y="468"/>
                      <a:pt x="236" y="485"/>
                    </a:cubicBezTo>
                    <a:cubicBezTo>
                      <a:pt x="241" y="488"/>
                      <a:pt x="246" y="490"/>
                      <a:pt x="251" y="492"/>
                    </a:cubicBezTo>
                    <a:cubicBezTo>
                      <a:pt x="257" y="494"/>
                      <a:pt x="262" y="495"/>
                      <a:pt x="267" y="494"/>
                    </a:cubicBezTo>
                    <a:cubicBezTo>
                      <a:pt x="299" y="492"/>
                      <a:pt x="381" y="416"/>
                      <a:pt x="381" y="416"/>
                    </a:cubicBezTo>
                    <a:cubicBezTo>
                      <a:pt x="380" y="416"/>
                      <a:pt x="380" y="417"/>
                      <a:pt x="379" y="417"/>
                    </a:cubicBezTo>
                    <a:cubicBezTo>
                      <a:pt x="407" y="398"/>
                      <a:pt x="440" y="374"/>
                      <a:pt x="460" y="350"/>
                    </a:cubicBezTo>
                    <a:cubicBezTo>
                      <a:pt x="482" y="350"/>
                      <a:pt x="482" y="350"/>
                      <a:pt x="482" y="350"/>
                    </a:cubicBezTo>
                    <a:cubicBezTo>
                      <a:pt x="492" y="350"/>
                      <a:pt x="501" y="341"/>
                      <a:pt x="501" y="332"/>
                    </a:cubicBezTo>
                    <a:cubicBezTo>
                      <a:pt x="501" y="323"/>
                      <a:pt x="492" y="314"/>
                      <a:pt x="482" y="314"/>
                    </a:cubicBezTo>
                    <a:cubicBezTo>
                      <a:pt x="482" y="314"/>
                      <a:pt x="482" y="314"/>
                      <a:pt x="482" y="314"/>
                    </a:cubicBezTo>
                    <a:cubicBezTo>
                      <a:pt x="485" y="310"/>
                      <a:pt x="487" y="302"/>
                      <a:pt x="487" y="296"/>
                    </a:cubicBezTo>
                    <a:cubicBezTo>
                      <a:pt x="487" y="289"/>
                      <a:pt x="487" y="289"/>
                      <a:pt x="487" y="289"/>
                    </a:cubicBezTo>
                    <a:cubicBezTo>
                      <a:pt x="495" y="287"/>
                      <a:pt x="501" y="282"/>
                      <a:pt x="501" y="274"/>
                    </a:cubicBezTo>
                    <a:cubicBezTo>
                      <a:pt x="501" y="267"/>
                      <a:pt x="495" y="262"/>
                      <a:pt x="487" y="260"/>
                    </a:cubicBezTo>
                    <a:cubicBezTo>
                      <a:pt x="487" y="230"/>
                      <a:pt x="487" y="230"/>
                      <a:pt x="487" y="230"/>
                    </a:cubicBezTo>
                    <a:cubicBezTo>
                      <a:pt x="495" y="227"/>
                      <a:pt x="501" y="221"/>
                      <a:pt x="501" y="213"/>
                    </a:cubicBezTo>
                    <a:cubicBezTo>
                      <a:pt x="501" y="206"/>
                      <a:pt x="495" y="199"/>
                      <a:pt x="487" y="197"/>
                    </a:cubicBezTo>
                    <a:cubicBezTo>
                      <a:pt x="487" y="171"/>
                      <a:pt x="487" y="171"/>
                      <a:pt x="487" y="171"/>
                    </a:cubicBezTo>
                    <a:cubicBezTo>
                      <a:pt x="495" y="169"/>
                      <a:pt x="501" y="164"/>
                      <a:pt x="501" y="157"/>
                    </a:cubicBezTo>
                    <a:cubicBezTo>
                      <a:pt x="501" y="149"/>
                      <a:pt x="495" y="144"/>
                      <a:pt x="487" y="142"/>
                    </a:cubicBezTo>
                    <a:cubicBezTo>
                      <a:pt x="487" y="118"/>
                      <a:pt x="487" y="118"/>
                      <a:pt x="487" y="118"/>
                    </a:cubicBezTo>
                    <a:cubicBezTo>
                      <a:pt x="487" y="117"/>
                      <a:pt x="487" y="118"/>
                      <a:pt x="487" y="118"/>
                    </a:cubicBezTo>
                    <a:cubicBezTo>
                      <a:pt x="503" y="118"/>
                      <a:pt x="503" y="118"/>
                      <a:pt x="503" y="118"/>
                    </a:cubicBezTo>
                    <a:cubicBezTo>
                      <a:pt x="515" y="102"/>
                      <a:pt x="506" y="83"/>
                      <a:pt x="508" y="54"/>
                    </a:cubicBezTo>
                    <a:cubicBezTo>
                      <a:pt x="510" y="24"/>
                      <a:pt x="518" y="21"/>
                      <a:pt x="518" y="21"/>
                    </a:cubicBezTo>
                    <a:cubicBezTo>
                      <a:pt x="529" y="3"/>
                      <a:pt x="514" y="0"/>
                      <a:pt x="51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53" name="ïṧļiḋe">
                <a:extLst>
                  <a:ext uri="{FF2B5EF4-FFF2-40B4-BE49-F238E27FC236}">
                    <a16:creationId xmlns:a16="http://schemas.microsoft.com/office/drawing/2014/main" id="{FDCC757F-03AE-438C-9D60-61374242F25F}"/>
                  </a:ext>
                </a:extLst>
              </p:cNvPr>
              <p:cNvSpPr/>
              <p:nvPr/>
            </p:nvSpPr>
            <p:spPr bwMode="auto">
              <a:xfrm>
                <a:off x="4949779" y="2023562"/>
                <a:ext cx="2292441" cy="1906429"/>
              </a:xfrm>
              <a:custGeom>
                <a:avLst/>
                <a:gdLst>
                  <a:gd name="T0" fmla="*/ 872 w 1090"/>
                  <a:gd name="T1" fmla="*/ 0 h 908"/>
                  <a:gd name="T2" fmla="*/ 562 w 1090"/>
                  <a:gd name="T3" fmla="*/ 344 h 908"/>
                  <a:gd name="T4" fmla="*/ 11 w 1090"/>
                  <a:gd name="T5" fmla="*/ 461 h 908"/>
                  <a:gd name="T6" fmla="*/ 132 w 1090"/>
                  <a:gd name="T7" fmla="*/ 805 h 908"/>
                  <a:gd name="T8" fmla="*/ 1090 w 1090"/>
                  <a:gd name="T9" fmla="*/ 292 h 908"/>
                  <a:gd name="T10" fmla="*/ 872 w 1090"/>
                  <a:gd name="T11" fmla="*/ 0 h 9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0" h="908">
                    <a:moveTo>
                      <a:pt x="872" y="0"/>
                    </a:moveTo>
                    <a:cubicBezTo>
                      <a:pt x="872" y="0"/>
                      <a:pt x="898" y="160"/>
                      <a:pt x="562" y="344"/>
                    </a:cubicBezTo>
                    <a:cubicBezTo>
                      <a:pt x="225" y="528"/>
                      <a:pt x="17" y="492"/>
                      <a:pt x="11" y="461"/>
                    </a:cubicBezTo>
                    <a:cubicBezTo>
                      <a:pt x="11" y="461"/>
                      <a:pt x="0" y="642"/>
                      <a:pt x="132" y="805"/>
                    </a:cubicBezTo>
                    <a:cubicBezTo>
                      <a:pt x="132" y="805"/>
                      <a:pt x="681" y="908"/>
                      <a:pt x="1090" y="292"/>
                    </a:cubicBezTo>
                    <a:cubicBezTo>
                      <a:pt x="1090" y="292"/>
                      <a:pt x="1046" y="103"/>
                      <a:pt x="87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51" name="íṩḻîďê">
                <a:extLst>
                  <a:ext uri="{FF2B5EF4-FFF2-40B4-BE49-F238E27FC236}">
                    <a16:creationId xmlns:a16="http://schemas.microsoft.com/office/drawing/2014/main" id="{11DEB5E2-99C6-4B7F-969D-B4857B7D78AD}"/>
                  </a:ext>
                </a:extLst>
              </p:cNvPr>
              <p:cNvSpPr/>
              <p:nvPr/>
            </p:nvSpPr>
            <p:spPr bwMode="auto">
              <a:xfrm>
                <a:off x="5442741" y="3430349"/>
                <a:ext cx="1788261" cy="1148846"/>
              </a:xfrm>
              <a:custGeom>
                <a:avLst/>
                <a:gdLst>
                  <a:gd name="T0" fmla="*/ 850 w 850"/>
                  <a:gd name="T1" fmla="*/ 0 h 547"/>
                  <a:gd name="T2" fmla="*/ 0 w 850"/>
                  <a:gd name="T3" fmla="*/ 328 h 547"/>
                  <a:gd name="T4" fmla="*/ 17 w 850"/>
                  <a:gd name="T5" fmla="*/ 397 h 547"/>
                  <a:gd name="T6" fmla="*/ 75 w 850"/>
                  <a:gd name="T7" fmla="*/ 540 h 547"/>
                  <a:gd name="T8" fmla="*/ 657 w 850"/>
                  <a:gd name="T9" fmla="*/ 371 h 547"/>
                  <a:gd name="T10" fmla="*/ 730 w 850"/>
                  <a:gd name="T11" fmla="*/ 207 h 547"/>
                  <a:gd name="T12" fmla="*/ 850 w 850"/>
                  <a:gd name="T13" fmla="*/ 0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0" h="547">
                    <a:moveTo>
                      <a:pt x="850" y="0"/>
                    </a:moveTo>
                    <a:cubicBezTo>
                      <a:pt x="850" y="0"/>
                      <a:pt x="586" y="297"/>
                      <a:pt x="0" y="328"/>
                    </a:cubicBezTo>
                    <a:cubicBezTo>
                      <a:pt x="0" y="328"/>
                      <a:pt x="13" y="357"/>
                      <a:pt x="17" y="397"/>
                    </a:cubicBezTo>
                    <a:cubicBezTo>
                      <a:pt x="20" y="437"/>
                      <a:pt x="51" y="533"/>
                      <a:pt x="75" y="540"/>
                    </a:cubicBezTo>
                    <a:cubicBezTo>
                      <a:pt x="100" y="547"/>
                      <a:pt x="484" y="535"/>
                      <a:pt x="657" y="371"/>
                    </a:cubicBezTo>
                    <a:cubicBezTo>
                      <a:pt x="657" y="371"/>
                      <a:pt x="646" y="314"/>
                      <a:pt x="730" y="207"/>
                    </a:cubicBezTo>
                    <a:cubicBezTo>
                      <a:pt x="816" y="107"/>
                      <a:pt x="850" y="0"/>
                      <a:pt x="850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52" name="íśḻïḓê">
                <a:extLst>
                  <a:ext uri="{FF2B5EF4-FFF2-40B4-BE49-F238E27FC236}">
                    <a16:creationId xmlns:a16="http://schemas.microsoft.com/office/drawing/2014/main" id="{4D0A8A11-A590-4A79-9247-0415833F445B}"/>
                  </a:ext>
                </a:extLst>
              </p:cNvPr>
              <p:cNvSpPr/>
              <p:nvPr/>
            </p:nvSpPr>
            <p:spPr bwMode="auto">
              <a:xfrm>
                <a:off x="5075301" y="1661974"/>
                <a:ext cx="1225000" cy="938772"/>
              </a:xfrm>
              <a:custGeom>
                <a:avLst/>
                <a:gdLst>
                  <a:gd name="T0" fmla="*/ 0 w 582"/>
                  <a:gd name="T1" fmla="*/ 397 h 447"/>
                  <a:gd name="T2" fmla="*/ 582 w 582"/>
                  <a:gd name="T3" fmla="*/ 82 h 447"/>
                  <a:gd name="T4" fmla="*/ 0 w 582"/>
                  <a:gd name="T5" fmla="*/ 397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2" h="447">
                    <a:moveTo>
                      <a:pt x="0" y="397"/>
                    </a:moveTo>
                    <a:cubicBezTo>
                      <a:pt x="0" y="397"/>
                      <a:pt x="430" y="447"/>
                      <a:pt x="582" y="82"/>
                    </a:cubicBezTo>
                    <a:cubicBezTo>
                      <a:pt x="582" y="82"/>
                      <a:pt x="209" y="0"/>
                      <a:pt x="0" y="39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</p:grpSp>
        <p:grpSp>
          <p:nvGrpSpPr>
            <p:cNvPr id="35" name="ïš1íḓè">
              <a:extLst>
                <a:ext uri="{FF2B5EF4-FFF2-40B4-BE49-F238E27FC236}">
                  <a16:creationId xmlns:a16="http://schemas.microsoft.com/office/drawing/2014/main" id="{A418C5C7-5537-414E-B1EB-834A449D8B6F}"/>
                </a:ext>
              </a:extLst>
            </p:cNvPr>
            <p:cNvGrpSpPr/>
            <p:nvPr/>
          </p:nvGrpSpPr>
          <p:grpSpPr>
            <a:xfrm>
              <a:off x="7457243" y="2537474"/>
              <a:ext cx="4061657" cy="892875"/>
              <a:chOff x="5833539" y="1673477"/>
              <a:chExt cx="3732738" cy="892875"/>
            </a:xfrm>
          </p:grpSpPr>
          <p:sp>
            <p:nvSpPr>
              <p:cNvPr id="44" name="ísḻiď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5833539" y="2061075"/>
                <a:ext cx="3732738" cy="505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5" name="isḻiḓê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5833539" y="1673477"/>
                <a:ext cx="3732738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2.Text here</a:t>
                </a:r>
              </a:p>
            </p:txBody>
          </p:sp>
        </p:grpSp>
        <p:grpSp>
          <p:nvGrpSpPr>
            <p:cNvPr id="36" name="ïŝḻîďé">
              <a:extLst>
                <a:ext uri="{FF2B5EF4-FFF2-40B4-BE49-F238E27FC236}">
                  <a16:creationId xmlns:a16="http://schemas.microsoft.com/office/drawing/2014/main" id="{120E9BF3-A2D8-4DD0-BF6E-127C608C2155}"/>
                </a:ext>
              </a:extLst>
            </p:cNvPr>
            <p:cNvGrpSpPr/>
            <p:nvPr/>
          </p:nvGrpSpPr>
          <p:grpSpPr>
            <a:xfrm>
              <a:off x="673100" y="1607032"/>
              <a:ext cx="4061657" cy="892875"/>
              <a:chOff x="5833539" y="1673477"/>
              <a:chExt cx="3732738" cy="892875"/>
            </a:xfrm>
          </p:grpSpPr>
          <p:sp>
            <p:nvSpPr>
              <p:cNvPr id="42" name="iSľïde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5833539" y="2061075"/>
                <a:ext cx="3732738" cy="505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3" name="ïŝľïḑ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5833539" y="1673477"/>
                <a:ext cx="3732738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1.Text here</a:t>
                </a:r>
              </a:p>
            </p:txBody>
          </p:sp>
        </p:grpSp>
        <p:grpSp>
          <p:nvGrpSpPr>
            <p:cNvPr id="37" name="íṩ1iḓe">
              <a:extLst>
                <a:ext uri="{FF2B5EF4-FFF2-40B4-BE49-F238E27FC236}">
                  <a16:creationId xmlns:a16="http://schemas.microsoft.com/office/drawing/2014/main" id="{E8513645-8D90-4ED5-9EA8-40F3287ED8B3}"/>
                </a:ext>
              </a:extLst>
            </p:cNvPr>
            <p:cNvGrpSpPr/>
            <p:nvPr/>
          </p:nvGrpSpPr>
          <p:grpSpPr>
            <a:xfrm>
              <a:off x="673100" y="3671618"/>
              <a:ext cx="4061657" cy="892875"/>
              <a:chOff x="5833539" y="1673477"/>
              <a:chExt cx="3732738" cy="892875"/>
            </a:xfrm>
          </p:grpSpPr>
          <p:sp>
            <p:nvSpPr>
              <p:cNvPr id="40" name="isļïḑê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5833539" y="2061075"/>
                <a:ext cx="3732738" cy="505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1" name="ïśľïd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5833539" y="1673477"/>
                <a:ext cx="3732738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03.Text here</a:t>
                </a:r>
              </a:p>
            </p:txBody>
          </p:sp>
        </p:grpSp>
        <p:cxnSp>
          <p:nvCxnSpPr>
            <p:cNvPr id="38" name="ïsḻíḋé">
              <a:extLst>
                <a:ext uri="{FF2B5EF4-FFF2-40B4-BE49-F238E27FC236}">
                  <a16:creationId xmlns:a16="http://schemas.microsoft.com/office/drawing/2014/main" id="{14BC914D-64BA-4CDB-8AF5-134E02D5A042}"/>
                </a:ext>
              </a:extLst>
            </p:cNvPr>
            <p:cNvCxnSpPr/>
            <p:nvPr/>
          </p:nvCxnSpPr>
          <p:spPr>
            <a:xfrm flipH="1">
              <a:off x="673100" y="2499907"/>
              <a:ext cx="44066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ïṣ1îḋe">
              <a:extLst>
                <a:ext uri="{FF2B5EF4-FFF2-40B4-BE49-F238E27FC236}">
                  <a16:creationId xmlns:a16="http://schemas.microsoft.com/office/drawing/2014/main" id="{52AD3D73-2936-4BFB-B257-43ABEBBF96B8}"/>
                </a:ext>
              </a:extLst>
            </p:cNvPr>
            <p:cNvCxnSpPr/>
            <p:nvPr/>
          </p:nvCxnSpPr>
          <p:spPr>
            <a:xfrm flipH="1">
              <a:off x="673100" y="4564493"/>
              <a:ext cx="492742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928810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ļ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ïḑê">
            <a:extLst>
              <a:ext uri="{FF2B5EF4-FFF2-40B4-BE49-F238E27FC236}">
                <a16:creationId xmlns:a16="http://schemas.microsoft.com/office/drawing/2014/main" id="{11B7676B-1F0A-4FF1-99C8-2F7D16A2A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sľîďé">
            <a:extLst>
              <a:ext uri="{FF2B5EF4-FFF2-40B4-BE49-F238E27FC236}">
                <a16:creationId xmlns:a16="http://schemas.microsoft.com/office/drawing/2014/main" id="{A0FCE99E-B4A5-4E2F-9813-E9FBC3EB2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šļídè">
            <a:extLst>
              <a:ext uri="{FF2B5EF4-FFF2-40B4-BE49-F238E27FC236}">
                <a16:creationId xmlns:a16="http://schemas.microsoft.com/office/drawing/2014/main" id="{CFD44A19-4F03-4AC6-AE19-8609F36F0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121" name="îšlí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BEDAB22-409D-473A-9B93-EC55A9C5F595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3950"/>
            <a:ext cx="10848974" cy="5022850"/>
            <a:chOff x="669925" y="1123950"/>
            <a:chExt cx="10848974" cy="5022850"/>
          </a:xfrm>
        </p:grpSpPr>
        <p:cxnSp>
          <p:nvCxnSpPr>
            <p:cNvPr id="122" name="iṡḷíḋè">
              <a:extLst>
                <a:ext uri="{FF2B5EF4-FFF2-40B4-BE49-F238E27FC236}">
                  <a16:creationId xmlns:a16="http://schemas.microsoft.com/office/drawing/2014/main" id="{628C5A1F-AE09-45FF-9A68-11C2753BCEDC}"/>
                </a:ext>
              </a:extLst>
            </p:cNvPr>
            <p:cNvCxnSpPr/>
            <p:nvPr/>
          </p:nvCxnSpPr>
          <p:spPr>
            <a:xfrm>
              <a:off x="3889528" y="5585719"/>
              <a:ext cx="0" cy="55790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íṥľidè">
              <a:extLst>
                <a:ext uri="{FF2B5EF4-FFF2-40B4-BE49-F238E27FC236}">
                  <a16:creationId xmlns:a16="http://schemas.microsoft.com/office/drawing/2014/main" id="{697BD698-6411-4192-893C-A9941575ED36}"/>
                </a:ext>
              </a:extLst>
            </p:cNvPr>
            <p:cNvCxnSpPr/>
            <p:nvPr/>
          </p:nvCxnSpPr>
          <p:spPr>
            <a:xfrm>
              <a:off x="5360509" y="4616326"/>
              <a:ext cx="0" cy="152729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iSļiḋe">
              <a:extLst>
                <a:ext uri="{FF2B5EF4-FFF2-40B4-BE49-F238E27FC236}">
                  <a16:creationId xmlns:a16="http://schemas.microsoft.com/office/drawing/2014/main" id="{6AECB7D6-C0B3-4B89-A67C-CAB02E26B66B}"/>
                </a:ext>
              </a:extLst>
            </p:cNvPr>
            <p:cNvCxnSpPr/>
            <p:nvPr/>
          </p:nvCxnSpPr>
          <p:spPr>
            <a:xfrm>
              <a:off x="6831490" y="3646934"/>
              <a:ext cx="0" cy="249669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í$ḷíďè">
              <a:extLst>
                <a:ext uri="{FF2B5EF4-FFF2-40B4-BE49-F238E27FC236}">
                  <a16:creationId xmlns:a16="http://schemas.microsoft.com/office/drawing/2014/main" id="{462E9627-CFED-419A-96A6-3D0371E14F50}"/>
                </a:ext>
              </a:extLst>
            </p:cNvPr>
            <p:cNvCxnSpPr>
              <a:cxnSpLocks/>
            </p:cNvCxnSpPr>
            <p:nvPr/>
          </p:nvCxnSpPr>
          <p:spPr>
            <a:xfrm>
              <a:off x="8302473" y="2677542"/>
              <a:ext cx="0" cy="3466083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6" name="îṡḻiďê">
              <a:extLst>
                <a:ext uri="{FF2B5EF4-FFF2-40B4-BE49-F238E27FC236}">
                  <a16:creationId xmlns:a16="http://schemas.microsoft.com/office/drawing/2014/main" id="{1A1534C9-8F3F-4E76-B912-22B89F63ACBC}"/>
                </a:ext>
              </a:extLst>
            </p:cNvPr>
            <p:cNvGrpSpPr/>
            <p:nvPr/>
          </p:nvGrpSpPr>
          <p:grpSpPr>
            <a:xfrm>
              <a:off x="7561187" y="1123950"/>
              <a:ext cx="1482571" cy="1553592"/>
              <a:chOff x="7561187" y="1691381"/>
              <a:chExt cx="1482571" cy="1553592"/>
            </a:xfrm>
          </p:grpSpPr>
          <p:sp>
            <p:nvSpPr>
              <p:cNvPr id="148" name="iṣlïḓe">
                <a:extLst>
                  <a:ext uri="{FF2B5EF4-FFF2-40B4-BE49-F238E27FC236}">
                    <a16:creationId xmlns:a16="http://schemas.microsoft.com/office/drawing/2014/main" id="{452BFAB4-2CA6-49BD-BE2E-ED863BC8BACB}"/>
                  </a:ext>
                </a:extLst>
              </p:cNvPr>
              <p:cNvSpPr/>
              <p:nvPr/>
            </p:nvSpPr>
            <p:spPr>
              <a:xfrm>
                <a:off x="7561187" y="1691381"/>
                <a:ext cx="1482571" cy="155359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49" name="iṧḻiḍè">
                <a:extLst>
                  <a:ext uri="{FF2B5EF4-FFF2-40B4-BE49-F238E27FC236}">
                    <a16:creationId xmlns:a16="http://schemas.microsoft.com/office/drawing/2014/main" id="{1175A03F-584F-42FA-AAB4-34973BABBF54}"/>
                  </a:ext>
                </a:extLst>
              </p:cNvPr>
              <p:cNvSpPr/>
              <p:nvPr/>
            </p:nvSpPr>
            <p:spPr bwMode="auto">
              <a:xfrm>
                <a:off x="8054083" y="2241964"/>
                <a:ext cx="496779" cy="452424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27" name="íṣḻíḋe">
              <a:extLst>
                <a:ext uri="{FF2B5EF4-FFF2-40B4-BE49-F238E27FC236}">
                  <a16:creationId xmlns:a16="http://schemas.microsoft.com/office/drawing/2014/main" id="{9CB8B0FC-753A-4EC6-BE6C-D399564B4889}"/>
                </a:ext>
              </a:extLst>
            </p:cNvPr>
            <p:cNvGrpSpPr/>
            <p:nvPr/>
          </p:nvGrpSpPr>
          <p:grpSpPr>
            <a:xfrm>
              <a:off x="4619223" y="3062734"/>
              <a:ext cx="1482571" cy="1553592"/>
              <a:chOff x="4619223" y="3251879"/>
              <a:chExt cx="1482571" cy="1553592"/>
            </a:xfrm>
          </p:grpSpPr>
          <p:sp>
            <p:nvSpPr>
              <p:cNvPr id="146" name="ïṥļide">
                <a:extLst>
                  <a:ext uri="{FF2B5EF4-FFF2-40B4-BE49-F238E27FC236}">
                    <a16:creationId xmlns:a16="http://schemas.microsoft.com/office/drawing/2014/main" id="{335B5B30-FFB5-43A3-9AF3-F2446A3D932A}"/>
                  </a:ext>
                </a:extLst>
              </p:cNvPr>
              <p:cNvSpPr/>
              <p:nvPr/>
            </p:nvSpPr>
            <p:spPr>
              <a:xfrm>
                <a:off x="4619223" y="3251879"/>
                <a:ext cx="1482571" cy="155359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47" name="íŝľíďê">
                <a:extLst>
                  <a:ext uri="{FF2B5EF4-FFF2-40B4-BE49-F238E27FC236}">
                    <a16:creationId xmlns:a16="http://schemas.microsoft.com/office/drawing/2014/main" id="{375554B2-0EC2-4257-8B38-BCAD59708ADD}"/>
                  </a:ext>
                </a:extLst>
              </p:cNvPr>
              <p:cNvSpPr/>
              <p:nvPr/>
            </p:nvSpPr>
            <p:spPr bwMode="auto">
              <a:xfrm>
                <a:off x="5114591" y="3759113"/>
                <a:ext cx="491832" cy="539124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28" name="îsļíďè">
              <a:extLst>
                <a:ext uri="{FF2B5EF4-FFF2-40B4-BE49-F238E27FC236}">
                  <a16:creationId xmlns:a16="http://schemas.microsoft.com/office/drawing/2014/main" id="{0D3BF5E5-84DA-4613-B84D-B1A0B177EC53}"/>
                </a:ext>
              </a:extLst>
            </p:cNvPr>
            <p:cNvGrpSpPr/>
            <p:nvPr/>
          </p:nvGrpSpPr>
          <p:grpSpPr>
            <a:xfrm>
              <a:off x="3148242" y="4032127"/>
              <a:ext cx="1482571" cy="1553592"/>
              <a:chOff x="3148242" y="4032127"/>
              <a:chExt cx="1482571" cy="1553592"/>
            </a:xfrm>
          </p:grpSpPr>
          <p:sp>
            <p:nvSpPr>
              <p:cNvPr id="144" name="islíďè">
                <a:extLst>
                  <a:ext uri="{FF2B5EF4-FFF2-40B4-BE49-F238E27FC236}">
                    <a16:creationId xmlns:a16="http://schemas.microsoft.com/office/drawing/2014/main" id="{1BA5F9D1-70AA-4804-8B38-03DF8E6C1DA7}"/>
                  </a:ext>
                </a:extLst>
              </p:cNvPr>
              <p:cNvSpPr/>
              <p:nvPr/>
            </p:nvSpPr>
            <p:spPr>
              <a:xfrm>
                <a:off x="3148242" y="4032127"/>
                <a:ext cx="1482571" cy="155359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45" name="i$ḷídè">
                <a:extLst>
                  <a:ext uri="{FF2B5EF4-FFF2-40B4-BE49-F238E27FC236}">
                    <a16:creationId xmlns:a16="http://schemas.microsoft.com/office/drawing/2014/main" id="{30F49A89-B8FC-4A14-879B-45B999C103C0}"/>
                  </a:ext>
                </a:extLst>
              </p:cNvPr>
              <p:cNvSpPr/>
              <p:nvPr/>
            </p:nvSpPr>
            <p:spPr bwMode="auto">
              <a:xfrm>
                <a:off x="3642127" y="4611919"/>
                <a:ext cx="494800" cy="394007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29" name="î$1ïḋè">
              <a:extLst>
                <a:ext uri="{FF2B5EF4-FFF2-40B4-BE49-F238E27FC236}">
                  <a16:creationId xmlns:a16="http://schemas.microsoft.com/office/drawing/2014/main" id="{98EE547B-A057-4CC4-BDC5-189F6A0073A2}"/>
                </a:ext>
              </a:extLst>
            </p:cNvPr>
            <p:cNvGrpSpPr/>
            <p:nvPr/>
          </p:nvGrpSpPr>
          <p:grpSpPr>
            <a:xfrm>
              <a:off x="6090204" y="2093342"/>
              <a:ext cx="1482571" cy="1553592"/>
              <a:chOff x="6090204" y="2471630"/>
              <a:chExt cx="1482571" cy="1553592"/>
            </a:xfrm>
          </p:grpSpPr>
          <p:sp>
            <p:nvSpPr>
              <p:cNvPr id="142" name="ísļiḑê">
                <a:extLst>
                  <a:ext uri="{FF2B5EF4-FFF2-40B4-BE49-F238E27FC236}">
                    <a16:creationId xmlns:a16="http://schemas.microsoft.com/office/drawing/2014/main" id="{68376539-2854-4DC5-BEFD-B25BD02EF435}"/>
                  </a:ext>
                </a:extLst>
              </p:cNvPr>
              <p:cNvSpPr/>
              <p:nvPr/>
            </p:nvSpPr>
            <p:spPr>
              <a:xfrm>
                <a:off x="6090204" y="2471630"/>
                <a:ext cx="1482571" cy="155359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143" name="îŝḻïḍè">
                <a:extLst>
                  <a:ext uri="{FF2B5EF4-FFF2-40B4-BE49-F238E27FC236}">
                    <a16:creationId xmlns:a16="http://schemas.microsoft.com/office/drawing/2014/main" id="{1175A03F-584F-42FA-AAB4-34973BABBF54}"/>
                  </a:ext>
                </a:extLst>
              </p:cNvPr>
              <p:cNvSpPr/>
              <p:nvPr/>
            </p:nvSpPr>
            <p:spPr bwMode="auto">
              <a:xfrm>
                <a:off x="6610751" y="3064658"/>
                <a:ext cx="441476" cy="367535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130" name="îşḷíḋe">
              <a:extLst>
                <a:ext uri="{FF2B5EF4-FFF2-40B4-BE49-F238E27FC236}">
                  <a16:creationId xmlns:a16="http://schemas.microsoft.com/office/drawing/2014/main" id="{EBFBA4E3-9332-44DF-A320-7B0744C1A346}"/>
                </a:ext>
              </a:extLst>
            </p:cNvPr>
            <p:cNvSpPr txBox="1"/>
            <p:nvPr/>
          </p:nvSpPr>
          <p:spPr>
            <a:xfrm>
              <a:off x="8398276" y="5257662"/>
              <a:ext cx="3120623" cy="88913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buSzPct val="25000"/>
              </a:pPr>
              <a:r>
                <a:rPr lang="en-US" sz="2400" b="1" dirty="0"/>
                <a:t>Unified fonts make</a:t>
              </a:r>
            </a:p>
            <a:p>
              <a:pPr algn="r">
                <a:buSzPct val="25000"/>
              </a:pPr>
              <a:r>
                <a:rPr lang="en-US" sz="2400" b="1" dirty="0"/>
                <a:t>reading more fluent.</a:t>
              </a:r>
            </a:p>
          </p:txBody>
        </p:sp>
        <p:cxnSp>
          <p:nvCxnSpPr>
            <p:cNvPr id="131" name="ïṩļiḓê">
              <a:extLst>
                <a:ext uri="{FF2B5EF4-FFF2-40B4-BE49-F238E27FC236}">
                  <a16:creationId xmlns:a16="http://schemas.microsoft.com/office/drawing/2014/main" id="{78176C58-E68B-4739-B6F2-B8107782C934}"/>
                </a:ext>
              </a:extLst>
            </p:cNvPr>
            <p:cNvCxnSpPr/>
            <p:nvPr/>
          </p:nvCxnSpPr>
          <p:spPr>
            <a:xfrm flipH="1" flipV="1">
              <a:off x="669925" y="4805471"/>
              <a:ext cx="2478317" cy="345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íšḷiďé">
              <a:extLst>
                <a:ext uri="{FF2B5EF4-FFF2-40B4-BE49-F238E27FC236}">
                  <a16:creationId xmlns:a16="http://schemas.microsoft.com/office/drawing/2014/main" id="{E1474C32-2EB5-4FC1-95B6-4868DCA3DD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3062734"/>
              <a:ext cx="4690584" cy="602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ïṧḻídê">
              <a:extLst>
                <a:ext uri="{FF2B5EF4-FFF2-40B4-BE49-F238E27FC236}">
                  <a16:creationId xmlns:a16="http://schemas.microsoft.com/office/drawing/2014/main" id="{EBD0128D-6805-40BD-9F72-B06AE9D0884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9925" y="1894718"/>
              <a:ext cx="6891262" cy="602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ïšļíḓè">
              <a:extLst>
                <a:ext uri="{FF2B5EF4-FFF2-40B4-BE49-F238E27FC236}">
                  <a16:creationId xmlns:a16="http://schemas.microsoft.com/office/drawing/2014/main" id="{85CD3477-DC03-4866-838E-3A678B145CB6}"/>
                </a:ext>
              </a:extLst>
            </p:cNvPr>
            <p:cNvSpPr/>
            <p:nvPr/>
          </p:nvSpPr>
          <p:spPr bwMode="auto">
            <a:xfrm>
              <a:off x="673100" y="5029168"/>
              <a:ext cx="1968686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35" name="îśḷíḓe">
              <a:extLst>
                <a:ext uri="{FF2B5EF4-FFF2-40B4-BE49-F238E27FC236}">
                  <a16:creationId xmlns:a16="http://schemas.microsoft.com/office/drawing/2014/main" id="{FC33904B-5668-4000-85DF-366B6CA0E8DA}"/>
                </a:ext>
              </a:extLst>
            </p:cNvPr>
            <p:cNvSpPr/>
            <p:nvPr/>
          </p:nvSpPr>
          <p:spPr bwMode="auto">
            <a:xfrm>
              <a:off x="1507850" y="3392817"/>
              <a:ext cx="2635044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36" name="îsḻiďê">
              <a:extLst>
                <a:ext uri="{FF2B5EF4-FFF2-40B4-BE49-F238E27FC236}">
                  <a16:creationId xmlns:a16="http://schemas.microsoft.com/office/drawing/2014/main" id="{61691416-CB83-4F2E-8719-4CEEAF7B9BBC}"/>
                </a:ext>
              </a:extLst>
            </p:cNvPr>
            <p:cNvSpPr/>
            <p:nvPr/>
          </p:nvSpPr>
          <p:spPr bwMode="auto">
            <a:xfrm>
              <a:off x="3015217" y="2196573"/>
              <a:ext cx="2638191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37" name="ïslïḓê">
              <a:extLst>
                <a:ext uri="{FF2B5EF4-FFF2-40B4-BE49-F238E27FC236}">
                  <a16:creationId xmlns:a16="http://schemas.microsoft.com/office/drawing/2014/main" id="{614CAEC2-6F38-4790-9926-DB1B3B2426BE}"/>
                </a:ext>
              </a:extLst>
            </p:cNvPr>
            <p:cNvSpPr/>
            <p:nvPr/>
          </p:nvSpPr>
          <p:spPr bwMode="auto">
            <a:xfrm>
              <a:off x="4605861" y="1144215"/>
              <a:ext cx="2645839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38" name="íṣḻídé">
              <a:extLst>
                <a:ext uri="{FF2B5EF4-FFF2-40B4-BE49-F238E27FC236}">
                  <a16:creationId xmlns:a16="http://schemas.microsoft.com/office/drawing/2014/main" id="{CC417963-2E01-4C76-BF42-84F3737B16AE}"/>
                </a:ext>
              </a:extLst>
            </p:cNvPr>
            <p:cNvSpPr txBox="1"/>
            <p:nvPr/>
          </p:nvSpPr>
          <p:spPr bwMode="auto">
            <a:xfrm>
              <a:off x="3194354" y="5670196"/>
              <a:ext cx="1390346" cy="387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i="1" dirty="0"/>
                <a:t>Text here</a:t>
              </a:r>
            </a:p>
          </p:txBody>
        </p:sp>
        <p:sp>
          <p:nvSpPr>
            <p:cNvPr id="139" name="íṩḻïḑè">
              <a:extLst>
                <a:ext uri="{FF2B5EF4-FFF2-40B4-BE49-F238E27FC236}">
                  <a16:creationId xmlns:a16="http://schemas.microsoft.com/office/drawing/2014/main" id="{9D832A20-1994-4F1A-9527-37ACCA33837B}"/>
                </a:ext>
              </a:extLst>
            </p:cNvPr>
            <p:cNvSpPr txBox="1"/>
            <p:nvPr/>
          </p:nvSpPr>
          <p:spPr bwMode="auto">
            <a:xfrm>
              <a:off x="4665334" y="4733913"/>
              <a:ext cx="1390346" cy="387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i="1" dirty="0"/>
                <a:t>Text here</a:t>
              </a:r>
            </a:p>
          </p:txBody>
        </p:sp>
        <p:sp>
          <p:nvSpPr>
            <p:cNvPr id="140" name="íṥḷíḑé">
              <a:extLst>
                <a:ext uri="{FF2B5EF4-FFF2-40B4-BE49-F238E27FC236}">
                  <a16:creationId xmlns:a16="http://schemas.microsoft.com/office/drawing/2014/main" id="{10393A53-2A86-44FA-A985-77710BB3EB55}"/>
                </a:ext>
              </a:extLst>
            </p:cNvPr>
            <p:cNvSpPr txBox="1"/>
            <p:nvPr/>
          </p:nvSpPr>
          <p:spPr bwMode="auto">
            <a:xfrm>
              <a:off x="6136319" y="3704295"/>
              <a:ext cx="1390346" cy="387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i="1" dirty="0"/>
                <a:t>Text here</a:t>
              </a:r>
            </a:p>
          </p:txBody>
        </p:sp>
        <p:sp>
          <p:nvSpPr>
            <p:cNvPr id="141" name="iš1îḍé">
              <a:extLst>
                <a:ext uri="{FF2B5EF4-FFF2-40B4-BE49-F238E27FC236}">
                  <a16:creationId xmlns:a16="http://schemas.microsoft.com/office/drawing/2014/main" id="{48453D20-1820-4C05-A5E2-4AEBF3D7379A}"/>
                </a:ext>
              </a:extLst>
            </p:cNvPr>
            <p:cNvSpPr txBox="1"/>
            <p:nvPr/>
          </p:nvSpPr>
          <p:spPr bwMode="auto">
            <a:xfrm>
              <a:off x="7607301" y="2733795"/>
              <a:ext cx="1390346" cy="387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i="1" dirty="0"/>
                <a:t>Text her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58118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67a787e4-bbb0-4b7b-a406-d39e9dc1117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4;#438742;#438741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00547;"/>
  <p:tag name="ISLIDE.ICON" val="#438743;#438741;#438747;#438746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1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5;#438744;#438747;#438748;#438747;#438750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5;#438745;#438741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674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0a2cb5b-bc90-43b7-baf9-6a28e96d34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a53c66e8-495f-41f5-a60b-8ce62fdbf4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14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2;#438744;#438745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a4457cd7-beff-4020-a70b-0fbcf7ed79f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#438748;#438746;#438744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48;#438750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#438745;#438746;#438741;#438744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7;#438750;#438745;#438746;#438749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1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50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#438745;#438747;#438746;#438748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2;#438745;#438748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4;#420271;#428169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19193;"/>
  <p:tag name="ISLIDE.ICON" val="#420270;#428169;#420274;#420272;#420271;#420269;#420268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2;#438745;#438744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2148</Words>
  <Application>Microsoft Office PowerPoint</Application>
  <PresentationFormat>宽屏</PresentationFormat>
  <Paragraphs>415</Paragraphs>
  <Slides>2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3" baseType="lpstr">
      <vt:lpstr>等线</vt:lpstr>
      <vt:lpstr>Microsoft YaHei</vt:lpstr>
      <vt:lpstr>Arial</vt:lpstr>
      <vt:lpstr>Calibri</vt:lpstr>
      <vt:lpstr>主题5</vt:lpstr>
      <vt:lpstr>think-cell Slide</vt:lpstr>
      <vt:lpstr>武汉大学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武汉大学论文答辩汇报通用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4</cp:revision>
  <cp:lastPrinted>2020-09-09T16:00:00Z</cp:lastPrinted>
  <dcterms:created xsi:type="dcterms:W3CDTF">2020-09-09T16:00:00Z</dcterms:created>
  <dcterms:modified xsi:type="dcterms:W3CDTF">2024-09-15T03:05:05Z</dcterms:modified>
  <cp:contentStatus>武汉大学论文答辩汇报通用PPT模板，www.51pptmoban.com</cp:contentStatus>
  <cp:version>51pptmoban.com（V51PPT-24051202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</Properties>
</file>